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7" r:id="rId4"/>
    <p:sldMasterId id="2147483826" r:id="rId5"/>
  </p:sldMasterIdLst>
  <p:notesMasterIdLst>
    <p:notesMasterId r:id="rId19"/>
  </p:notesMasterIdLst>
  <p:handoutMasterIdLst>
    <p:handoutMasterId r:id="rId20"/>
  </p:handoutMasterIdLst>
  <p:sldIdLst>
    <p:sldId id="1507" r:id="rId6"/>
    <p:sldId id="1570" r:id="rId7"/>
    <p:sldId id="1563" r:id="rId8"/>
    <p:sldId id="1562" r:id="rId9"/>
    <p:sldId id="1571" r:id="rId10"/>
    <p:sldId id="1572" r:id="rId11"/>
    <p:sldId id="1574" r:id="rId12"/>
    <p:sldId id="1573" r:id="rId13"/>
    <p:sldId id="1585" r:id="rId14"/>
    <p:sldId id="1575" r:id="rId15"/>
    <p:sldId id="1576" r:id="rId16"/>
    <p:sldId id="1577" r:id="rId17"/>
    <p:sldId id="1578" r:id="rId18"/>
  </p:sldIdLst>
  <p:sldSz cx="9144000" cy="6858000" type="screen4x3"/>
  <p:notesSz cx="6797675" cy="9926638"/>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504">
          <p15:clr>
            <a:srgbClr val="A4A3A4"/>
          </p15:clr>
        </p15:guide>
        <p15:guide id="3" orient="horz" pos="1139">
          <p15:clr>
            <a:srgbClr val="A4A3A4"/>
          </p15:clr>
        </p15:guide>
        <p15:guide id="4" orient="horz" pos="913">
          <p15:clr>
            <a:srgbClr val="A4A3A4"/>
          </p15:clr>
        </p15:guide>
        <p15:guide id="5" orient="horz" pos="4110">
          <p15:clr>
            <a:srgbClr val="A4A3A4"/>
          </p15:clr>
        </p15:guide>
        <p15:guide id="6" orient="horz" pos="4201">
          <p15:clr>
            <a:srgbClr val="A4A3A4"/>
          </p15:clr>
        </p15:guide>
        <p15:guide id="7" orient="horz" pos="4065">
          <p15:clr>
            <a:srgbClr val="A4A3A4"/>
          </p15:clr>
        </p15:guide>
        <p15:guide id="8" orient="horz" pos="3952">
          <p15:clr>
            <a:srgbClr val="A4A3A4"/>
          </p15:clr>
        </p15:guide>
        <p15:guide id="9" pos="2880">
          <p15:clr>
            <a:srgbClr val="A4A3A4"/>
          </p15:clr>
        </p15:guide>
        <p15:guide id="10" pos="317">
          <p15:clr>
            <a:srgbClr val="A4A3A4"/>
          </p15:clr>
        </p15:guide>
        <p15:guide id="11" pos="5193">
          <p15:clr>
            <a:srgbClr val="A4A3A4"/>
          </p15:clr>
        </p15:guide>
        <p15:guide id="12" pos="5443">
          <p15:clr>
            <a:srgbClr val="A4A3A4"/>
          </p15:clr>
        </p15:guide>
        <p15:guide id="13" pos="2585">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8F8981B-D159-E880-8745-561677093BC1}" name="ALOUANI Ilyan - Société EXAKIS" initials="AISE" userId="S::Ilyan.ALOUANI.EXAKIS@adp.fr::2cd1f9e6-022b-4393-9832-4539c939c8aa" providerId="AD"/>
  <p188:author id="{783506BD-B41B-4159-1651-22D11B65EC6D}" name="Huard David - Société EXAKIS-NELITE" initials="HE" userId="S::david.huard.exakis@adp.fr::d0d6787b-5a75-4881-acd5-735082eb584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BARROS Fabrice" initials="BF" lastIdx="5" clrIdx="0">
    <p:extLst>
      <p:ext uri="{19B8F6BF-5375-455C-9EA6-DF929625EA0E}">
        <p15:presenceInfo xmlns:p15="http://schemas.microsoft.com/office/powerpoint/2012/main" userId="BARROS Fabric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1F73"/>
    <a:srgbClr val="9DCDE2"/>
    <a:srgbClr val="FFAFAF"/>
    <a:srgbClr val="E2EBF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BC89EF96-8CEA-46FF-86C4-4CE0E7609802}" styleName="Style léger 3 - Accentuation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1400" y="56"/>
      </p:cViewPr>
      <p:guideLst>
        <p:guide orient="horz" pos="2160"/>
        <p:guide orient="horz" pos="504"/>
        <p:guide orient="horz" pos="1139"/>
        <p:guide orient="horz" pos="913"/>
        <p:guide orient="horz" pos="4110"/>
        <p:guide orient="horz" pos="4201"/>
        <p:guide orient="horz" pos="4065"/>
        <p:guide orient="horz" pos="3952"/>
        <p:guide pos="2880"/>
        <p:guide pos="317"/>
        <p:guide pos="5193"/>
        <p:guide pos="5443"/>
        <p:guide pos="2585"/>
      </p:guideLst>
    </p:cSldViewPr>
  </p:slideViewPr>
  <p:notesTextViewPr>
    <p:cViewPr>
      <p:scale>
        <a:sx n="1" d="1"/>
        <a:sy n="1" d="1"/>
      </p:scale>
      <p:origin x="0" y="0"/>
    </p:cViewPr>
  </p:notesTextViewPr>
  <p:notesViewPr>
    <p:cSldViewPr snapToGrid="0">
      <p:cViewPr>
        <p:scale>
          <a:sx n="1" d="2"/>
          <a:sy n="1" d="2"/>
        </p:scale>
        <p:origin x="0" y="0"/>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981127AD-5F68-48EE-ABEA-2743C5F77C93}" type="datetimeFigureOut">
              <a:rPr lang="fr-FR" smtClean="0"/>
              <a:t>11/05/2023</a:t>
            </a:fld>
            <a:endParaRPr lang="fr-FR"/>
          </a:p>
        </p:txBody>
      </p:sp>
      <p:sp>
        <p:nvSpPr>
          <p:cNvPr id="4" name="Espace réservé du pied de page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8A7CA66E-F2B1-40DF-9676-7BBC1B91019B}" type="slidenum">
              <a:rPr lang="fr-FR" smtClean="0"/>
              <a:t>‹N°›</a:t>
            </a:fld>
            <a:endParaRPr lang="fr-FR"/>
          </a:p>
        </p:txBody>
      </p:sp>
    </p:spTree>
    <p:extLst>
      <p:ext uri="{BB962C8B-B14F-4D97-AF65-F5344CB8AC3E}">
        <p14:creationId xmlns:p14="http://schemas.microsoft.com/office/powerpoint/2010/main" val="392554512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atin typeface="Arial" pitchFamily="34" charset="0"/>
              </a:defRPr>
            </a:lvl1pPr>
          </a:lstStyle>
          <a:p>
            <a:endParaRPr lang="fr-FR"/>
          </a:p>
        </p:txBody>
      </p:sp>
      <p:sp>
        <p:nvSpPr>
          <p:cNvPr id="3" name="Espace réservé de la date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atin typeface="Arial" pitchFamily="34" charset="0"/>
              </a:defRPr>
            </a:lvl1pPr>
          </a:lstStyle>
          <a:p>
            <a:fld id="{D680E798-53FF-4C51-A981-953463752515}" type="datetimeFigureOut">
              <a:rPr lang="fr-FR" smtClean="0"/>
              <a:pPr/>
              <a:t>11/05/2023</a:t>
            </a:fld>
            <a:endParaRPr lang="fr-FR"/>
          </a:p>
        </p:txBody>
      </p:sp>
      <p:sp>
        <p:nvSpPr>
          <p:cNvPr id="4" name="Espace réservé de l'image des diapositives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79768" y="4715153"/>
            <a:ext cx="5438140" cy="4466987"/>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atin typeface="Arial" pitchFamily="34" charset="0"/>
              </a:defRPr>
            </a:lvl1pPr>
          </a:lstStyle>
          <a:p>
            <a:endParaRPr lang="fr-FR"/>
          </a:p>
        </p:txBody>
      </p:sp>
      <p:sp>
        <p:nvSpPr>
          <p:cNvPr id="7" name="Espace réservé du numéro de diapositive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atin typeface="Arial" pitchFamily="34" charset="0"/>
              </a:defRPr>
            </a:lvl1pPr>
          </a:lstStyle>
          <a:p>
            <a:fld id="{1B06CD8F-B7ED-4A05-9FB1-A01CC0EF02CC}" type="slidenum">
              <a:rPr lang="fr-FR" smtClean="0"/>
              <a:pPr/>
              <a:t>‹N°›</a:t>
            </a:fld>
            <a:endParaRPr lang="fr-FR"/>
          </a:p>
        </p:txBody>
      </p:sp>
    </p:spTree>
    <p:extLst>
      <p:ext uri="{BB962C8B-B14F-4D97-AF65-F5344CB8AC3E}">
        <p14:creationId xmlns:p14="http://schemas.microsoft.com/office/powerpoint/2010/main" val="4116626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jpe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oleObject" Target="../embeddings/oleObject1.bin"/><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image" Target="../media/image14.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5.jpeg"/><Relationship Id="rId7" Type="http://schemas.openxmlformats.org/officeDocument/2006/relationships/hyperlink" Target="http://jeffzelaya.com/wp-content/uploads/2011/05/linkedin-logo.png?w=300" TargetMode="External"/><Relationship Id="rId2" Type="http://schemas.openxmlformats.org/officeDocument/2006/relationships/slideMaster" Target="../slideMasters/slideMaster2.xml"/><Relationship Id="rId1" Type="http://schemas.openxmlformats.org/officeDocument/2006/relationships/tags" Target="../tags/tag14.xml"/><Relationship Id="rId6" Type="http://schemas.openxmlformats.org/officeDocument/2006/relationships/hyperlink" Target="http://www.axys-consultants.fr/" TargetMode="External"/><Relationship Id="rId5" Type="http://schemas.openxmlformats.org/officeDocument/2006/relationships/image" Target="../media/image14.emf"/><Relationship Id="rId4" Type="http://schemas.openxmlformats.org/officeDocument/2006/relationships/oleObject" Target="../embeddings/oleObject2.bin"/></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1">
    <p:spTree>
      <p:nvGrpSpPr>
        <p:cNvPr id="1" name=""/>
        <p:cNvGrpSpPr/>
        <p:nvPr/>
      </p:nvGrpSpPr>
      <p:grpSpPr>
        <a:xfrm>
          <a:off x="0" y="0"/>
          <a:ext cx="0" cy="0"/>
          <a:chOff x="0" y="0"/>
          <a:chExt cx="0" cy="0"/>
        </a:xfrm>
      </p:grpSpPr>
      <p:sp>
        <p:nvSpPr>
          <p:cNvPr id="24" name="Rectangle 23"/>
          <p:cNvSpPr/>
          <p:nvPr userDrawn="1"/>
        </p:nvSpPr>
        <p:spPr bwMode="gray">
          <a:xfrm>
            <a:off x="0" y="-1"/>
            <a:ext cx="9144000" cy="68580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Rectangle 11"/>
          <p:cNvSpPr/>
          <p:nvPr userDrawn="1"/>
        </p:nvSpPr>
        <p:spPr bwMode="gray">
          <a:xfrm>
            <a:off x="2537617" y="6524624"/>
            <a:ext cx="4068763" cy="3107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spcAft>
                <a:spcPts val="300"/>
              </a:spcAft>
            </a:pPr>
            <a:r>
              <a:rPr lang="fr-FR" sz="650">
                <a:solidFill>
                  <a:schemeClr val="bg1"/>
                </a:solidFill>
              </a:rPr>
              <a:t>GROUPE ADP - </a:t>
            </a:r>
            <a:r>
              <a:rPr lang="fr-FR" sz="650">
                <a:solidFill>
                  <a:schemeClr val="bg1">
                    <a:alpha val="0"/>
                  </a:schemeClr>
                </a:solidFill>
              </a:rPr>
              <a:t> </a:t>
            </a:r>
            <a:fld id="{DBB6C128-1F8B-4841-9AB6-B633AFE8C2FF}" type="datetime1">
              <a:rPr lang="fr-FR" sz="650" smtClean="0">
                <a:solidFill>
                  <a:schemeClr val="bg1">
                    <a:alpha val="0"/>
                  </a:schemeClr>
                </a:solidFill>
              </a:rPr>
              <a:pPr algn="ctr">
                <a:spcAft>
                  <a:spcPts val="300"/>
                </a:spcAft>
              </a:pPr>
              <a:t>11/05/2023</a:t>
            </a:fld>
            <a:endParaRPr lang="fr-FR" sz="650" baseline="0">
              <a:solidFill>
                <a:schemeClr val="bg1">
                  <a:alpha val="0"/>
                </a:schemeClr>
              </a:solidFill>
            </a:endParaRPr>
          </a:p>
          <a:p>
            <a:pPr algn="ctr">
              <a:spcAft>
                <a:spcPts val="300"/>
              </a:spcAft>
            </a:pPr>
            <a:r>
              <a:rPr lang="fr-FR" sz="650" b="1">
                <a:solidFill>
                  <a:schemeClr val="bg1"/>
                </a:solidFill>
              </a:rPr>
              <a:t>DIFFUSION RESTREINTE</a:t>
            </a:r>
          </a:p>
        </p:txBody>
      </p:sp>
      <p:sp>
        <p:nvSpPr>
          <p:cNvPr id="13" name="Espace réservé de la date 12"/>
          <p:cNvSpPr>
            <a:spLocks noGrp="1"/>
          </p:cNvSpPr>
          <p:nvPr>
            <p:ph type="dt" sz="half" idx="10"/>
          </p:nvPr>
        </p:nvSpPr>
        <p:spPr bwMode="gray">
          <a:xfrm>
            <a:off x="4670546" y="6524625"/>
            <a:ext cx="540000" cy="144464"/>
          </a:xfrm>
        </p:spPr>
        <p:txBody>
          <a:bodyPr/>
          <a:lstStyle>
            <a:lvl1pPr algn="l">
              <a:defRPr>
                <a:solidFill>
                  <a:schemeClr val="bg1"/>
                </a:solidFill>
              </a:defRPr>
            </a:lvl1pPr>
          </a:lstStyle>
          <a:p>
            <a:fld id="{80B89F44-81A1-4603-A91A-A0FD009B4122}" type="datetime1">
              <a:rPr lang="fr-FR" smtClean="0"/>
              <a:t>11/05/2023</a:t>
            </a:fld>
            <a:endParaRPr lang="fr-FR"/>
          </a:p>
        </p:txBody>
      </p:sp>
      <p:sp>
        <p:nvSpPr>
          <p:cNvPr id="14" name="Espace réservé du pied de page 13"/>
          <p:cNvSpPr>
            <a:spLocks noGrp="1"/>
          </p:cNvSpPr>
          <p:nvPr>
            <p:ph type="ftr" sz="quarter" idx="11"/>
          </p:nvPr>
        </p:nvSpPr>
        <p:spPr bwMode="gray">
          <a:xfrm>
            <a:off x="2028" y="6669088"/>
            <a:ext cx="501210" cy="188912"/>
          </a:xfrm>
        </p:spPr>
        <p:txBody>
          <a:bodyPr/>
          <a:lstStyle>
            <a:lvl1pPr>
              <a:defRPr sz="100">
                <a:solidFill>
                  <a:schemeClr val="bg1">
                    <a:alpha val="0"/>
                  </a:schemeClr>
                </a:solidFill>
              </a:defRPr>
            </a:lvl1pPr>
          </a:lstStyle>
          <a:p>
            <a:r>
              <a:rPr lang="fr-FR"/>
              <a:t>GROUPE ADP -                      - DIFFUSION RESTREINTE</a:t>
            </a:r>
          </a:p>
        </p:txBody>
      </p:sp>
      <p:sp>
        <p:nvSpPr>
          <p:cNvPr id="15" name="Espace réservé du numéro de diapositive 14"/>
          <p:cNvSpPr>
            <a:spLocks noGrp="1"/>
          </p:cNvSpPr>
          <p:nvPr>
            <p:ph type="sldNum" sz="quarter" idx="12"/>
          </p:nvPr>
        </p:nvSpPr>
        <p:spPr bwMode="gray">
          <a:xfrm>
            <a:off x="2029" y="6669088"/>
            <a:ext cx="501210" cy="188911"/>
          </a:xfrm>
        </p:spPr>
        <p:txBody>
          <a:bodyPr/>
          <a:lstStyle>
            <a:lvl1pPr>
              <a:defRPr sz="100">
                <a:solidFill>
                  <a:schemeClr val="bg1">
                    <a:alpha val="0"/>
                  </a:schemeClr>
                </a:solidFill>
              </a:defRPr>
            </a:lvl1pPr>
          </a:lstStyle>
          <a:p>
            <a:r>
              <a:rPr lang="fr-FR"/>
              <a:t>PAGE </a:t>
            </a:r>
            <a:fld id="{8AF9711C-11F6-40F1-A9C4-511E8DA6BB32}" type="slidenum">
              <a:rPr lang="fr-FR" smtClean="0"/>
              <a:pPr/>
              <a:t>‹N°›</a:t>
            </a:fld>
            <a:endParaRPr lang="fr-FR"/>
          </a:p>
        </p:txBody>
      </p:sp>
      <p:pic>
        <p:nvPicPr>
          <p:cNvPr id="16" name="Image 15" descr="Logo_groupe_w_80x70_rvb.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3130550" y="720000"/>
            <a:ext cx="2882900" cy="2514600"/>
          </a:xfrm>
          <a:prstGeom prst="rect">
            <a:avLst/>
          </a:prstGeom>
        </p:spPr>
      </p:pic>
      <p:grpSp>
        <p:nvGrpSpPr>
          <p:cNvPr id="23" name="Groupe 22"/>
          <p:cNvGrpSpPr/>
          <p:nvPr userDrawn="1"/>
        </p:nvGrpSpPr>
        <p:grpSpPr bwMode="gray">
          <a:xfrm>
            <a:off x="6128457" y="4267200"/>
            <a:ext cx="3011488" cy="2590800"/>
            <a:chOff x="6128457" y="4252825"/>
            <a:chExt cx="3011488" cy="2590800"/>
          </a:xfrm>
          <a:solidFill>
            <a:schemeClr val="bg1"/>
          </a:solidFill>
        </p:grpSpPr>
        <p:sp>
          <p:nvSpPr>
            <p:cNvPr id="20" name="Freeform 5"/>
            <p:cNvSpPr>
              <a:spLocks/>
            </p:cNvSpPr>
            <p:nvPr userDrawn="1"/>
          </p:nvSpPr>
          <p:spPr bwMode="gray">
            <a:xfrm>
              <a:off x="6128457" y="4252825"/>
              <a:ext cx="3011488" cy="2590800"/>
            </a:xfrm>
            <a:custGeom>
              <a:avLst/>
              <a:gdLst>
                <a:gd name="T0" fmla="*/ 0 w 3151"/>
                <a:gd name="T1" fmla="*/ 2710 h 2710"/>
                <a:gd name="T2" fmla="*/ 0 w 3151"/>
                <a:gd name="T3" fmla="*/ 2710 h 2710"/>
                <a:gd name="T4" fmla="*/ 511 w 3151"/>
                <a:gd name="T5" fmla="*/ 2710 h 2710"/>
                <a:gd name="T6" fmla="*/ 3151 w 3151"/>
                <a:gd name="T7" fmla="*/ 439 h 2710"/>
                <a:gd name="T8" fmla="*/ 3151 w 3151"/>
                <a:gd name="T9" fmla="*/ 0 h 2710"/>
                <a:gd name="T10" fmla="*/ 0 w 3151"/>
                <a:gd name="T11" fmla="*/ 2710 h 2710"/>
              </a:gdLst>
              <a:ahLst/>
              <a:cxnLst>
                <a:cxn ang="0">
                  <a:pos x="T0" y="T1"/>
                </a:cxn>
                <a:cxn ang="0">
                  <a:pos x="T2" y="T3"/>
                </a:cxn>
                <a:cxn ang="0">
                  <a:pos x="T4" y="T5"/>
                </a:cxn>
                <a:cxn ang="0">
                  <a:pos x="T6" y="T7"/>
                </a:cxn>
                <a:cxn ang="0">
                  <a:pos x="T8" y="T9"/>
                </a:cxn>
                <a:cxn ang="0">
                  <a:pos x="T10" y="T11"/>
                </a:cxn>
              </a:cxnLst>
              <a:rect l="0" t="0" r="r" b="b"/>
              <a:pathLst>
                <a:path w="3151" h="2710">
                  <a:moveTo>
                    <a:pt x="0" y="2710"/>
                  </a:moveTo>
                  <a:lnTo>
                    <a:pt x="0" y="2710"/>
                  </a:lnTo>
                  <a:lnTo>
                    <a:pt x="511" y="2710"/>
                  </a:lnTo>
                  <a:lnTo>
                    <a:pt x="3151" y="439"/>
                  </a:lnTo>
                  <a:lnTo>
                    <a:pt x="3151" y="0"/>
                  </a:lnTo>
                  <a:lnTo>
                    <a:pt x="0" y="27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21" name="Freeform 6"/>
            <p:cNvSpPr>
              <a:spLocks/>
            </p:cNvSpPr>
            <p:nvPr userDrawn="1"/>
          </p:nvSpPr>
          <p:spPr bwMode="gray">
            <a:xfrm>
              <a:off x="6820607" y="5232312"/>
              <a:ext cx="2319338" cy="1611313"/>
            </a:xfrm>
            <a:custGeom>
              <a:avLst/>
              <a:gdLst>
                <a:gd name="T0" fmla="*/ 0 w 2427"/>
                <a:gd name="T1" fmla="*/ 1686 h 1686"/>
                <a:gd name="T2" fmla="*/ 0 w 2427"/>
                <a:gd name="T3" fmla="*/ 1686 h 1686"/>
                <a:gd name="T4" fmla="*/ 510 w 2427"/>
                <a:gd name="T5" fmla="*/ 1686 h 1686"/>
                <a:gd name="T6" fmla="*/ 2427 w 2427"/>
                <a:gd name="T7" fmla="*/ 355 h 1686"/>
                <a:gd name="T8" fmla="*/ 2427 w 2427"/>
                <a:gd name="T9" fmla="*/ 0 h 1686"/>
                <a:gd name="T10" fmla="*/ 0 w 2427"/>
                <a:gd name="T11" fmla="*/ 1686 h 1686"/>
              </a:gdLst>
              <a:ahLst/>
              <a:cxnLst>
                <a:cxn ang="0">
                  <a:pos x="T0" y="T1"/>
                </a:cxn>
                <a:cxn ang="0">
                  <a:pos x="T2" y="T3"/>
                </a:cxn>
                <a:cxn ang="0">
                  <a:pos x="T4" y="T5"/>
                </a:cxn>
                <a:cxn ang="0">
                  <a:pos x="T6" y="T7"/>
                </a:cxn>
                <a:cxn ang="0">
                  <a:pos x="T8" y="T9"/>
                </a:cxn>
                <a:cxn ang="0">
                  <a:pos x="T10" y="T11"/>
                </a:cxn>
              </a:cxnLst>
              <a:rect l="0" t="0" r="r" b="b"/>
              <a:pathLst>
                <a:path w="2427" h="1686">
                  <a:moveTo>
                    <a:pt x="0" y="1686"/>
                  </a:moveTo>
                  <a:lnTo>
                    <a:pt x="0" y="1686"/>
                  </a:lnTo>
                  <a:lnTo>
                    <a:pt x="510" y="1686"/>
                  </a:lnTo>
                  <a:lnTo>
                    <a:pt x="2427" y="355"/>
                  </a:lnTo>
                  <a:lnTo>
                    <a:pt x="2427" y="0"/>
                  </a:lnTo>
                  <a:lnTo>
                    <a:pt x="0" y="168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22" name="Freeform 7"/>
            <p:cNvSpPr>
              <a:spLocks/>
            </p:cNvSpPr>
            <p:nvPr userDrawn="1"/>
          </p:nvSpPr>
          <p:spPr bwMode="gray">
            <a:xfrm>
              <a:off x="7620707" y="5972087"/>
              <a:ext cx="1519238" cy="871538"/>
            </a:xfrm>
            <a:custGeom>
              <a:avLst/>
              <a:gdLst>
                <a:gd name="T0" fmla="*/ 0 w 1589"/>
                <a:gd name="T1" fmla="*/ 912 h 912"/>
                <a:gd name="T2" fmla="*/ 0 w 1589"/>
                <a:gd name="T3" fmla="*/ 912 h 912"/>
                <a:gd name="T4" fmla="*/ 418 w 1589"/>
                <a:gd name="T5" fmla="*/ 912 h 912"/>
                <a:gd name="T6" fmla="*/ 1589 w 1589"/>
                <a:gd name="T7" fmla="*/ 240 h 912"/>
                <a:gd name="T8" fmla="*/ 1589 w 1589"/>
                <a:gd name="T9" fmla="*/ 0 h 912"/>
                <a:gd name="T10" fmla="*/ 0 w 1589"/>
                <a:gd name="T11" fmla="*/ 912 h 912"/>
              </a:gdLst>
              <a:ahLst/>
              <a:cxnLst>
                <a:cxn ang="0">
                  <a:pos x="T0" y="T1"/>
                </a:cxn>
                <a:cxn ang="0">
                  <a:pos x="T2" y="T3"/>
                </a:cxn>
                <a:cxn ang="0">
                  <a:pos x="T4" y="T5"/>
                </a:cxn>
                <a:cxn ang="0">
                  <a:pos x="T6" y="T7"/>
                </a:cxn>
                <a:cxn ang="0">
                  <a:pos x="T8" y="T9"/>
                </a:cxn>
                <a:cxn ang="0">
                  <a:pos x="T10" y="T11"/>
                </a:cxn>
              </a:cxnLst>
              <a:rect l="0" t="0" r="r" b="b"/>
              <a:pathLst>
                <a:path w="1589" h="912">
                  <a:moveTo>
                    <a:pt x="0" y="912"/>
                  </a:moveTo>
                  <a:lnTo>
                    <a:pt x="0" y="912"/>
                  </a:lnTo>
                  <a:lnTo>
                    <a:pt x="418" y="912"/>
                  </a:lnTo>
                  <a:lnTo>
                    <a:pt x="1589" y="240"/>
                  </a:lnTo>
                  <a:lnTo>
                    <a:pt x="1589" y="0"/>
                  </a:lnTo>
                  <a:lnTo>
                    <a:pt x="0" y="91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grpSp>
      <p:sp>
        <p:nvSpPr>
          <p:cNvPr id="7" name="Titre 6"/>
          <p:cNvSpPr>
            <a:spLocks noGrp="1"/>
          </p:cNvSpPr>
          <p:nvPr>
            <p:ph type="title" hasCustomPrompt="1"/>
          </p:nvPr>
        </p:nvSpPr>
        <p:spPr bwMode="gray">
          <a:xfrm>
            <a:off x="503238" y="3331646"/>
            <a:ext cx="8137525" cy="1800000"/>
          </a:xfrm>
        </p:spPr>
        <p:txBody>
          <a:bodyPr/>
          <a:lstStyle>
            <a:lvl1pPr algn="ctr">
              <a:defRPr sz="2500">
                <a:solidFill>
                  <a:schemeClr val="bg1"/>
                </a:solidFill>
              </a:defRPr>
            </a:lvl1pPr>
          </a:lstStyle>
          <a:p>
            <a:r>
              <a:rPr lang="fr-FR"/>
              <a:t>Titre de la présentation</a:t>
            </a:r>
          </a:p>
        </p:txBody>
      </p:sp>
    </p:spTree>
    <p:extLst>
      <p:ext uri="{BB962C8B-B14F-4D97-AF65-F5344CB8AC3E}">
        <p14:creationId xmlns:p14="http://schemas.microsoft.com/office/powerpoint/2010/main" val="34326109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re et 2 contenus - v2">
    <p:spTree>
      <p:nvGrpSpPr>
        <p:cNvPr id="1" name=""/>
        <p:cNvGrpSpPr/>
        <p:nvPr/>
      </p:nvGrpSpPr>
      <p:grpSpPr>
        <a:xfrm>
          <a:off x="0" y="0"/>
          <a:ext cx="0" cy="0"/>
          <a:chOff x="0" y="0"/>
          <a:chExt cx="0" cy="0"/>
        </a:xfrm>
      </p:grpSpPr>
      <p:sp>
        <p:nvSpPr>
          <p:cNvPr id="16" name="Rectangle 15"/>
          <p:cNvSpPr/>
          <p:nvPr userDrawn="1"/>
        </p:nvSpPr>
        <p:spPr bwMode="gray">
          <a:xfrm>
            <a:off x="0" y="0"/>
            <a:ext cx="914241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21" name="Groupe 20"/>
          <p:cNvGrpSpPr/>
          <p:nvPr userDrawn="1"/>
        </p:nvGrpSpPr>
        <p:grpSpPr bwMode="gray">
          <a:xfrm>
            <a:off x="0" y="0"/>
            <a:ext cx="9144000" cy="6858001"/>
            <a:chOff x="0" y="0"/>
            <a:chExt cx="9155113" cy="6858001"/>
          </a:xfrm>
          <a:solidFill>
            <a:schemeClr val="accent3"/>
          </a:solidFill>
        </p:grpSpPr>
        <p:sp>
          <p:nvSpPr>
            <p:cNvPr id="22" name="Freeform 5"/>
            <p:cNvSpPr>
              <a:spLocks/>
            </p:cNvSpPr>
            <p:nvPr/>
          </p:nvSpPr>
          <p:spPr bwMode="gray">
            <a:xfrm>
              <a:off x="0" y="0"/>
              <a:ext cx="3262313" cy="2847975"/>
            </a:xfrm>
            <a:custGeom>
              <a:avLst/>
              <a:gdLst>
                <a:gd name="T0" fmla="*/ 2167 w 3421"/>
                <a:gd name="T1" fmla="*/ 0 h 2985"/>
                <a:gd name="T2" fmla="*/ 2167 w 3421"/>
                <a:gd name="T3" fmla="*/ 0 h 2985"/>
                <a:gd name="T4" fmla="*/ 0 w 3421"/>
                <a:gd name="T5" fmla="*/ 1891 h 2985"/>
                <a:gd name="T6" fmla="*/ 0 w 3421"/>
                <a:gd name="T7" fmla="*/ 2985 h 2985"/>
                <a:gd name="T8" fmla="*/ 3421 w 3421"/>
                <a:gd name="T9" fmla="*/ 0 h 2985"/>
                <a:gd name="T10" fmla="*/ 2167 w 3421"/>
                <a:gd name="T11" fmla="*/ 0 h 2985"/>
              </a:gdLst>
              <a:ahLst/>
              <a:cxnLst>
                <a:cxn ang="0">
                  <a:pos x="T0" y="T1"/>
                </a:cxn>
                <a:cxn ang="0">
                  <a:pos x="T2" y="T3"/>
                </a:cxn>
                <a:cxn ang="0">
                  <a:pos x="T4" y="T5"/>
                </a:cxn>
                <a:cxn ang="0">
                  <a:pos x="T6" y="T7"/>
                </a:cxn>
                <a:cxn ang="0">
                  <a:pos x="T8" y="T9"/>
                </a:cxn>
                <a:cxn ang="0">
                  <a:pos x="T10" y="T11"/>
                </a:cxn>
              </a:cxnLst>
              <a:rect l="0" t="0" r="r" b="b"/>
              <a:pathLst>
                <a:path w="3421" h="2985">
                  <a:moveTo>
                    <a:pt x="2167" y="0"/>
                  </a:moveTo>
                  <a:lnTo>
                    <a:pt x="2167" y="0"/>
                  </a:lnTo>
                  <a:lnTo>
                    <a:pt x="0" y="1891"/>
                  </a:lnTo>
                  <a:lnTo>
                    <a:pt x="0" y="2985"/>
                  </a:lnTo>
                  <a:lnTo>
                    <a:pt x="3421" y="0"/>
                  </a:lnTo>
                  <a:lnTo>
                    <a:pt x="21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23" name="Freeform 6"/>
            <p:cNvSpPr>
              <a:spLocks/>
            </p:cNvSpPr>
            <p:nvPr/>
          </p:nvSpPr>
          <p:spPr bwMode="gray">
            <a:xfrm>
              <a:off x="0" y="0"/>
              <a:ext cx="6027738" cy="4248150"/>
            </a:xfrm>
            <a:custGeom>
              <a:avLst/>
              <a:gdLst>
                <a:gd name="T0" fmla="*/ 5069 w 6321"/>
                <a:gd name="T1" fmla="*/ 0 h 4454"/>
                <a:gd name="T2" fmla="*/ 5069 w 6321"/>
                <a:gd name="T3" fmla="*/ 0 h 4454"/>
                <a:gd name="T4" fmla="*/ 0 w 6321"/>
                <a:gd name="T5" fmla="*/ 3572 h 4454"/>
                <a:gd name="T6" fmla="*/ 0 w 6321"/>
                <a:gd name="T7" fmla="*/ 4454 h 4454"/>
                <a:gd name="T8" fmla="*/ 6321 w 6321"/>
                <a:gd name="T9" fmla="*/ 0 h 4454"/>
                <a:gd name="T10" fmla="*/ 5069 w 6321"/>
                <a:gd name="T11" fmla="*/ 0 h 4454"/>
              </a:gdLst>
              <a:ahLst/>
              <a:cxnLst>
                <a:cxn ang="0">
                  <a:pos x="T0" y="T1"/>
                </a:cxn>
                <a:cxn ang="0">
                  <a:pos x="T2" y="T3"/>
                </a:cxn>
                <a:cxn ang="0">
                  <a:pos x="T4" y="T5"/>
                </a:cxn>
                <a:cxn ang="0">
                  <a:pos x="T6" y="T7"/>
                </a:cxn>
                <a:cxn ang="0">
                  <a:pos x="T8" y="T9"/>
                </a:cxn>
                <a:cxn ang="0">
                  <a:pos x="T10" y="T11"/>
                </a:cxn>
              </a:cxnLst>
              <a:rect l="0" t="0" r="r" b="b"/>
              <a:pathLst>
                <a:path w="6321" h="4454">
                  <a:moveTo>
                    <a:pt x="5069" y="0"/>
                  </a:moveTo>
                  <a:lnTo>
                    <a:pt x="5069" y="0"/>
                  </a:lnTo>
                  <a:lnTo>
                    <a:pt x="0" y="3572"/>
                  </a:lnTo>
                  <a:lnTo>
                    <a:pt x="0" y="4454"/>
                  </a:lnTo>
                  <a:lnTo>
                    <a:pt x="6321" y="0"/>
                  </a:lnTo>
                  <a:lnTo>
                    <a:pt x="506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24" name="Freeform 7"/>
            <p:cNvSpPr>
              <a:spLocks/>
            </p:cNvSpPr>
            <p:nvPr/>
          </p:nvSpPr>
          <p:spPr bwMode="gray">
            <a:xfrm>
              <a:off x="0" y="0"/>
              <a:ext cx="9153525" cy="5319713"/>
            </a:xfrm>
            <a:custGeom>
              <a:avLst/>
              <a:gdLst>
                <a:gd name="T0" fmla="*/ 8751 w 9599"/>
                <a:gd name="T1" fmla="*/ 0 h 5577"/>
                <a:gd name="T2" fmla="*/ 8751 w 9599"/>
                <a:gd name="T3" fmla="*/ 0 h 5577"/>
                <a:gd name="T4" fmla="*/ 0 w 9599"/>
                <a:gd name="T5" fmla="*/ 4869 h 5577"/>
                <a:gd name="T6" fmla="*/ 0 w 9599"/>
                <a:gd name="T7" fmla="*/ 5577 h 5577"/>
                <a:gd name="T8" fmla="*/ 9599 w 9599"/>
                <a:gd name="T9" fmla="*/ 234 h 5577"/>
                <a:gd name="T10" fmla="*/ 9599 w 9599"/>
                <a:gd name="T11" fmla="*/ 0 h 5577"/>
                <a:gd name="T12" fmla="*/ 8751 w 9599"/>
                <a:gd name="T13" fmla="*/ 0 h 5577"/>
              </a:gdLst>
              <a:ahLst/>
              <a:cxnLst>
                <a:cxn ang="0">
                  <a:pos x="T0" y="T1"/>
                </a:cxn>
                <a:cxn ang="0">
                  <a:pos x="T2" y="T3"/>
                </a:cxn>
                <a:cxn ang="0">
                  <a:pos x="T4" y="T5"/>
                </a:cxn>
                <a:cxn ang="0">
                  <a:pos x="T6" y="T7"/>
                </a:cxn>
                <a:cxn ang="0">
                  <a:pos x="T8" y="T9"/>
                </a:cxn>
                <a:cxn ang="0">
                  <a:pos x="T10" y="T11"/>
                </a:cxn>
                <a:cxn ang="0">
                  <a:pos x="T12" y="T13"/>
                </a:cxn>
              </a:cxnLst>
              <a:rect l="0" t="0" r="r" b="b"/>
              <a:pathLst>
                <a:path w="9599" h="5577">
                  <a:moveTo>
                    <a:pt x="8751" y="0"/>
                  </a:moveTo>
                  <a:lnTo>
                    <a:pt x="8751" y="0"/>
                  </a:lnTo>
                  <a:lnTo>
                    <a:pt x="0" y="4869"/>
                  </a:lnTo>
                  <a:lnTo>
                    <a:pt x="0" y="5577"/>
                  </a:lnTo>
                  <a:lnTo>
                    <a:pt x="9599" y="234"/>
                  </a:lnTo>
                  <a:lnTo>
                    <a:pt x="9599" y="0"/>
                  </a:lnTo>
                  <a:lnTo>
                    <a:pt x="875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25" name="Freeform 8"/>
            <p:cNvSpPr>
              <a:spLocks/>
            </p:cNvSpPr>
            <p:nvPr/>
          </p:nvSpPr>
          <p:spPr bwMode="gray">
            <a:xfrm>
              <a:off x="0" y="1779588"/>
              <a:ext cx="9153525" cy="4502150"/>
            </a:xfrm>
            <a:custGeom>
              <a:avLst/>
              <a:gdLst>
                <a:gd name="T0" fmla="*/ 0 w 9599"/>
                <a:gd name="T1" fmla="*/ 4159 h 4720"/>
                <a:gd name="T2" fmla="*/ 0 w 9599"/>
                <a:gd name="T3" fmla="*/ 4159 h 4720"/>
                <a:gd name="T4" fmla="*/ 0 w 9599"/>
                <a:gd name="T5" fmla="*/ 4720 h 4720"/>
                <a:gd name="T6" fmla="*/ 9599 w 9599"/>
                <a:gd name="T7" fmla="*/ 561 h 4720"/>
                <a:gd name="T8" fmla="*/ 9599 w 9599"/>
                <a:gd name="T9" fmla="*/ 0 h 4720"/>
                <a:gd name="T10" fmla="*/ 0 w 9599"/>
                <a:gd name="T11" fmla="*/ 4159 h 4720"/>
              </a:gdLst>
              <a:ahLst/>
              <a:cxnLst>
                <a:cxn ang="0">
                  <a:pos x="T0" y="T1"/>
                </a:cxn>
                <a:cxn ang="0">
                  <a:pos x="T2" y="T3"/>
                </a:cxn>
                <a:cxn ang="0">
                  <a:pos x="T4" y="T5"/>
                </a:cxn>
                <a:cxn ang="0">
                  <a:pos x="T6" y="T7"/>
                </a:cxn>
                <a:cxn ang="0">
                  <a:pos x="T8" y="T9"/>
                </a:cxn>
                <a:cxn ang="0">
                  <a:pos x="T10" y="T11"/>
                </a:cxn>
              </a:cxnLst>
              <a:rect l="0" t="0" r="r" b="b"/>
              <a:pathLst>
                <a:path w="9599" h="4720">
                  <a:moveTo>
                    <a:pt x="0" y="4159"/>
                  </a:moveTo>
                  <a:lnTo>
                    <a:pt x="0" y="4159"/>
                  </a:lnTo>
                  <a:lnTo>
                    <a:pt x="0" y="4720"/>
                  </a:lnTo>
                  <a:lnTo>
                    <a:pt x="9599" y="561"/>
                  </a:lnTo>
                  <a:lnTo>
                    <a:pt x="9599" y="0"/>
                  </a:lnTo>
                  <a:lnTo>
                    <a:pt x="0" y="415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26" name="Freeform 9"/>
            <p:cNvSpPr>
              <a:spLocks/>
            </p:cNvSpPr>
            <p:nvPr/>
          </p:nvSpPr>
          <p:spPr bwMode="gray">
            <a:xfrm>
              <a:off x="0" y="3865563"/>
              <a:ext cx="9153525" cy="2992438"/>
            </a:xfrm>
            <a:custGeom>
              <a:avLst/>
              <a:gdLst>
                <a:gd name="T0" fmla="*/ 0 w 9599"/>
                <a:gd name="T1" fmla="*/ 3041 h 3136"/>
                <a:gd name="T2" fmla="*/ 0 w 9599"/>
                <a:gd name="T3" fmla="*/ 3041 h 3136"/>
                <a:gd name="T4" fmla="*/ 0 w 9599"/>
                <a:gd name="T5" fmla="*/ 3136 h 3136"/>
                <a:gd name="T6" fmla="*/ 1407 w 9599"/>
                <a:gd name="T7" fmla="*/ 3136 h 3136"/>
                <a:gd name="T8" fmla="*/ 9599 w 9599"/>
                <a:gd name="T9" fmla="*/ 540 h 3136"/>
                <a:gd name="T10" fmla="*/ 9599 w 9599"/>
                <a:gd name="T11" fmla="*/ 0 h 3136"/>
                <a:gd name="T12" fmla="*/ 0 w 9599"/>
                <a:gd name="T13" fmla="*/ 3041 h 3136"/>
              </a:gdLst>
              <a:ahLst/>
              <a:cxnLst>
                <a:cxn ang="0">
                  <a:pos x="T0" y="T1"/>
                </a:cxn>
                <a:cxn ang="0">
                  <a:pos x="T2" y="T3"/>
                </a:cxn>
                <a:cxn ang="0">
                  <a:pos x="T4" y="T5"/>
                </a:cxn>
                <a:cxn ang="0">
                  <a:pos x="T6" y="T7"/>
                </a:cxn>
                <a:cxn ang="0">
                  <a:pos x="T8" y="T9"/>
                </a:cxn>
                <a:cxn ang="0">
                  <a:pos x="T10" y="T11"/>
                </a:cxn>
                <a:cxn ang="0">
                  <a:pos x="T12" y="T13"/>
                </a:cxn>
              </a:cxnLst>
              <a:rect l="0" t="0" r="r" b="b"/>
              <a:pathLst>
                <a:path w="9599" h="3136">
                  <a:moveTo>
                    <a:pt x="0" y="3041"/>
                  </a:moveTo>
                  <a:lnTo>
                    <a:pt x="0" y="3041"/>
                  </a:lnTo>
                  <a:lnTo>
                    <a:pt x="0" y="3136"/>
                  </a:lnTo>
                  <a:lnTo>
                    <a:pt x="1407" y="3136"/>
                  </a:lnTo>
                  <a:lnTo>
                    <a:pt x="9599" y="540"/>
                  </a:lnTo>
                  <a:lnTo>
                    <a:pt x="9599" y="0"/>
                  </a:lnTo>
                  <a:lnTo>
                    <a:pt x="0" y="304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27" name="Freeform 10"/>
            <p:cNvSpPr>
              <a:spLocks/>
            </p:cNvSpPr>
            <p:nvPr/>
          </p:nvSpPr>
          <p:spPr bwMode="gray">
            <a:xfrm>
              <a:off x="3770313" y="5741988"/>
              <a:ext cx="5384800" cy="1116013"/>
            </a:xfrm>
            <a:custGeom>
              <a:avLst/>
              <a:gdLst>
                <a:gd name="T0" fmla="*/ 0 w 5647"/>
                <a:gd name="T1" fmla="*/ 1170 h 1170"/>
                <a:gd name="T2" fmla="*/ 0 w 5647"/>
                <a:gd name="T3" fmla="*/ 1170 h 1170"/>
                <a:gd name="T4" fmla="*/ 1694 w 5647"/>
                <a:gd name="T5" fmla="*/ 1170 h 1170"/>
                <a:gd name="T6" fmla="*/ 5647 w 5647"/>
                <a:gd name="T7" fmla="*/ 351 h 1170"/>
                <a:gd name="T8" fmla="*/ 5647 w 5647"/>
                <a:gd name="T9" fmla="*/ 0 h 1170"/>
                <a:gd name="T10" fmla="*/ 0 w 5647"/>
                <a:gd name="T11" fmla="*/ 1170 h 1170"/>
              </a:gdLst>
              <a:ahLst/>
              <a:cxnLst>
                <a:cxn ang="0">
                  <a:pos x="T0" y="T1"/>
                </a:cxn>
                <a:cxn ang="0">
                  <a:pos x="T2" y="T3"/>
                </a:cxn>
                <a:cxn ang="0">
                  <a:pos x="T4" y="T5"/>
                </a:cxn>
                <a:cxn ang="0">
                  <a:pos x="T6" y="T7"/>
                </a:cxn>
                <a:cxn ang="0">
                  <a:pos x="T8" y="T9"/>
                </a:cxn>
                <a:cxn ang="0">
                  <a:pos x="T10" y="T11"/>
                </a:cxn>
              </a:cxnLst>
              <a:rect l="0" t="0" r="r" b="b"/>
              <a:pathLst>
                <a:path w="5647" h="1170">
                  <a:moveTo>
                    <a:pt x="0" y="1170"/>
                  </a:moveTo>
                  <a:lnTo>
                    <a:pt x="0" y="1170"/>
                  </a:lnTo>
                  <a:lnTo>
                    <a:pt x="1694" y="1170"/>
                  </a:lnTo>
                  <a:lnTo>
                    <a:pt x="5647" y="351"/>
                  </a:lnTo>
                  <a:lnTo>
                    <a:pt x="5647" y="0"/>
                  </a:lnTo>
                  <a:lnTo>
                    <a:pt x="0" y="117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grpSp>
      <p:sp>
        <p:nvSpPr>
          <p:cNvPr id="17" name="Rectangle 16"/>
          <p:cNvSpPr/>
          <p:nvPr userDrawn="1"/>
        </p:nvSpPr>
        <p:spPr bwMode="gray">
          <a:xfrm>
            <a:off x="288000" y="288000"/>
            <a:ext cx="8568000" cy="628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Espace réservé du contenu 2"/>
          <p:cNvSpPr>
            <a:spLocks noGrp="1"/>
          </p:cNvSpPr>
          <p:nvPr>
            <p:ph idx="1" hasCustomPrompt="1"/>
          </p:nvPr>
        </p:nvSpPr>
        <p:spPr bwMode="gray">
          <a:xfrm>
            <a:off x="503239" y="1449389"/>
            <a:ext cx="3960000" cy="4824411"/>
          </a:xfrm>
        </p:spPr>
        <p:txBody>
          <a:bodyPr/>
          <a:lstStyle>
            <a:lvl2pPr>
              <a:defRPr/>
            </a:lvl2pPr>
            <a:lvl3pPr>
              <a:defRPr/>
            </a:lvl3pPr>
            <a:lvl4pPr>
              <a:defRPr baseline="0"/>
            </a:lvl4pPr>
            <a:lvl5pPr>
              <a:defRPr/>
            </a:lvl5pPr>
          </a:lstStyle>
          <a:p>
            <a:pPr lvl="0"/>
            <a:r>
              <a:rPr lang="fr-FR" noProof="0"/>
              <a:t>Texte de niveau 1</a:t>
            </a:r>
          </a:p>
          <a:p>
            <a:pPr lvl="1"/>
            <a:r>
              <a:rPr lang="fr-FR" noProof="0"/>
              <a:t>Texte de niveau 2</a:t>
            </a:r>
          </a:p>
          <a:p>
            <a:pPr lvl="2"/>
            <a:r>
              <a:rPr lang="fr-FR" noProof="0"/>
              <a:t>Texte de niveau 3</a:t>
            </a:r>
          </a:p>
          <a:p>
            <a:pPr lvl="3"/>
            <a:r>
              <a:rPr lang="fr-FR" noProof="0"/>
              <a:t>Texte de niveau 4</a:t>
            </a:r>
          </a:p>
          <a:p>
            <a:pPr lvl="4"/>
            <a:r>
              <a:rPr lang="fr-FR" noProof="0"/>
              <a:t>Texte de niveau 5</a:t>
            </a:r>
          </a:p>
        </p:txBody>
      </p:sp>
      <p:sp>
        <p:nvSpPr>
          <p:cNvPr id="7" name="Titre 6"/>
          <p:cNvSpPr>
            <a:spLocks noGrp="1"/>
          </p:cNvSpPr>
          <p:nvPr>
            <p:ph type="title" hasCustomPrompt="1"/>
          </p:nvPr>
        </p:nvSpPr>
        <p:spPr bwMode="gray"/>
        <p:txBody>
          <a:bodyPr/>
          <a:lstStyle/>
          <a:p>
            <a:r>
              <a:rPr lang="fr-FR"/>
              <a:t>Titre</a:t>
            </a:r>
          </a:p>
        </p:txBody>
      </p:sp>
      <p:sp>
        <p:nvSpPr>
          <p:cNvPr id="8" name="Espace réservé du contenu 2"/>
          <p:cNvSpPr>
            <a:spLocks noGrp="1"/>
          </p:cNvSpPr>
          <p:nvPr>
            <p:ph idx="13" hasCustomPrompt="1"/>
          </p:nvPr>
        </p:nvSpPr>
        <p:spPr bwMode="gray">
          <a:xfrm>
            <a:off x="4680763" y="1449389"/>
            <a:ext cx="3960000" cy="4824411"/>
          </a:xfrm>
        </p:spPr>
        <p:txBody>
          <a:bodyPr/>
          <a:lstStyle>
            <a:lvl2pPr>
              <a:defRPr/>
            </a:lvl2pPr>
            <a:lvl3pPr>
              <a:defRPr/>
            </a:lvl3pPr>
            <a:lvl4pPr>
              <a:defRPr baseline="0"/>
            </a:lvl4pPr>
            <a:lvl5pPr>
              <a:defRPr/>
            </a:lvl5pPr>
          </a:lstStyle>
          <a:p>
            <a:pPr lvl="0"/>
            <a:r>
              <a:rPr lang="fr-FR" noProof="0"/>
              <a:t>Texte de niveau 1</a:t>
            </a:r>
          </a:p>
          <a:p>
            <a:pPr lvl="1"/>
            <a:r>
              <a:rPr lang="fr-FR" noProof="0"/>
              <a:t>Texte de niveau 2</a:t>
            </a:r>
          </a:p>
          <a:p>
            <a:pPr lvl="2"/>
            <a:r>
              <a:rPr lang="fr-FR" noProof="0"/>
              <a:t>Texte de niveau 3</a:t>
            </a:r>
          </a:p>
          <a:p>
            <a:pPr lvl="3"/>
            <a:r>
              <a:rPr lang="fr-FR" noProof="0"/>
              <a:t>Texte de niveau 4</a:t>
            </a:r>
          </a:p>
          <a:p>
            <a:pPr lvl="4"/>
            <a:r>
              <a:rPr lang="fr-FR" noProof="0"/>
              <a:t>Texte de niveau 5</a:t>
            </a:r>
          </a:p>
        </p:txBody>
      </p:sp>
      <p:sp>
        <p:nvSpPr>
          <p:cNvPr id="18" name="Espace réservé de la date 3"/>
          <p:cNvSpPr>
            <a:spLocks noGrp="1"/>
          </p:cNvSpPr>
          <p:nvPr>
            <p:ph type="dt" sz="half" idx="10"/>
          </p:nvPr>
        </p:nvSpPr>
        <p:spPr bwMode="gray">
          <a:xfrm>
            <a:off x="4139951" y="6381328"/>
            <a:ext cx="540000" cy="144464"/>
          </a:xfrm>
        </p:spPr>
        <p:txBody>
          <a:bodyPr/>
          <a:lstStyle/>
          <a:p>
            <a:fld id="{9728A8E0-CAF3-46D4-8E2D-4456E50C98FA}" type="datetime1">
              <a:rPr lang="fr-FR" smtClean="0"/>
              <a:t>11/05/2023</a:t>
            </a:fld>
            <a:endParaRPr lang="fr-FR"/>
          </a:p>
        </p:txBody>
      </p:sp>
      <p:sp>
        <p:nvSpPr>
          <p:cNvPr id="19" name="Espace réservé du pied de page 4"/>
          <p:cNvSpPr>
            <a:spLocks noGrp="1"/>
          </p:cNvSpPr>
          <p:nvPr>
            <p:ph type="ftr" sz="quarter" idx="11"/>
          </p:nvPr>
        </p:nvSpPr>
        <p:spPr bwMode="gray">
          <a:xfrm>
            <a:off x="2771999" y="6381328"/>
            <a:ext cx="3600000" cy="144463"/>
          </a:xfrm>
        </p:spPr>
        <p:txBody>
          <a:bodyPr/>
          <a:lstStyle/>
          <a:p>
            <a:r>
              <a:rPr lang="fr-FR"/>
              <a:t>GROUPE ADP -                      - DIFFUSION RESTREINTE</a:t>
            </a:r>
          </a:p>
        </p:txBody>
      </p:sp>
      <p:sp>
        <p:nvSpPr>
          <p:cNvPr id="20" name="Espace réservé du numéro de diapositive 5"/>
          <p:cNvSpPr>
            <a:spLocks noGrp="1"/>
          </p:cNvSpPr>
          <p:nvPr>
            <p:ph type="sldNum" sz="quarter" idx="12"/>
          </p:nvPr>
        </p:nvSpPr>
        <p:spPr bwMode="gray">
          <a:xfrm>
            <a:off x="8028384" y="6381328"/>
            <a:ext cx="612379" cy="144464"/>
          </a:xfrm>
        </p:spPr>
        <p:txBody>
          <a:bodyPr/>
          <a:lstStyle/>
          <a:p>
            <a:r>
              <a:rPr lang="fr-FR"/>
              <a:t>PAGE </a:t>
            </a:r>
            <a:fld id="{8AF9711C-11F6-40F1-A9C4-511E8DA6BB32}" type="slidenum">
              <a:rPr lang="fr-FR" smtClean="0"/>
              <a:pPr/>
              <a:t>‹N°›</a:t>
            </a:fld>
            <a:endParaRPr lang="fr-FR"/>
          </a:p>
        </p:txBody>
      </p:sp>
    </p:spTree>
    <p:extLst>
      <p:ext uri="{BB962C8B-B14F-4D97-AF65-F5344CB8AC3E}">
        <p14:creationId xmlns:p14="http://schemas.microsoft.com/office/powerpoint/2010/main" val="27942463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re et contenu - v3">
    <p:spTree>
      <p:nvGrpSpPr>
        <p:cNvPr id="1" name=""/>
        <p:cNvGrpSpPr/>
        <p:nvPr/>
      </p:nvGrpSpPr>
      <p:grpSpPr>
        <a:xfrm>
          <a:off x="0" y="0"/>
          <a:ext cx="0" cy="0"/>
          <a:chOff x="0" y="0"/>
          <a:chExt cx="0" cy="0"/>
        </a:xfrm>
      </p:grpSpPr>
      <p:sp>
        <p:nvSpPr>
          <p:cNvPr id="2" name="Rectangle 1"/>
          <p:cNvSpPr/>
          <p:nvPr userDrawn="1"/>
        </p:nvSpPr>
        <p:spPr bwMode="gray">
          <a:xfrm>
            <a:off x="0" y="0"/>
            <a:ext cx="914241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6" name="Groupe 15"/>
          <p:cNvGrpSpPr/>
          <p:nvPr userDrawn="1"/>
        </p:nvGrpSpPr>
        <p:grpSpPr bwMode="gray">
          <a:xfrm>
            <a:off x="0" y="0"/>
            <a:ext cx="9144000" cy="6858000"/>
            <a:chOff x="0" y="0"/>
            <a:chExt cx="9155113" cy="6858000"/>
          </a:xfrm>
          <a:solidFill>
            <a:schemeClr val="bg1"/>
          </a:solidFill>
        </p:grpSpPr>
        <p:sp>
          <p:nvSpPr>
            <p:cNvPr id="17" name="Freeform 5"/>
            <p:cNvSpPr>
              <a:spLocks/>
            </p:cNvSpPr>
            <p:nvPr/>
          </p:nvSpPr>
          <p:spPr bwMode="gray">
            <a:xfrm>
              <a:off x="0" y="4448175"/>
              <a:ext cx="9142413" cy="2409825"/>
            </a:xfrm>
            <a:custGeom>
              <a:avLst/>
              <a:gdLst>
                <a:gd name="T0" fmla="*/ 0 w 9586"/>
                <a:gd name="T1" fmla="*/ 393 h 2526"/>
                <a:gd name="T2" fmla="*/ 0 w 9586"/>
                <a:gd name="T3" fmla="*/ 393 h 2526"/>
                <a:gd name="T4" fmla="*/ 8096 w 9586"/>
                <a:gd name="T5" fmla="*/ 2526 h 2526"/>
                <a:gd name="T6" fmla="*/ 9586 w 9586"/>
                <a:gd name="T7" fmla="*/ 2526 h 2526"/>
                <a:gd name="T8" fmla="*/ 0 w 9586"/>
                <a:gd name="T9" fmla="*/ 0 h 2526"/>
                <a:gd name="T10" fmla="*/ 0 w 9586"/>
                <a:gd name="T11" fmla="*/ 393 h 2526"/>
              </a:gdLst>
              <a:ahLst/>
              <a:cxnLst>
                <a:cxn ang="0">
                  <a:pos x="T0" y="T1"/>
                </a:cxn>
                <a:cxn ang="0">
                  <a:pos x="T2" y="T3"/>
                </a:cxn>
                <a:cxn ang="0">
                  <a:pos x="T4" y="T5"/>
                </a:cxn>
                <a:cxn ang="0">
                  <a:pos x="T6" y="T7"/>
                </a:cxn>
                <a:cxn ang="0">
                  <a:pos x="T8" y="T9"/>
                </a:cxn>
                <a:cxn ang="0">
                  <a:pos x="T10" y="T11"/>
                </a:cxn>
              </a:cxnLst>
              <a:rect l="0" t="0" r="r" b="b"/>
              <a:pathLst>
                <a:path w="9586" h="2526">
                  <a:moveTo>
                    <a:pt x="0" y="393"/>
                  </a:moveTo>
                  <a:lnTo>
                    <a:pt x="0" y="393"/>
                  </a:lnTo>
                  <a:lnTo>
                    <a:pt x="8096" y="2526"/>
                  </a:lnTo>
                  <a:lnTo>
                    <a:pt x="9586" y="2526"/>
                  </a:lnTo>
                  <a:lnTo>
                    <a:pt x="0" y="0"/>
                  </a:lnTo>
                  <a:lnTo>
                    <a:pt x="0" y="39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8" name="Freeform 6"/>
            <p:cNvSpPr>
              <a:spLocks/>
            </p:cNvSpPr>
            <p:nvPr/>
          </p:nvSpPr>
          <p:spPr bwMode="gray">
            <a:xfrm>
              <a:off x="0" y="3343275"/>
              <a:ext cx="9153525" cy="3228975"/>
            </a:xfrm>
            <a:custGeom>
              <a:avLst/>
              <a:gdLst>
                <a:gd name="T0" fmla="*/ 0 w 9599"/>
                <a:gd name="T1" fmla="*/ 319 h 3384"/>
                <a:gd name="T2" fmla="*/ 0 w 9599"/>
                <a:gd name="T3" fmla="*/ 319 h 3384"/>
                <a:gd name="T4" fmla="*/ 9599 w 9599"/>
                <a:gd name="T5" fmla="*/ 3384 h 3384"/>
                <a:gd name="T6" fmla="*/ 9599 w 9599"/>
                <a:gd name="T7" fmla="*/ 3065 h 3384"/>
                <a:gd name="T8" fmla="*/ 0 w 9599"/>
                <a:gd name="T9" fmla="*/ 0 h 3384"/>
                <a:gd name="T10" fmla="*/ 0 w 9599"/>
                <a:gd name="T11" fmla="*/ 319 h 3384"/>
              </a:gdLst>
              <a:ahLst/>
              <a:cxnLst>
                <a:cxn ang="0">
                  <a:pos x="T0" y="T1"/>
                </a:cxn>
                <a:cxn ang="0">
                  <a:pos x="T2" y="T3"/>
                </a:cxn>
                <a:cxn ang="0">
                  <a:pos x="T4" y="T5"/>
                </a:cxn>
                <a:cxn ang="0">
                  <a:pos x="T6" y="T7"/>
                </a:cxn>
                <a:cxn ang="0">
                  <a:pos x="T8" y="T9"/>
                </a:cxn>
                <a:cxn ang="0">
                  <a:pos x="T10" y="T11"/>
                </a:cxn>
              </a:cxnLst>
              <a:rect l="0" t="0" r="r" b="b"/>
              <a:pathLst>
                <a:path w="9599" h="3384">
                  <a:moveTo>
                    <a:pt x="0" y="319"/>
                  </a:moveTo>
                  <a:lnTo>
                    <a:pt x="0" y="319"/>
                  </a:lnTo>
                  <a:lnTo>
                    <a:pt x="9599" y="3384"/>
                  </a:lnTo>
                  <a:lnTo>
                    <a:pt x="9599" y="3065"/>
                  </a:lnTo>
                  <a:lnTo>
                    <a:pt x="0" y="0"/>
                  </a:lnTo>
                  <a:lnTo>
                    <a:pt x="0" y="31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9" name="Freeform 7"/>
            <p:cNvSpPr>
              <a:spLocks/>
            </p:cNvSpPr>
            <p:nvPr/>
          </p:nvSpPr>
          <p:spPr bwMode="gray">
            <a:xfrm>
              <a:off x="0" y="2211388"/>
              <a:ext cx="9153525" cy="3632200"/>
            </a:xfrm>
            <a:custGeom>
              <a:avLst/>
              <a:gdLst>
                <a:gd name="T0" fmla="*/ 0 w 9599"/>
                <a:gd name="T1" fmla="*/ 243 h 3808"/>
                <a:gd name="T2" fmla="*/ 0 w 9599"/>
                <a:gd name="T3" fmla="*/ 243 h 3808"/>
                <a:gd name="T4" fmla="*/ 9599 w 9599"/>
                <a:gd name="T5" fmla="*/ 3808 h 3808"/>
                <a:gd name="T6" fmla="*/ 9599 w 9599"/>
                <a:gd name="T7" fmla="*/ 3565 h 3808"/>
                <a:gd name="T8" fmla="*/ 0 w 9599"/>
                <a:gd name="T9" fmla="*/ 0 h 3808"/>
                <a:gd name="T10" fmla="*/ 0 w 9599"/>
                <a:gd name="T11" fmla="*/ 243 h 3808"/>
              </a:gdLst>
              <a:ahLst/>
              <a:cxnLst>
                <a:cxn ang="0">
                  <a:pos x="T0" y="T1"/>
                </a:cxn>
                <a:cxn ang="0">
                  <a:pos x="T2" y="T3"/>
                </a:cxn>
                <a:cxn ang="0">
                  <a:pos x="T4" y="T5"/>
                </a:cxn>
                <a:cxn ang="0">
                  <a:pos x="T6" y="T7"/>
                </a:cxn>
                <a:cxn ang="0">
                  <a:pos x="T8" y="T9"/>
                </a:cxn>
                <a:cxn ang="0">
                  <a:pos x="T10" y="T11"/>
                </a:cxn>
              </a:cxnLst>
              <a:rect l="0" t="0" r="r" b="b"/>
              <a:pathLst>
                <a:path w="9599" h="3808">
                  <a:moveTo>
                    <a:pt x="0" y="243"/>
                  </a:moveTo>
                  <a:lnTo>
                    <a:pt x="0" y="243"/>
                  </a:lnTo>
                  <a:lnTo>
                    <a:pt x="9599" y="3808"/>
                  </a:lnTo>
                  <a:lnTo>
                    <a:pt x="9599" y="3565"/>
                  </a:lnTo>
                  <a:lnTo>
                    <a:pt x="0" y="0"/>
                  </a:lnTo>
                  <a:lnTo>
                    <a:pt x="0" y="2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20" name="Freeform 8"/>
            <p:cNvSpPr>
              <a:spLocks/>
            </p:cNvSpPr>
            <p:nvPr/>
          </p:nvSpPr>
          <p:spPr bwMode="gray">
            <a:xfrm>
              <a:off x="0" y="1006475"/>
              <a:ext cx="9153525" cy="4025900"/>
            </a:xfrm>
            <a:custGeom>
              <a:avLst/>
              <a:gdLst>
                <a:gd name="T0" fmla="*/ 0 w 9599"/>
                <a:gd name="T1" fmla="*/ 192 h 4221"/>
                <a:gd name="T2" fmla="*/ 0 w 9599"/>
                <a:gd name="T3" fmla="*/ 192 h 4221"/>
                <a:gd name="T4" fmla="*/ 9599 w 9599"/>
                <a:gd name="T5" fmla="*/ 4221 h 4221"/>
                <a:gd name="T6" fmla="*/ 9599 w 9599"/>
                <a:gd name="T7" fmla="*/ 4029 h 4221"/>
                <a:gd name="T8" fmla="*/ 0 w 9599"/>
                <a:gd name="T9" fmla="*/ 0 h 4221"/>
                <a:gd name="T10" fmla="*/ 0 w 9599"/>
                <a:gd name="T11" fmla="*/ 192 h 4221"/>
              </a:gdLst>
              <a:ahLst/>
              <a:cxnLst>
                <a:cxn ang="0">
                  <a:pos x="T0" y="T1"/>
                </a:cxn>
                <a:cxn ang="0">
                  <a:pos x="T2" y="T3"/>
                </a:cxn>
                <a:cxn ang="0">
                  <a:pos x="T4" y="T5"/>
                </a:cxn>
                <a:cxn ang="0">
                  <a:pos x="T6" y="T7"/>
                </a:cxn>
                <a:cxn ang="0">
                  <a:pos x="T8" y="T9"/>
                </a:cxn>
                <a:cxn ang="0">
                  <a:pos x="T10" y="T11"/>
                </a:cxn>
              </a:cxnLst>
              <a:rect l="0" t="0" r="r" b="b"/>
              <a:pathLst>
                <a:path w="9599" h="4221">
                  <a:moveTo>
                    <a:pt x="0" y="192"/>
                  </a:moveTo>
                  <a:lnTo>
                    <a:pt x="0" y="192"/>
                  </a:lnTo>
                  <a:lnTo>
                    <a:pt x="9599" y="4221"/>
                  </a:lnTo>
                  <a:lnTo>
                    <a:pt x="9599" y="4029"/>
                  </a:lnTo>
                  <a:lnTo>
                    <a:pt x="0" y="0"/>
                  </a:lnTo>
                  <a:lnTo>
                    <a:pt x="0" y="19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21" name="Freeform 9"/>
            <p:cNvSpPr>
              <a:spLocks/>
            </p:cNvSpPr>
            <p:nvPr/>
          </p:nvSpPr>
          <p:spPr bwMode="gray">
            <a:xfrm>
              <a:off x="452438" y="0"/>
              <a:ext cx="8702675" cy="4114800"/>
            </a:xfrm>
            <a:custGeom>
              <a:avLst/>
              <a:gdLst>
                <a:gd name="T0" fmla="*/ 0 w 9125"/>
                <a:gd name="T1" fmla="*/ 0 h 4313"/>
                <a:gd name="T2" fmla="*/ 0 w 9125"/>
                <a:gd name="T3" fmla="*/ 0 h 4313"/>
                <a:gd name="T4" fmla="*/ 9125 w 9125"/>
                <a:gd name="T5" fmla="*/ 4313 h 4313"/>
                <a:gd name="T6" fmla="*/ 9125 w 9125"/>
                <a:gd name="T7" fmla="*/ 4145 h 4313"/>
                <a:gd name="T8" fmla="*/ 355 w 9125"/>
                <a:gd name="T9" fmla="*/ 0 h 4313"/>
                <a:gd name="T10" fmla="*/ 0 w 9125"/>
                <a:gd name="T11" fmla="*/ 0 h 4313"/>
              </a:gdLst>
              <a:ahLst/>
              <a:cxnLst>
                <a:cxn ang="0">
                  <a:pos x="T0" y="T1"/>
                </a:cxn>
                <a:cxn ang="0">
                  <a:pos x="T2" y="T3"/>
                </a:cxn>
                <a:cxn ang="0">
                  <a:pos x="T4" y="T5"/>
                </a:cxn>
                <a:cxn ang="0">
                  <a:pos x="T6" y="T7"/>
                </a:cxn>
                <a:cxn ang="0">
                  <a:pos x="T8" y="T9"/>
                </a:cxn>
                <a:cxn ang="0">
                  <a:pos x="T10" y="T11"/>
                </a:cxn>
              </a:cxnLst>
              <a:rect l="0" t="0" r="r" b="b"/>
              <a:pathLst>
                <a:path w="9125" h="4313">
                  <a:moveTo>
                    <a:pt x="0" y="0"/>
                  </a:moveTo>
                  <a:lnTo>
                    <a:pt x="0" y="0"/>
                  </a:lnTo>
                  <a:lnTo>
                    <a:pt x="9125" y="4313"/>
                  </a:lnTo>
                  <a:lnTo>
                    <a:pt x="9125" y="4145"/>
                  </a:lnTo>
                  <a:lnTo>
                    <a:pt x="355"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22" name="Freeform 10"/>
            <p:cNvSpPr>
              <a:spLocks/>
            </p:cNvSpPr>
            <p:nvPr/>
          </p:nvSpPr>
          <p:spPr bwMode="gray">
            <a:xfrm>
              <a:off x="2733675" y="0"/>
              <a:ext cx="6421438" cy="3325813"/>
            </a:xfrm>
            <a:custGeom>
              <a:avLst/>
              <a:gdLst>
                <a:gd name="T0" fmla="*/ 0 w 6734"/>
                <a:gd name="T1" fmla="*/ 0 h 3486"/>
                <a:gd name="T2" fmla="*/ 0 w 6734"/>
                <a:gd name="T3" fmla="*/ 0 h 3486"/>
                <a:gd name="T4" fmla="*/ 6734 w 6734"/>
                <a:gd name="T5" fmla="*/ 3486 h 3486"/>
                <a:gd name="T6" fmla="*/ 6734 w 6734"/>
                <a:gd name="T7" fmla="*/ 3315 h 3486"/>
                <a:gd name="T8" fmla="*/ 330 w 6734"/>
                <a:gd name="T9" fmla="*/ 0 h 3486"/>
                <a:gd name="T10" fmla="*/ 0 w 6734"/>
                <a:gd name="T11" fmla="*/ 0 h 3486"/>
              </a:gdLst>
              <a:ahLst/>
              <a:cxnLst>
                <a:cxn ang="0">
                  <a:pos x="T0" y="T1"/>
                </a:cxn>
                <a:cxn ang="0">
                  <a:pos x="T2" y="T3"/>
                </a:cxn>
                <a:cxn ang="0">
                  <a:pos x="T4" y="T5"/>
                </a:cxn>
                <a:cxn ang="0">
                  <a:pos x="T6" y="T7"/>
                </a:cxn>
                <a:cxn ang="0">
                  <a:pos x="T8" y="T9"/>
                </a:cxn>
                <a:cxn ang="0">
                  <a:pos x="T10" y="T11"/>
                </a:cxn>
              </a:cxnLst>
              <a:rect l="0" t="0" r="r" b="b"/>
              <a:pathLst>
                <a:path w="6734" h="3486">
                  <a:moveTo>
                    <a:pt x="0" y="0"/>
                  </a:moveTo>
                  <a:lnTo>
                    <a:pt x="0" y="0"/>
                  </a:lnTo>
                  <a:lnTo>
                    <a:pt x="6734" y="3486"/>
                  </a:lnTo>
                  <a:lnTo>
                    <a:pt x="6734" y="3315"/>
                  </a:lnTo>
                  <a:lnTo>
                    <a:pt x="330"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grpSp>
      <p:sp>
        <p:nvSpPr>
          <p:cNvPr id="15" name="Rectangle 14"/>
          <p:cNvSpPr/>
          <p:nvPr userDrawn="1"/>
        </p:nvSpPr>
        <p:spPr bwMode="gray">
          <a:xfrm>
            <a:off x="288000" y="288000"/>
            <a:ext cx="8568000" cy="628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Espace réservé du contenu 2"/>
          <p:cNvSpPr>
            <a:spLocks noGrp="1"/>
          </p:cNvSpPr>
          <p:nvPr>
            <p:ph idx="1" hasCustomPrompt="1"/>
          </p:nvPr>
        </p:nvSpPr>
        <p:spPr bwMode="gray">
          <a:xfrm>
            <a:off x="503239" y="1449389"/>
            <a:ext cx="8137524" cy="4824411"/>
          </a:xfrm>
        </p:spPr>
        <p:txBody>
          <a:bodyPr/>
          <a:lstStyle>
            <a:lvl2pPr>
              <a:defRPr/>
            </a:lvl2pPr>
            <a:lvl3pPr>
              <a:defRPr/>
            </a:lvl3pPr>
            <a:lvl4pPr>
              <a:defRPr baseline="0"/>
            </a:lvl4pPr>
            <a:lvl5pPr>
              <a:defRPr/>
            </a:lvl5pPr>
          </a:lstStyle>
          <a:p>
            <a:pPr lvl="0"/>
            <a:r>
              <a:rPr lang="fr-FR" noProof="0"/>
              <a:t>Texte de niveau 1</a:t>
            </a:r>
          </a:p>
          <a:p>
            <a:pPr lvl="1"/>
            <a:r>
              <a:rPr lang="fr-FR" noProof="0"/>
              <a:t>Texte de niveau 2</a:t>
            </a:r>
          </a:p>
          <a:p>
            <a:pPr lvl="2"/>
            <a:r>
              <a:rPr lang="fr-FR" noProof="0"/>
              <a:t>Texte de niveau 3</a:t>
            </a:r>
          </a:p>
          <a:p>
            <a:pPr lvl="3"/>
            <a:r>
              <a:rPr lang="fr-FR" noProof="0"/>
              <a:t>Texte de niveau 4</a:t>
            </a:r>
          </a:p>
          <a:p>
            <a:pPr lvl="4"/>
            <a:r>
              <a:rPr lang="fr-FR" noProof="0"/>
              <a:t>Texte de niveau 5</a:t>
            </a:r>
          </a:p>
        </p:txBody>
      </p:sp>
      <p:sp>
        <p:nvSpPr>
          <p:cNvPr id="4" name="Espace réservé de la date 3"/>
          <p:cNvSpPr>
            <a:spLocks noGrp="1"/>
          </p:cNvSpPr>
          <p:nvPr>
            <p:ph type="dt" sz="half" idx="10"/>
          </p:nvPr>
        </p:nvSpPr>
        <p:spPr bwMode="gray">
          <a:xfrm>
            <a:off x="4139951" y="6381328"/>
            <a:ext cx="540000" cy="144464"/>
          </a:xfrm>
        </p:spPr>
        <p:txBody>
          <a:bodyPr/>
          <a:lstStyle/>
          <a:p>
            <a:fld id="{9728A8E0-CAF3-46D4-8E2D-4456E50C98FA}" type="datetime1">
              <a:rPr lang="fr-FR" smtClean="0"/>
              <a:t>11/05/2023</a:t>
            </a:fld>
            <a:endParaRPr lang="fr-FR"/>
          </a:p>
        </p:txBody>
      </p:sp>
      <p:sp>
        <p:nvSpPr>
          <p:cNvPr id="5" name="Espace réservé du pied de page 4"/>
          <p:cNvSpPr>
            <a:spLocks noGrp="1"/>
          </p:cNvSpPr>
          <p:nvPr>
            <p:ph type="ftr" sz="quarter" idx="11"/>
          </p:nvPr>
        </p:nvSpPr>
        <p:spPr bwMode="gray">
          <a:xfrm>
            <a:off x="2771999" y="6381328"/>
            <a:ext cx="3600000" cy="144463"/>
          </a:xfrm>
        </p:spPr>
        <p:txBody>
          <a:bodyPr/>
          <a:lstStyle/>
          <a:p>
            <a:r>
              <a:rPr lang="fr-FR"/>
              <a:t>GROUPE ADP -                      - DIFFUSION RESTREINTE</a:t>
            </a:r>
          </a:p>
        </p:txBody>
      </p:sp>
      <p:sp>
        <p:nvSpPr>
          <p:cNvPr id="6" name="Espace réservé du numéro de diapositive 5"/>
          <p:cNvSpPr>
            <a:spLocks noGrp="1"/>
          </p:cNvSpPr>
          <p:nvPr>
            <p:ph type="sldNum" sz="quarter" idx="12"/>
          </p:nvPr>
        </p:nvSpPr>
        <p:spPr bwMode="gray">
          <a:xfrm>
            <a:off x="8028384" y="6381328"/>
            <a:ext cx="612379" cy="144464"/>
          </a:xfrm>
        </p:spPr>
        <p:txBody>
          <a:bodyPr/>
          <a:lstStyle/>
          <a:p>
            <a:r>
              <a:rPr lang="fr-FR"/>
              <a:t>PAGE </a:t>
            </a:r>
            <a:fld id="{8AF9711C-11F6-40F1-A9C4-511E8DA6BB32}" type="slidenum">
              <a:rPr lang="fr-FR" smtClean="0"/>
              <a:pPr/>
              <a:t>‹N°›</a:t>
            </a:fld>
            <a:endParaRPr lang="fr-FR"/>
          </a:p>
        </p:txBody>
      </p:sp>
      <p:sp>
        <p:nvSpPr>
          <p:cNvPr id="7" name="Titre 6"/>
          <p:cNvSpPr>
            <a:spLocks noGrp="1"/>
          </p:cNvSpPr>
          <p:nvPr>
            <p:ph type="title" hasCustomPrompt="1"/>
          </p:nvPr>
        </p:nvSpPr>
        <p:spPr bwMode="gray"/>
        <p:txBody>
          <a:bodyPr/>
          <a:lstStyle>
            <a:lvl1pPr>
              <a:defRPr/>
            </a:lvl1pPr>
          </a:lstStyle>
          <a:p>
            <a:r>
              <a:rPr lang="fr-FR"/>
              <a:t>Titre</a:t>
            </a:r>
          </a:p>
        </p:txBody>
      </p:sp>
    </p:spTree>
    <p:extLst>
      <p:ext uri="{BB962C8B-B14F-4D97-AF65-F5344CB8AC3E}">
        <p14:creationId xmlns:p14="http://schemas.microsoft.com/office/powerpoint/2010/main" val="24427361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re et contenu - v3">
    <p:spTree>
      <p:nvGrpSpPr>
        <p:cNvPr id="1" name=""/>
        <p:cNvGrpSpPr/>
        <p:nvPr/>
      </p:nvGrpSpPr>
      <p:grpSpPr>
        <a:xfrm>
          <a:off x="0" y="0"/>
          <a:ext cx="0" cy="0"/>
          <a:chOff x="0" y="0"/>
          <a:chExt cx="0" cy="0"/>
        </a:xfrm>
      </p:grpSpPr>
      <p:sp>
        <p:nvSpPr>
          <p:cNvPr id="2" name="Rectangle 1"/>
          <p:cNvSpPr/>
          <p:nvPr userDrawn="1"/>
        </p:nvSpPr>
        <p:spPr bwMode="gray">
          <a:xfrm>
            <a:off x="0" y="0"/>
            <a:ext cx="914241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6" name="Groupe 15"/>
          <p:cNvGrpSpPr/>
          <p:nvPr userDrawn="1"/>
        </p:nvGrpSpPr>
        <p:grpSpPr bwMode="gray">
          <a:xfrm>
            <a:off x="0" y="0"/>
            <a:ext cx="9144000" cy="6858000"/>
            <a:chOff x="0" y="0"/>
            <a:chExt cx="9155113" cy="6858000"/>
          </a:xfrm>
          <a:solidFill>
            <a:schemeClr val="bg1"/>
          </a:solidFill>
        </p:grpSpPr>
        <p:sp>
          <p:nvSpPr>
            <p:cNvPr id="17" name="Freeform 5"/>
            <p:cNvSpPr>
              <a:spLocks/>
            </p:cNvSpPr>
            <p:nvPr/>
          </p:nvSpPr>
          <p:spPr bwMode="gray">
            <a:xfrm>
              <a:off x="0" y="4448175"/>
              <a:ext cx="9142413" cy="2409825"/>
            </a:xfrm>
            <a:custGeom>
              <a:avLst/>
              <a:gdLst>
                <a:gd name="T0" fmla="*/ 0 w 9586"/>
                <a:gd name="T1" fmla="*/ 393 h 2526"/>
                <a:gd name="T2" fmla="*/ 0 w 9586"/>
                <a:gd name="T3" fmla="*/ 393 h 2526"/>
                <a:gd name="T4" fmla="*/ 8096 w 9586"/>
                <a:gd name="T5" fmla="*/ 2526 h 2526"/>
                <a:gd name="T6" fmla="*/ 9586 w 9586"/>
                <a:gd name="T7" fmla="*/ 2526 h 2526"/>
                <a:gd name="T8" fmla="*/ 0 w 9586"/>
                <a:gd name="T9" fmla="*/ 0 h 2526"/>
                <a:gd name="T10" fmla="*/ 0 w 9586"/>
                <a:gd name="T11" fmla="*/ 393 h 2526"/>
              </a:gdLst>
              <a:ahLst/>
              <a:cxnLst>
                <a:cxn ang="0">
                  <a:pos x="T0" y="T1"/>
                </a:cxn>
                <a:cxn ang="0">
                  <a:pos x="T2" y="T3"/>
                </a:cxn>
                <a:cxn ang="0">
                  <a:pos x="T4" y="T5"/>
                </a:cxn>
                <a:cxn ang="0">
                  <a:pos x="T6" y="T7"/>
                </a:cxn>
                <a:cxn ang="0">
                  <a:pos x="T8" y="T9"/>
                </a:cxn>
                <a:cxn ang="0">
                  <a:pos x="T10" y="T11"/>
                </a:cxn>
              </a:cxnLst>
              <a:rect l="0" t="0" r="r" b="b"/>
              <a:pathLst>
                <a:path w="9586" h="2526">
                  <a:moveTo>
                    <a:pt x="0" y="393"/>
                  </a:moveTo>
                  <a:lnTo>
                    <a:pt x="0" y="393"/>
                  </a:lnTo>
                  <a:lnTo>
                    <a:pt x="8096" y="2526"/>
                  </a:lnTo>
                  <a:lnTo>
                    <a:pt x="9586" y="2526"/>
                  </a:lnTo>
                  <a:lnTo>
                    <a:pt x="0" y="0"/>
                  </a:lnTo>
                  <a:lnTo>
                    <a:pt x="0" y="39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8" name="Freeform 6"/>
            <p:cNvSpPr>
              <a:spLocks/>
            </p:cNvSpPr>
            <p:nvPr/>
          </p:nvSpPr>
          <p:spPr bwMode="gray">
            <a:xfrm>
              <a:off x="0" y="3343275"/>
              <a:ext cx="9153525" cy="3228975"/>
            </a:xfrm>
            <a:custGeom>
              <a:avLst/>
              <a:gdLst>
                <a:gd name="T0" fmla="*/ 0 w 9599"/>
                <a:gd name="T1" fmla="*/ 319 h 3384"/>
                <a:gd name="T2" fmla="*/ 0 w 9599"/>
                <a:gd name="T3" fmla="*/ 319 h 3384"/>
                <a:gd name="T4" fmla="*/ 9599 w 9599"/>
                <a:gd name="T5" fmla="*/ 3384 h 3384"/>
                <a:gd name="T6" fmla="*/ 9599 w 9599"/>
                <a:gd name="T7" fmla="*/ 3065 h 3384"/>
                <a:gd name="T8" fmla="*/ 0 w 9599"/>
                <a:gd name="T9" fmla="*/ 0 h 3384"/>
                <a:gd name="T10" fmla="*/ 0 w 9599"/>
                <a:gd name="T11" fmla="*/ 319 h 3384"/>
              </a:gdLst>
              <a:ahLst/>
              <a:cxnLst>
                <a:cxn ang="0">
                  <a:pos x="T0" y="T1"/>
                </a:cxn>
                <a:cxn ang="0">
                  <a:pos x="T2" y="T3"/>
                </a:cxn>
                <a:cxn ang="0">
                  <a:pos x="T4" y="T5"/>
                </a:cxn>
                <a:cxn ang="0">
                  <a:pos x="T6" y="T7"/>
                </a:cxn>
                <a:cxn ang="0">
                  <a:pos x="T8" y="T9"/>
                </a:cxn>
                <a:cxn ang="0">
                  <a:pos x="T10" y="T11"/>
                </a:cxn>
              </a:cxnLst>
              <a:rect l="0" t="0" r="r" b="b"/>
              <a:pathLst>
                <a:path w="9599" h="3384">
                  <a:moveTo>
                    <a:pt x="0" y="319"/>
                  </a:moveTo>
                  <a:lnTo>
                    <a:pt x="0" y="319"/>
                  </a:lnTo>
                  <a:lnTo>
                    <a:pt x="9599" y="3384"/>
                  </a:lnTo>
                  <a:lnTo>
                    <a:pt x="9599" y="3065"/>
                  </a:lnTo>
                  <a:lnTo>
                    <a:pt x="0" y="0"/>
                  </a:lnTo>
                  <a:lnTo>
                    <a:pt x="0" y="31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9" name="Freeform 7"/>
            <p:cNvSpPr>
              <a:spLocks/>
            </p:cNvSpPr>
            <p:nvPr/>
          </p:nvSpPr>
          <p:spPr bwMode="gray">
            <a:xfrm>
              <a:off x="0" y="2211388"/>
              <a:ext cx="9153525" cy="3632200"/>
            </a:xfrm>
            <a:custGeom>
              <a:avLst/>
              <a:gdLst>
                <a:gd name="T0" fmla="*/ 0 w 9599"/>
                <a:gd name="T1" fmla="*/ 243 h 3808"/>
                <a:gd name="T2" fmla="*/ 0 w 9599"/>
                <a:gd name="T3" fmla="*/ 243 h 3808"/>
                <a:gd name="T4" fmla="*/ 9599 w 9599"/>
                <a:gd name="T5" fmla="*/ 3808 h 3808"/>
                <a:gd name="T6" fmla="*/ 9599 w 9599"/>
                <a:gd name="T7" fmla="*/ 3565 h 3808"/>
                <a:gd name="T8" fmla="*/ 0 w 9599"/>
                <a:gd name="T9" fmla="*/ 0 h 3808"/>
                <a:gd name="T10" fmla="*/ 0 w 9599"/>
                <a:gd name="T11" fmla="*/ 243 h 3808"/>
              </a:gdLst>
              <a:ahLst/>
              <a:cxnLst>
                <a:cxn ang="0">
                  <a:pos x="T0" y="T1"/>
                </a:cxn>
                <a:cxn ang="0">
                  <a:pos x="T2" y="T3"/>
                </a:cxn>
                <a:cxn ang="0">
                  <a:pos x="T4" y="T5"/>
                </a:cxn>
                <a:cxn ang="0">
                  <a:pos x="T6" y="T7"/>
                </a:cxn>
                <a:cxn ang="0">
                  <a:pos x="T8" y="T9"/>
                </a:cxn>
                <a:cxn ang="0">
                  <a:pos x="T10" y="T11"/>
                </a:cxn>
              </a:cxnLst>
              <a:rect l="0" t="0" r="r" b="b"/>
              <a:pathLst>
                <a:path w="9599" h="3808">
                  <a:moveTo>
                    <a:pt x="0" y="243"/>
                  </a:moveTo>
                  <a:lnTo>
                    <a:pt x="0" y="243"/>
                  </a:lnTo>
                  <a:lnTo>
                    <a:pt x="9599" y="3808"/>
                  </a:lnTo>
                  <a:lnTo>
                    <a:pt x="9599" y="3565"/>
                  </a:lnTo>
                  <a:lnTo>
                    <a:pt x="0" y="0"/>
                  </a:lnTo>
                  <a:lnTo>
                    <a:pt x="0" y="2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20" name="Freeform 8"/>
            <p:cNvSpPr>
              <a:spLocks/>
            </p:cNvSpPr>
            <p:nvPr/>
          </p:nvSpPr>
          <p:spPr bwMode="gray">
            <a:xfrm>
              <a:off x="0" y="1006475"/>
              <a:ext cx="9153525" cy="4025900"/>
            </a:xfrm>
            <a:custGeom>
              <a:avLst/>
              <a:gdLst>
                <a:gd name="T0" fmla="*/ 0 w 9599"/>
                <a:gd name="T1" fmla="*/ 192 h 4221"/>
                <a:gd name="T2" fmla="*/ 0 w 9599"/>
                <a:gd name="T3" fmla="*/ 192 h 4221"/>
                <a:gd name="T4" fmla="*/ 9599 w 9599"/>
                <a:gd name="T5" fmla="*/ 4221 h 4221"/>
                <a:gd name="T6" fmla="*/ 9599 w 9599"/>
                <a:gd name="T7" fmla="*/ 4029 h 4221"/>
                <a:gd name="T8" fmla="*/ 0 w 9599"/>
                <a:gd name="T9" fmla="*/ 0 h 4221"/>
                <a:gd name="T10" fmla="*/ 0 w 9599"/>
                <a:gd name="T11" fmla="*/ 192 h 4221"/>
              </a:gdLst>
              <a:ahLst/>
              <a:cxnLst>
                <a:cxn ang="0">
                  <a:pos x="T0" y="T1"/>
                </a:cxn>
                <a:cxn ang="0">
                  <a:pos x="T2" y="T3"/>
                </a:cxn>
                <a:cxn ang="0">
                  <a:pos x="T4" y="T5"/>
                </a:cxn>
                <a:cxn ang="0">
                  <a:pos x="T6" y="T7"/>
                </a:cxn>
                <a:cxn ang="0">
                  <a:pos x="T8" y="T9"/>
                </a:cxn>
                <a:cxn ang="0">
                  <a:pos x="T10" y="T11"/>
                </a:cxn>
              </a:cxnLst>
              <a:rect l="0" t="0" r="r" b="b"/>
              <a:pathLst>
                <a:path w="9599" h="4221">
                  <a:moveTo>
                    <a:pt x="0" y="192"/>
                  </a:moveTo>
                  <a:lnTo>
                    <a:pt x="0" y="192"/>
                  </a:lnTo>
                  <a:lnTo>
                    <a:pt x="9599" y="4221"/>
                  </a:lnTo>
                  <a:lnTo>
                    <a:pt x="9599" y="4029"/>
                  </a:lnTo>
                  <a:lnTo>
                    <a:pt x="0" y="0"/>
                  </a:lnTo>
                  <a:lnTo>
                    <a:pt x="0" y="19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21" name="Freeform 9"/>
            <p:cNvSpPr>
              <a:spLocks/>
            </p:cNvSpPr>
            <p:nvPr/>
          </p:nvSpPr>
          <p:spPr bwMode="gray">
            <a:xfrm>
              <a:off x="452438" y="0"/>
              <a:ext cx="8702675" cy="4114800"/>
            </a:xfrm>
            <a:custGeom>
              <a:avLst/>
              <a:gdLst>
                <a:gd name="T0" fmla="*/ 0 w 9125"/>
                <a:gd name="T1" fmla="*/ 0 h 4313"/>
                <a:gd name="T2" fmla="*/ 0 w 9125"/>
                <a:gd name="T3" fmla="*/ 0 h 4313"/>
                <a:gd name="T4" fmla="*/ 9125 w 9125"/>
                <a:gd name="T5" fmla="*/ 4313 h 4313"/>
                <a:gd name="T6" fmla="*/ 9125 w 9125"/>
                <a:gd name="T7" fmla="*/ 4145 h 4313"/>
                <a:gd name="T8" fmla="*/ 355 w 9125"/>
                <a:gd name="T9" fmla="*/ 0 h 4313"/>
                <a:gd name="T10" fmla="*/ 0 w 9125"/>
                <a:gd name="T11" fmla="*/ 0 h 4313"/>
              </a:gdLst>
              <a:ahLst/>
              <a:cxnLst>
                <a:cxn ang="0">
                  <a:pos x="T0" y="T1"/>
                </a:cxn>
                <a:cxn ang="0">
                  <a:pos x="T2" y="T3"/>
                </a:cxn>
                <a:cxn ang="0">
                  <a:pos x="T4" y="T5"/>
                </a:cxn>
                <a:cxn ang="0">
                  <a:pos x="T6" y="T7"/>
                </a:cxn>
                <a:cxn ang="0">
                  <a:pos x="T8" y="T9"/>
                </a:cxn>
                <a:cxn ang="0">
                  <a:pos x="T10" y="T11"/>
                </a:cxn>
              </a:cxnLst>
              <a:rect l="0" t="0" r="r" b="b"/>
              <a:pathLst>
                <a:path w="9125" h="4313">
                  <a:moveTo>
                    <a:pt x="0" y="0"/>
                  </a:moveTo>
                  <a:lnTo>
                    <a:pt x="0" y="0"/>
                  </a:lnTo>
                  <a:lnTo>
                    <a:pt x="9125" y="4313"/>
                  </a:lnTo>
                  <a:lnTo>
                    <a:pt x="9125" y="4145"/>
                  </a:lnTo>
                  <a:lnTo>
                    <a:pt x="355"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22" name="Freeform 10"/>
            <p:cNvSpPr>
              <a:spLocks/>
            </p:cNvSpPr>
            <p:nvPr/>
          </p:nvSpPr>
          <p:spPr bwMode="gray">
            <a:xfrm>
              <a:off x="2733675" y="0"/>
              <a:ext cx="6421438" cy="3325813"/>
            </a:xfrm>
            <a:custGeom>
              <a:avLst/>
              <a:gdLst>
                <a:gd name="T0" fmla="*/ 0 w 6734"/>
                <a:gd name="T1" fmla="*/ 0 h 3486"/>
                <a:gd name="T2" fmla="*/ 0 w 6734"/>
                <a:gd name="T3" fmla="*/ 0 h 3486"/>
                <a:gd name="T4" fmla="*/ 6734 w 6734"/>
                <a:gd name="T5" fmla="*/ 3486 h 3486"/>
                <a:gd name="T6" fmla="*/ 6734 w 6734"/>
                <a:gd name="T7" fmla="*/ 3315 h 3486"/>
                <a:gd name="T8" fmla="*/ 330 w 6734"/>
                <a:gd name="T9" fmla="*/ 0 h 3486"/>
                <a:gd name="T10" fmla="*/ 0 w 6734"/>
                <a:gd name="T11" fmla="*/ 0 h 3486"/>
              </a:gdLst>
              <a:ahLst/>
              <a:cxnLst>
                <a:cxn ang="0">
                  <a:pos x="T0" y="T1"/>
                </a:cxn>
                <a:cxn ang="0">
                  <a:pos x="T2" y="T3"/>
                </a:cxn>
                <a:cxn ang="0">
                  <a:pos x="T4" y="T5"/>
                </a:cxn>
                <a:cxn ang="0">
                  <a:pos x="T6" y="T7"/>
                </a:cxn>
                <a:cxn ang="0">
                  <a:pos x="T8" y="T9"/>
                </a:cxn>
                <a:cxn ang="0">
                  <a:pos x="T10" y="T11"/>
                </a:cxn>
              </a:cxnLst>
              <a:rect l="0" t="0" r="r" b="b"/>
              <a:pathLst>
                <a:path w="6734" h="3486">
                  <a:moveTo>
                    <a:pt x="0" y="0"/>
                  </a:moveTo>
                  <a:lnTo>
                    <a:pt x="0" y="0"/>
                  </a:lnTo>
                  <a:lnTo>
                    <a:pt x="6734" y="3486"/>
                  </a:lnTo>
                  <a:lnTo>
                    <a:pt x="6734" y="3315"/>
                  </a:lnTo>
                  <a:lnTo>
                    <a:pt x="330"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grpSp>
      <p:sp>
        <p:nvSpPr>
          <p:cNvPr id="15" name="Rectangle 14"/>
          <p:cNvSpPr/>
          <p:nvPr userDrawn="1"/>
        </p:nvSpPr>
        <p:spPr bwMode="gray">
          <a:xfrm>
            <a:off x="288000" y="288000"/>
            <a:ext cx="8568000" cy="628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Espace réservé de la date 3"/>
          <p:cNvSpPr>
            <a:spLocks noGrp="1"/>
          </p:cNvSpPr>
          <p:nvPr>
            <p:ph type="dt" sz="half" idx="10"/>
          </p:nvPr>
        </p:nvSpPr>
        <p:spPr bwMode="gray">
          <a:xfrm>
            <a:off x="4139951" y="6381328"/>
            <a:ext cx="540000" cy="144464"/>
          </a:xfrm>
        </p:spPr>
        <p:txBody>
          <a:bodyPr/>
          <a:lstStyle/>
          <a:p>
            <a:fld id="{9728A8E0-CAF3-46D4-8E2D-4456E50C98FA}" type="datetime1">
              <a:rPr lang="fr-FR" smtClean="0"/>
              <a:t>11/05/2023</a:t>
            </a:fld>
            <a:endParaRPr lang="fr-FR"/>
          </a:p>
        </p:txBody>
      </p:sp>
      <p:sp>
        <p:nvSpPr>
          <p:cNvPr id="5" name="Espace réservé du pied de page 4"/>
          <p:cNvSpPr>
            <a:spLocks noGrp="1"/>
          </p:cNvSpPr>
          <p:nvPr>
            <p:ph type="ftr" sz="quarter" idx="11"/>
          </p:nvPr>
        </p:nvSpPr>
        <p:spPr bwMode="gray">
          <a:xfrm>
            <a:off x="2771999" y="6381328"/>
            <a:ext cx="3600000" cy="144463"/>
          </a:xfrm>
        </p:spPr>
        <p:txBody>
          <a:bodyPr/>
          <a:lstStyle/>
          <a:p>
            <a:r>
              <a:rPr lang="fr-FR"/>
              <a:t>GROUPE ADP -                      - DIFFUSION RESTREINTE</a:t>
            </a:r>
          </a:p>
        </p:txBody>
      </p:sp>
      <p:sp>
        <p:nvSpPr>
          <p:cNvPr id="6" name="Espace réservé du numéro de diapositive 5"/>
          <p:cNvSpPr>
            <a:spLocks noGrp="1"/>
          </p:cNvSpPr>
          <p:nvPr>
            <p:ph type="sldNum" sz="quarter" idx="12"/>
          </p:nvPr>
        </p:nvSpPr>
        <p:spPr bwMode="gray">
          <a:xfrm>
            <a:off x="8028384" y="6381328"/>
            <a:ext cx="612379" cy="144464"/>
          </a:xfrm>
        </p:spPr>
        <p:txBody>
          <a:bodyPr/>
          <a:lstStyle/>
          <a:p>
            <a:r>
              <a:rPr lang="fr-FR"/>
              <a:t>PAGE </a:t>
            </a:r>
            <a:fld id="{8AF9711C-11F6-40F1-A9C4-511E8DA6BB32}" type="slidenum">
              <a:rPr lang="fr-FR" smtClean="0"/>
              <a:pPr/>
              <a:t>‹N°›</a:t>
            </a:fld>
            <a:endParaRPr lang="fr-FR"/>
          </a:p>
        </p:txBody>
      </p:sp>
      <p:sp>
        <p:nvSpPr>
          <p:cNvPr id="7" name="Titre 6"/>
          <p:cNvSpPr>
            <a:spLocks noGrp="1"/>
          </p:cNvSpPr>
          <p:nvPr>
            <p:ph type="title" hasCustomPrompt="1"/>
          </p:nvPr>
        </p:nvSpPr>
        <p:spPr bwMode="gray">
          <a:xfrm>
            <a:off x="503239" y="459857"/>
            <a:ext cx="8137524" cy="649288"/>
          </a:xfrm>
        </p:spPr>
        <p:txBody>
          <a:bodyPr/>
          <a:lstStyle>
            <a:lvl1pPr>
              <a:defRPr/>
            </a:lvl1pPr>
          </a:lstStyle>
          <a:p>
            <a:r>
              <a:rPr lang="fr-FR"/>
              <a:t>Titre</a:t>
            </a:r>
          </a:p>
        </p:txBody>
      </p:sp>
      <p:grpSp>
        <p:nvGrpSpPr>
          <p:cNvPr id="8" name="Groupe 7"/>
          <p:cNvGrpSpPr/>
          <p:nvPr userDrawn="1"/>
        </p:nvGrpSpPr>
        <p:grpSpPr>
          <a:xfrm>
            <a:off x="286414" y="986683"/>
            <a:ext cx="657989" cy="4713184"/>
            <a:chOff x="510718" y="1564590"/>
            <a:chExt cx="657989" cy="4713184"/>
          </a:xfrm>
        </p:grpSpPr>
        <p:sp>
          <p:nvSpPr>
            <p:cNvPr id="23" name="Rectangle 12"/>
            <p:cNvSpPr/>
            <p:nvPr userDrawn="1"/>
          </p:nvSpPr>
          <p:spPr bwMode="auto">
            <a:xfrm rot="5400000">
              <a:off x="-1516879" y="3592187"/>
              <a:ext cx="4713184" cy="657989"/>
            </a:xfrm>
            <a:prstGeom prst="rect">
              <a:avLst/>
            </a:prstGeom>
            <a:solidFill>
              <a:srgbClr val="7F7F7F">
                <a:lumMod val="20000"/>
                <a:lumOff val="80000"/>
              </a:srgbClr>
            </a:solidFill>
            <a:ln w="9525" cap="flat" cmpd="sng" algn="ctr">
              <a:noFill/>
              <a:prstDash val="solid"/>
              <a:headEnd type="none" w="med" len="med"/>
              <a:tailEnd type="none" w="med" len="med"/>
            </a:ln>
            <a:effectLst/>
          </p:spPr>
          <p:txBody>
            <a:bodyPr lIns="36000" tIns="0" rIns="0" bIns="0" anchor="ctr"/>
            <a:lstStyle/>
            <a:p>
              <a:pPr marL="0" marR="0" lvl="0" indent="0" algn="ctr" defTabSz="957816" eaLnBrk="0" fontAlgn="auto" latinLnBrk="0" hangingPunct="0">
                <a:lnSpc>
                  <a:spcPct val="100000"/>
                </a:lnSpc>
                <a:spcBef>
                  <a:spcPts val="0"/>
                </a:spcBef>
                <a:spcAft>
                  <a:spcPts val="0"/>
                </a:spcAft>
                <a:buClrTx/>
                <a:buSzTx/>
                <a:buFontTx/>
                <a:buChar char="-"/>
                <a:tabLst/>
                <a:defRPr/>
              </a:pPr>
              <a:endParaRPr kumimoji="0" lang="fr-FR" sz="900" b="0" i="0" u="none" strike="noStrike" kern="0" cap="none" spc="0" normalizeH="0" baseline="0" noProof="0">
                <a:ln>
                  <a:noFill/>
                </a:ln>
                <a:solidFill>
                  <a:prstClr val="black"/>
                </a:solidFill>
                <a:effectLst/>
                <a:uLnTx/>
                <a:uFillTx/>
                <a:latin typeface="Calibri"/>
                <a:ea typeface="+mn-ea"/>
                <a:cs typeface="+mn-cs"/>
              </a:endParaRPr>
            </a:p>
          </p:txBody>
        </p:sp>
        <p:pic>
          <p:nvPicPr>
            <p:cNvPr id="24" name="Picture 86"/>
            <p:cNvPicPr>
              <a:picLocks noChangeAspect="1" noChangeArrowheads="1"/>
            </p:cNvPicPr>
            <p:nvPr userDrawn="1"/>
          </p:nvPicPr>
          <p:blipFill>
            <a:blip r:embed="rId2" cstate="print">
              <a:clrChange>
                <a:clrFrom>
                  <a:srgbClr val="DADBDD"/>
                </a:clrFrom>
                <a:clrTo>
                  <a:srgbClr val="DADBDD">
                    <a:alpha val="0"/>
                  </a:srgbClr>
                </a:clrTo>
              </a:clrChange>
              <a:extLst>
                <a:ext uri="{28A0092B-C50C-407E-A947-70E740481C1C}">
                  <a14:useLocalDpi xmlns:a14="http://schemas.microsoft.com/office/drawing/2010/main" val="0"/>
                </a:ext>
              </a:extLst>
            </a:blip>
            <a:srcRect/>
            <a:stretch>
              <a:fillRect/>
            </a:stretch>
          </p:blipFill>
          <p:spPr bwMode="auto">
            <a:xfrm>
              <a:off x="689925" y="2011630"/>
              <a:ext cx="288000" cy="275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87"/>
            <p:cNvPicPr>
              <a:picLocks noChangeAspect="1" noChangeArrowheads="1"/>
            </p:cNvPicPr>
            <p:nvPr userDrawn="1"/>
          </p:nvPicPr>
          <p:blipFill>
            <a:blip r:embed="rId3" cstate="print">
              <a:clrChange>
                <a:clrFrom>
                  <a:srgbClr val="DADBDD"/>
                </a:clrFrom>
                <a:clrTo>
                  <a:srgbClr val="DADBDD">
                    <a:alpha val="0"/>
                  </a:srgbClr>
                </a:clrTo>
              </a:clrChange>
              <a:extLst>
                <a:ext uri="{28A0092B-C50C-407E-A947-70E740481C1C}">
                  <a14:useLocalDpi xmlns:a14="http://schemas.microsoft.com/office/drawing/2010/main" val="0"/>
                </a:ext>
              </a:extLst>
            </a:blip>
            <a:srcRect/>
            <a:stretch>
              <a:fillRect/>
            </a:stretch>
          </p:blipFill>
          <p:spPr bwMode="auto">
            <a:xfrm>
              <a:off x="689925" y="2432442"/>
              <a:ext cx="288000" cy="275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88"/>
            <p:cNvPicPr>
              <a:picLocks noChangeAspect="1" noChangeArrowheads="1"/>
            </p:cNvPicPr>
            <p:nvPr userDrawn="1"/>
          </p:nvPicPr>
          <p:blipFill>
            <a:blip r:embed="rId4" cstate="print">
              <a:clrChange>
                <a:clrFrom>
                  <a:srgbClr val="DADBDD"/>
                </a:clrFrom>
                <a:clrTo>
                  <a:srgbClr val="DADBDD">
                    <a:alpha val="0"/>
                  </a:srgbClr>
                </a:clrTo>
              </a:clrChange>
              <a:extLst>
                <a:ext uri="{28A0092B-C50C-407E-A947-70E740481C1C}">
                  <a14:useLocalDpi xmlns:a14="http://schemas.microsoft.com/office/drawing/2010/main" val="0"/>
                </a:ext>
              </a:extLst>
            </a:blip>
            <a:srcRect/>
            <a:stretch>
              <a:fillRect/>
            </a:stretch>
          </p:blipFill>
          <p:spPr bwMode="auto">
            <a:xfrm>
              <a:off x="689925" y="2853255"/>
              <a:ext cx="288000" cy="275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89"/>
            <p:cNvPicPr>
              <a:picLocks noChangeAspect="1" noChangeArrowheads="1"/>
            </p:cNvPicPr>
            <p:nvPr userDrawn="1"/>
          </p:nvPicPr>
          <p:blipFill>
            <a:blip r:embed="rId5" cstate="print">
              <a:clrChange>
                <a:clrFrom>
                  <a:srgbClr val="DADBDD"/>
                </a:clrFrom>
                <a:clrTo>
                  <a:srgbClr val="DADBDD">
                    <a:alpha val="0"/>
                  </a:srgbClr>
                </a:clrTo>
              </a:clrChange>
              <a:extLst>
                <a:ext uri="{28A0092B-C50C-407E-A947-70E740481C1C}">
                  <a14:useLocalDpi xmlns:a14="http://schemas.microsoft.com/office/drawing/2010/main" val="0"/>
                </a:ext>
              </a:extLst>
            </a:blip>
            <a:srcRect/>
            <a:stretch>
              <a:fillRect/>
            </a:stretch>
          </p:blipFill>
          <p:spPr bwMode="auto">
            <a:xfrm>
              <a:off x="635925" y="4559569"/>
              <a:ext cx="396000" cy="377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90"/>
            <p:cNvPicPr>
              <a:picLocks noChangeAspect="1" noChangeArrowheads="1"/>
            </p:cNvPicPr>
            <p:nvPr userDrawn="1"/>
          </p:nvPicPr>
          <p:blipFill>
            <a:blip r:embed="rId6" cstate="print">
              <a:clrChange>
                <a:clrFrom>
                  <a:srgbClr val="DADBDD"/>
                </a:clrFrom>
                <a:clrTo>
                  <a:srgbClr val="DADBDD">
                    <a:alpha val="0"/>
                  </a:srgbClr>
                </a:clrTo>
              </a:clrChange>
              <a:extLst>
                <a:ext uri="{28A0092B-C50C-407E-A947-70E740481C1C}">
                  <a14:useLocalDpi xmlns:a14="http://schemas.microsoft.com/office/drawing/2010/main" val="0"/>
                </a:ext>
              </a:extLst>
            </a:blip>
            <a:srcRect/>
            <a:stretch>
              <a:fillRect/>
            </a:stretch>
          </p:blipFill>
          <p:spPr bwMode="auto">
            <a:xfrm>
              <a:off x="635925" y="5006384"/>
              <a:ext cx="396000" cy="377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91"/>
            <p:cNvPicPr>
              <a:picLocks noChangeAspect="1" noChangeArrowheads="1"/>
            </p:cNvPicPr>
            <p:nvPr userDrawn="1"/>
          </p:nvPicPr>
          <p:blipFill>
            <a:blip r:embed="rId7" cstate="print">
              <a:clrChange>
                <a:clrFrom>
                  <a:srgbClr val="DADBDD"/>
                </a:clrFrom>
                <a:clrTo>
                  <a:srgbClr val="DADBDD">
                    <a:alpha val="0"/>
                  </a:srgbClr>
                </a:clrTo>
              </a:clrChange>
              <a:extLst>
                <a:ext uri="{28A0092B-C50C-407E-A947-70E740481C1C}">
                  <a14:useLocalDpi xmlns:a14="http://schemas.microsoft.com/office/drawing/2010/main" val="0"/>
                </a:ext>
              </a:extLst>
            </a:blip>
            <a:srcRect/>
            <a:stretch>
              <a:fillRect/>
            </a:stretch>
          </p:blipFill>
          <p:spPr bwMode="auto">
            <a:xfrm>
              <a:off x="635925" y="5453199"/>
              <a:ext cx="396000" cy="377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Picture 92"/>
            <p:cNvPicPr>
              <a:picLocks noChangeAspect="1" noChangeArrowheads="1"/>
            </p:cNvPicPr>
            <p:nvPr userDrawn="1"/>
          </p:nvPicPr>
          <p:blipFill>
            <a:blip r:embed="rId8" cstate="print">
              <a:clrChange>
                <a:clrFrom>
                  <a:srgbClr val="DADBDD"/>
                </a:clrFrom>
                <a:clrTo>
                  <a:srgbClr val="DADBDD">
                    <a:alpha val="0"/>
                  </a:srgbClr>
                </a:clrTo>
              </a:clrChange>
              <a:extLst>
                <a:ext uri="{28A0092B-C50C-407E-A947-70E740481C1C}">
                  <a14:useLocalDpi xmlns:a14="http://schemas.microsoft.com/office/drawing/2010/main" val="0"/>
                </a:ext>
              </a:extLst>
            </a:blip>
            <a:srcRect/>
            <a:stretch>
              <a:fillRect/>
            </a:stretch>
          </p:blipFill>
          <p:spPr bwMode="auto">
            <a:xfrm>
              <a:off x="635925" y="5900015"/>
              <a:ext cx="396000" cy="377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Text Box 100"/>
            <p:cNvSpPr txBox="1">
              <a:spLocks noChangeArrowheads="1"/>
            </p:cNvSpPr>
            <p:nvPr userDrawn="1"/>
          </p:nvSpPr>
          <p:spPr bwMode="auto">
            <a:xfrm>
              <a:off x="534516" y="4351604"/>
              <a:ext cx="598818" cy="200055"/>
            </a:xfrm>
            <a:prstGeom prst="rect">
              <a:avLst/>
            </a:prstGeom>
            <a:noFill/>
            <a:ln>
              <a:noFill/>
            </a:ln>
          </p:spPr>
          <p:txBody>
            <a:bodyPr>
              <a:no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defTabSz="957816" eaLnBrk="0" hangingPunct="0">
                <a:spcBef>
                  <a:spcPct val="50000"/>
                </a:spcBef>
                <a:defRPr/>
              </a:pPr>
              <a:r>
                <a:rPr lang="fr-FR" sz="800" b="1">
                  <a:solidFill>
                    <a:srgbClr val="00477F"/>
                  </a:solidFill>
                  <a:latin typeface="Calibri" pitchFamily="34" charset="0"/>
                </a:rPr>
                <a:t>Statut</a:t>
              </a:r>
              <a:endParaRPr lang="fr-FR" sz="1000" b="1">
                <a:solidFill>
                  <a:srgbClr val="00477F"/>
                </a:solidFill>
                <a:latin typeface="Calibri" pitchFamily="34" charset="0"/>
              </a:endParaRPr>
            </a:p>
          </p:txBody>
        </p:sp>
        <p:sp>
          <p:nvSpPr>
            <p:cNvPr id="32" name="Text Box 101"/>
            <p:cNvSpPr txBox="1">
              <a:spLocks noChangeArrowheads="1"/>
            </p:cNvSpPr>
            <p:nvPr userDrawn="1"/>
          </p:nvSpPr>
          <p:spPr bwMode="auto">
            <a:xfrm>
              <a:off x="534517" y="1790011"/>
              <a:ext cx="598817" cy="200055"/>
            </a:xfrm>
            <a:prstGeom prst="rect">
              <a:avLst/>
            </a:prstGeom>
            <a:noFill/>
            <a:ln>
              <a:noFill/>
            </a:ln>
          </p:spPr>
          <p:txBody>
            <a:bodyPr>
              <a:noAutofit/>
            </a:bodyPr>
            <a:lstStyle>
              <a:defPPr>
                <a:defRPr lang="fr-FR"/>
              </a:defPPr>
              <a:lvl1pPr algn="ctr">
                <a:spcBef>
                  <a:spcPct val="50000"/>
                </a:spcBef>
                <a:defRPr sz="1400">
                  <a:solidFill>
                    <a:srgbClr val="00477F"/>
                  </a:solidFill>
                  <a:latin typeface="Arial"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fontAlgn="base">
                <a:spcBef>
                  <a:spcPct val="0"/>
                </a:spcBef>
                <a:spcAft>
                  <a:spcPct val="0"/>
                </a:spcAft>
                <a:defRPr>
                  <a:latin typeface="Arial" charset="0"/>
                </a:defRPr>
              </a:lvl6pPr>
              <a:lvl7pPr marL="2971800" indent="-228600" fontAlgn="base">
                <a:spcBef>
                  <a:spcPct val="0"/>
                </a:spcBef>
                <a:spcAft>
                  <a:spcPct val="0"/>
                </a:spcAft>
                <a:defRPr>
                  <a:latin typeface="Arial" charset="0"/>
                </a:defRPr>
              </a:lvl7pPr>
              <a:lvl8pPr marL="3429000" indent="-228600" fontAlgn="base">
                <a:spcBef>
                  <a:spcPct val="0"/>
                </a:spcBef>
                <a:spcAft>
                  <a:spcPct val="0"/>
                </a:spcAft>
                <a:defRPr>
                  <a:latin typeface="Arial" charset="0"/>
                </a:defRPr>
              </a:lvl8pPr>
              <a:lvl9pPr marL="3886200" indent="-228600" fontAlgn="base">
                <a:spcBef>
                  <a:spcPct val="0"/>
                </a:spcBef>
                <a:spcAft>
                  <a:spcPct val="0"/>
                </a:spcAft>
                <a:defRPr>
                  <a:latin typeface="Arial" charset="0"/>
                </a:defRPr>
              </a:lvl9pPr>
            </a:lstStyle>
            <a:p>
              <a:pPr defTabSz="957816" eaLnBrk="0" hangingPunct="0">
                <a:defRPr/>
              </a:pPr>
              <a:r>
                <a:rPr lang="fr-FR" sz="800" b="1">
                  <a:latin typeface="Calibri" pitchFamily="34" charset="0"/>
                </a:rPr>
                <a:t>Tendance</a:t>
              </a:r>
            </a:p>
          </p:txBody>
        </p:sp>
      </p:grpSp>
    </p:spTree>
    <p:extLst>
      <p:ext uri="{BB962C8B-B14F-4D97-AF65-F5344CB8AC3E}">
        <p14:creationId xmlns:p14="http://schemas.microsoft.com/office/powerpoint/2010/main" val="33271709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re et 2 contenus - v3">
    <p:spTree>
      <p:nvGrpSpPr>
        <p:cNvPr id="1" name=""/>
        <p:cNvGrpSpPr/>
        <p:nvPr/>
      </p:nvGrpSpPr>
      <p:grpSpPr>
        <a:xfrm>
          <a:off x="0" y="0"/>
          <a:ext cx="0" cy="0"/>
          <a:chOff x="0" y="0"/>
          <a:chExt cx="0" cy="0"/>
        </a:xfrm>
      </p:grpSpPr>
      <p:sp>
        <p:nvSpPr>
          <p:cNvPr id="16" name="Rectangle 15"/>
          <p:cNvSpPr/>
          <p:nvPr userDrawn="1"/>
        </p:nvSpPr>
        <p:spPr bwMode="gray">
          <a:xfrm>
            <a:off x="0" y="0"/>
            <a:ext cx="914241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9" name="Groupe 8"/>
          <p:cNvGrpSpPr/>
          <p:nvPr userDrawn="1"/>
        </p:nvGrpSpPr>
        <p:grpSpPr bwMode="gray">
          <a:xfrm>
            <a:off x="0" y="0"/>
            <a:ext cx="9144000" cy="6858000"/>
            <a:chOff x="0" y="0"/>
            <a:chExt cx="9155113" cy="6858000"/>
          </a:xfrm>
          <a:solidFill>
            <a:schemeClr val="bg1"/>
          </a:solidFill>
        </p:grpSpPr>
        <p:sp>
          <p:nvSpPr>
            <p:cNvPr id="10" name="Freeform 5"/>
            <p:cNvSpPr>
              <a:spLocks/>
            </p:cNvSpPr>
            <p:nvPr/>
          </p:nvSpPr>
          <p:spPr bwMode="gray">
            <a:xfrm>
              <a:off x="0" y="4448175"/>
              <a:ext cx="9142413" cy="2409825"/>
            </a:xfrm>
            <a:custGeom>
              <a:avLst/>
              <a:gdLst>
                <a:gd name="T0" fmla="*/ 0 w 9586"/>
                <a:gd name="T1" fmla="*/ 393 h 2526"/>
                <a:gd name="T2" fmla="*/ 0 w 9586"/>
                <a:gd name="T3" fmla="*/ 393 h 2526"/>
                <a:gd name="T4" fmla="*/ 8096 w 9586"/>
                <a:gd name="T5" fmla="*/ 2526 h 2526"/>
                <a:gd name="T6" fmla="*/ 9586 w 9586"/>
                <a:gd name="T7" fmla="*/ 2526 h 2526"/>
                <a:gd name="T8" fmla="*/ 0 w 9586"/>
                <a:gd name="T9" fmla="*/ 0 h 2526"/>
                <a:gd name="T10" fmla="*/ 0 w 9586"/>
                <a:gd name="T11" fmla="*/ 393 h 2526"/>
              </a:gdLst>
              <a:ahLst/>
              <a:cxnLst>
                <a:cxn ang="0">
                  <a:pos x="T0" y="T1"/>
                </a:cxn>
                <a:cxn ang="0">
                  <a:pos x="T2" y="T3"/>
                </a:cxn>
                <a:cxn ang="0">
                  <a:pos x="T4" y="T5"/>
                </a:cxn>
                <a:cxn ang="0">
                  <a:pos x="T6" y="T7"/>
                </a:cxn>
                <a:cxn ang="0">
                  <a:pos x="T8" y="T9"/>
                </a:cxn>
                <a:cxn ang="0">
                  <a:pos x="T10" y="T11"/>
                </a:cxn>
              </a:cxnLst>
              <a:rect l="0" t="0" r="r" b="b"/>
              <a:pathLst>
                <a:path w="9586" h="2526">
                  <a:moveTo>
                    <a:pt x="0" y="393"/>
                  </a:moveTo>
                  <a:lnTo>
                    <a:pt x="0" y="393"/>
                  </a:lnTo>
                  <a:lnTo>
                    <a:pt x="8096" y="2526"/>
                  </a:lnTo>
                  <a:lnTo>
                    <a:pt x="9586" y="2526"/>
                  </a:lnTo>
                  <a:lnTo>
                    <a:pt x="0" y="0"/>
                  </a:lnTo>
                  <a:lnTo>
                    <a:pt x="0" y="39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1" name="Freeform 6"/>
            <p:cNvSpPr>
              <a:spLocks/>
            </p:cNvSpPr>
            <p:nvPr/>
          </p:nvSpPr>
          <p:spPr bwMode="gray">
            <a:xfrm>
              <a:off x="0" y="3343275"/>
              <a:ext cx="9153525" cy="3228975"/>
            </a:xfrm>
            <a:custGeom>
              <a:avLst/>
              <a:gdLst>
                <a:gd name="T0" fmla="*/ 0 w 9599"/>
                <a:gd name="T1" fmla="*/ 319 h 3384"/>
                <a:gd name="T2" fmla="*/ 0 w 9599"/>
                <a:gd name="T3" fmla="*/ 319 h 3384"/>
                <a:gd name="T4" fmla="*/ 9599 w 9599"/>
                <a:gd name="T5" fmla="*/ 3384 h 3384"/>
                <a:gd name="T6" fmla="*/ 9599 w 9599"/>
                <a:gd name="T7" fmla="*/ 3065 h 3384"/>
                <a:gd name="T8" fmla="*/ 0 w 9599"/>
                <a:gd name="T9" fmla="*/ 0 h 3384"/>
                <a:gd name="T10" fmla="*/ 0 w 9599"/>
                <a:gd name="T11" fmla="*/ 319 h 3384"/>
              </a:gdLst>
              <a:ahLst/>
              <a:cxnLst>
                <a:cxn ang="0">
                  <a:pos x="T0" y="T1"/>
                </a:cxn>
                <a:cxn ang="0">
                  <a:pos x="T2" y="T3"/>
                </a:cxn>
                <a:cxn ang="0">
                  <a:pos x="T4" y="T5"/>
                </a:cxn>
                <a:cxn ang="0">
                  <a:pos x="T6" y="T7"/>
                </a:cxn>
                <a:cxn ang="0">
                  <a:pos x="T8" y="T9"/>
                </a:cxn>
                <a:cxn ang="0">
                  <a:pos x="T10" y="T11"/>
                </a:cxn>
              </a:cxnLst>
              <a:rect l="0" t="0" r="r" b="b"/>
              <a:pathLst>
                <a:path w="9599" h="3384">
                  <a:moveTo>
                    <a:pt x="0" y="319"/>
                  </a:moveTo>
                  <a:lnTo>
                    <a:pt x="0" y="319"/>
                  </a:lnTo>
                  <a:lnTo>
                    <a:pt x="9599" y="3384"/>
                  </a:lnTo>
                  <a:lnTo>
                    <a:pt x="9599" y="3065"/>
                  </a:lnTo>
                  <a:lnTo>
                    <a:pt x="0" y="0"/>
                  </a:lnTo>
                  <a:lnTo>
                    <a:pt x="0" y="31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2" name="Freeform 7"/>
            <p:cNvSpPr>
              <a:spLocks/>
            </p:cNvSpPr>
            <p:nvPr/>
          </p:nvSpPr>
          <p:spPr bwMode="gray">
            <a:xfrm>
              <a:off x="0" y="2211388"/>
              <a:ext cx="9153525" cy="3632200"/>
            </a:xfrm>
            <a:custGeom>
              <a:avLst/>
              <a:gdLst>
                <a:gd name="T0" fmla="*/ 0 w 9599"/>
                <a:gd name="T1" fmla="*/ 243 h 3808"/>
                <a:gd name="T2" fmla="*/ 0 w 9599"/>
                <a:gd name="T3" fmla="*/ 243 h 3808"/>
                <a:gd name="T4" fmla="*/ 9599 w 9599"/>
                <a:gd name="T5" fmla="*/ 3808 h 3808"/>
                <a:gd name="T6" fmla="*/ 9599 w 9599"/>
                <a:gd name="T7" fmla="*/ 3565 h 3808"/>
                <a:gd name="T8" fmla="*/ 0 w 9599"/>
                <a:gd name="T9" fmla="*/ 0 h 3808"/>
                <a:gd name="T10" fmla="*/ 0 w 9599"/>
                <a:gd name="T11" fmla="*/ 243 h 3808"/>
              </a:gdLst>
              <a:ahLst/>
              <a:cxnLst>
                <a:cxn ang="0">
                  <a:pos x="T0" y="T1"/>
                </a:cxn>
                <a:cxn ang="0">
                  <a:pos x="T2" y="T3"/>
                </a:cxn>
                <a:cxn ang="0">
                  <a:pos x="T4" y="T5"/>
                </a:cxn>
                <a:cxn ang="0">
                  <a:pos x="T6" y="T7"/>
                </a:cxn>
                <a:cxn ang="0">
                  <a:pos x="T8" y="T9"/>
                </a:cxn>
                <a:cxn ang="0">
                  <a:pos x="T10" y="T11"/>
                </a:cxn>
              </a:cxnLst>
              <a:rect l="0" t="0" r="r" b="b"/>
              <a:pathLst>
                <a:path w="9599" h="3808">
                  <a:moveTo>
                    <a:pt x="0" y="243"/>
                  </a:moveTo>
                  <a:lnTo>
                    <a:pt x="0" y="243"/>
                  </a:lnTo>
                  <a:lnTo>
                    <a:pt x="9599" y="3808"/>
                  </a:lnTo>
                  <a:lnTo>
                    <a:pt x="9599" y="3565"/>
                  </a:lnTo>
                  <a:lnTo>
                    <a:pt x="0" y="0"/>
                  </a:lnTo>
                  <a:lnTo>
                    <a:pt x="0" y="2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3" name="Freeform 8"/>
            <p:cNvSpPr>
              <a:spLocks/>
            </p:cNvSpPr>
            <p:nvPr/>
          </p:nvSpPr>
          <p:spPr bwMode="gray">
            <a:xfrm>
              <a:off x="0" y="1006475"/>
              <a:ext cx="9153525" cy="4025900"/>
            </a:xfrm>
            <a:custGeom>
              <a:avLst/>
              <a:gdLst>
                <a:gd name="T0" fmla="*/ 0 w 9599"/>
                <a:gd name="T1" fmla="*/ 192 h 4221"/>
                <a:gd name="T2" fmla="*/ 0 w 9599"/>
                <a:gd name="T3" fmla="*/ 192 h 4221"/>
                <a:gd name="T4" fmla="*/ 9599 w 9599"/>
                <a:gd name="T5" fmla="*/ 4221 h 4221"/>
                <a:gd name="T6" fmla="*/ 9599 w 9599"/>
                <a:gd name="T7" fmla="*/ 4029 h 4221"/>
                <a:gd name="T8" fmla="*/ 0 w 9599"/>
                <a:gd name="T9" fmla="*/ 0 h 4221"/>
                <a:gd name="T10" fmla="*/ 0 w 9599"/>
                <a:gd name="T11" fmla="*/ 192 h 4221"/>
              </a:gdLst>
              <a:ahLst/>
              <a:cxnLst>
                <a:cxn ang="0">
                  <a:pos x="T0" y="T1"/>
                </a:cxn>
                <a:cxn ang="0">
                  <a:pos x="T2" y="T3"/>
                </a:cxn>
                <a:cxn ang="0">
                  <a:pos x="T4" y="T5"/>
                </a:cxn>
                <a:cxn ang="0">
                  <a:pos x="T6" y="T7"/>
                </a:cxn>
                <a:cxn ang="0">
                  <a:pos x="T8" y="T9"/>
                </a:cxn>
                <a:cxn ang="0">
                  <a:pos x="T10" y="T11"/>
                </a:cxn>
              </a:cxnLst>
              <a:rect l="0" t="0" r="r" b="b"/>
              <a:pathLst>
                <a:path w="9599" h="4221">
                  <a:moveTo>
                    <a:pt x="0" y="192"/>
                  </a:moveTo>
                  <a:lnTo>
                    <a:pt x="0" y="192"/>
                  </a:lnTo>
                  <a:lnTo>
                    <a:pt x="9599" y="4221"/>
                  </a:lnTo>
                  <a:lnTo>
                    <a:pt x="9599" y="4029"/>
                  </a:lnTo>
                  <a:lnTo>
                    <a:pt x="0" y="0"/>
                  </a:lnTo>
                  <a:lnTo>
                    <a:pt x="0" y="19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4" name="Freeform 9"/>
            <p:cNvSpPr>
              <a:spLocks/>
            </p:cNvSpPr>
            <p:nvPr/>
          </p:nvSpPr>
          <p:spPr bwMode="gray">
            <a:xfrm>
              <a:off x="452438" y="0"/>
              <a:ext cx="8702675" cy="4114800"/>
            </a:xfrm>
            <a:custGeom>
              <a:avLst/>
              <a:gdLst>
                <a:gd name="T0" fmla="*/ 0 w 9125"/>
                <a:gd name="T1" fmla="*/ 0 h 4313"/>
                <a:gd name="T2" fmla="*/ 0 w 9125"/>
                <a:gd name="T3" fmla="*/ 0 h 4313"/>
                <a:gd name="T4" fmla="*/ 9125 w 9125"/>
                <a:gd name="T5" fmla="*/ 4313 h 4313"/>
                <a:gd name="T6" fmla="*/ 9125 w 9125"/>
                <a:gd name="T7" fmla="*/ 4145 h 4313"/>
                <a:gd name="T8" fmla="*/ 355 w 9125"/>
                <a:gd name="T9" fmla="*/ 0 h 4313"/>
                <a:gd name="T10" fmla="*/ 0 w 9125"/>
                <a:gd name="T11" fmla="*/ 0 h 4313"/>
              </a:gdLst>
              <a:ahLst/>
              <a:cxnLst>
                <a:cxn ang="0">
                  <a:pos x="T0" y="T1"/>
                </a:cxn>
                <a:cxn ang="0">
                  <a:pos x="T2" y="T3"/>
                </a:cxn>
                <a:cxn ang="0">
                  <a:pos x="T4" y="T5"/>
                </a:cxn>
                <a:cxn ang="0">
                  <a:pos x="T6" y="T7"/>
                </a:cxn>
                <a:cxn ang="0">
                  <a:pos x="T8" y="T9"/>
                </a:cxn>
                <a:cxn ang="0">
                  <a:pos x="T10" y="T11"/>
                </a:cxn>
              </a:cxnLst>
              <a:rect l="0" t="0" r="r" b="b"/>
              <a:pathLst>
                <a:path w="9125" h="4313">
                  <a:moveTo>
                    <a:pt x="0" y="0"/>
                  </a:moveTo>
                  <a:lnTo>
                    <a:pt x="0" y="0"/>
                  </a:lnTo>
                  <a:lnTo>
                    <a:pt x="9125" y="4313"/>
                  </a:lnTo>
                  <a:lnTo>
                    <a:pt x="9125" y="4145"/>
                  </a:lnTo>
                  <a:lnTo>
                    <a:pt x="355"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5" name="Freeform 10"/>
            <p:cNvSpPr>
              <a:spLocks/>
            </p:cNvSpPr>
            <p:nvPr/>
          </p:nvSpPr>
          <p:spPr bwMode="gray">
            <a:xfrm>
              <a:off x="2733675" y="0"/>
              <a:ext cx="6421438" cy="3325813"/>
            </a:xfrm>
            <a:custGeom>
              <a:avLst/>
              <a:gdLst>
                <a:gd name="T0" fmla="*/ 0 w 6734"/>
                <a:gd name="T1" fmla="*/ 0 h 3486"/>
                <a:gd name="T2" fmla="*/ 0 w 6734"/>
                <a:gd name="T3" fmla="*/ 0 h 3486"/>
                <a:gd name="T4" fmla="*/ 6734 w 6734"/>
                <a:gd name="T5" fmla="*/ 3486 h 3486"/>
                <a:gd name="T6" fmla="*/ 6734 w 6734"/>
                <a:gd name="T7" fmla="*/ 3315 h 3486"/>
                <a:gd name="T8" fmla="*/ 330 w 6734"/>
                <a:gd name="T9" fmla="*/ 0 h 3486"/>
                <a:gd name="T10" fmla="*/ 0 w 6734"/>
                <a:gd name="T11" fmla="*/ 0 h 3486"/>
              </a:gdLst>
              <a:ahLst/>
              <a:cxnLst>
                <a:cxn ang="0">
                  <a:pos x="T0" y="T1"/>
                </a:cxn>
                <a:cxn ang="0">
                  <a:pos x="T2" y="T3"/>
                </a:cxn>
                <a:cxn ang="0">
                  <a:pos x="T4" y="T5"/>
                </a:cxn>
                <a:cxn ang="0">
                  <a:pos x="T6" y="T7"/>
                </a:cxn>
                <a:cxn ang="0">
                  <a:pos x="T8" y="T9"/>
                </a:cxn>
                <a:cxn ang="0">
                  <a:pos x="T10" y="T11"/>
                </a:cxn>
              </a:cxnLst>
              <a:rect l="0" t="0" r="r" b="b"/>
              <a:pathLst>
                <a:path w="6734" h="3486">
                  <a:moveTo>
                    <a:pt x="0" y="0"/>
                  </a:moveTo>
                  <a:lnTo>
                    <a:pt x="0" y="0"/>
                  </a:lnTo>
                  <a:lnTo>
                    <a:pt x="6734" y="3486"/>
                  </a:lnTo>
                  <a:lnTo>
                    <a:pt x="6734" y="3315"/>
                  </a:lnTo>
                  <a:lnTo>
                    <a:pt x="330"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grpSp>
      <p:sp>
        <p:nvSpPr>
          <p:cNvPr id="17" name="Rectangle 16"/>
          <p:cNvSpPr/>
          <p:nvPr userDrawn="1"/>
        </p:nvSpPr>
        <p:spPr bwMode="gray">
          <a:xfrm>
            <a:off x="288000" y="288000"/>
            <a:ext cx="8568000" cy="628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Espace réservé du contenu 2"/>
          <p:cNvSpPr>
            <a:spLocks noGrp="1"/>
          </p:cNvSpPr>
          <p:nvPr>
            <p:ph idx="1" hasCustomPrompt="1"/>
          </p:nvPr>
        </p:nvSpPr>
        <p:spPr bwMode="gray">
          <a:xfrm>
            <a:off x="503239" y="1449389"/>
            <a:ext cx="3960000" cy="4824411"/>
          </a:xfrm>
        </p:spPr>
        <p:txBody>
          <a:bodyPr/>
          <a:lstStyle>
            <a:lvl2pPr>
              <a:defRPr/>
            </a:lvl2pPr>
            <a:lvl3pPr>
              <a:defRPr/>
            </a:lvl3pPr>
            <a:lvl4pPr>
              <a:defRPr baseline="0"/>
            </a:lvl4pPr>
            <a:lvl5pPr>
              <a:defRPr/>
            </a:lvl5pPr>
          </a:lstStyle>
          <a:p>
            <a:pPr lvl="0"/>
            <a:r>
              <a:rPr lang="fr-FR" noProof="0"/>
              <a:t>Texte de niveau 1</a:t>
            </a:r>
          </a:p>
          <a:p>
            <a:pPr lvl="1"/>
            <a:r>
              <a:rPr lang="fr-FR" noProof="0"/>
              <a:t>Texte de niveau 2</a:t>
            </a:r>
          </a:p>
          <a:p>
            <a:pPr lvl="2"/>
            <a:r>
              <a:rPr lang="fr-FR" noProof="0"/>
              <a:t>Texte de niveau 3</a:t>
            </a:r>
          </a:p>
          <a:p>
            <a:pPr lvl="3"/>
            <a:r>
              <a:rPr lang="fr-FR" noProof="0"/>
              <a:t>Texte de niveau 4</a:t>
            </a:r>
          </a:p>
          <a:p>
            <a:pPr lvl="4"/>
            <a:r>
              <a:rPr lang="fr-FR" noProof="0"/>
              <a:t>Texte de niveau 5</a:t>
            </a:r>
          </a:p>
        </p:txBody>
      </p:sp>
      <p:sp>
        <p:nvSpPr>
          <p:cNvPr id="7" name="Titre 6"/>
          <p:cNvSpPr>
            <a:spLocks noGrp="1"/>
          </p:cNvSpPr>
          <p:nvPr>
            <p:ph type="title" hasCustomPrompt="1"/>
          </p:nvPr>
        </p:nvSpPr>
        <p:spPr bwMode="gray"/>
        <p:txBody>
          <a:bodyPr/>
          <a:lstStyle/>
          <a:p>
            <a:r>
              <a:rPr lang="fr-FR"/>
              <a:t>Titre</a:t>
            </a:r>
          </a:p>
        </p:txBody>
      </p:sp>
      <p:sp>
        <p:nvSpPr>
          <p:cNvPr id="8" name="Espace réservé du contenu 2"/>
          <p:cNvSpPr>
            <a:spLocks noGrp="1"/>
          </p:cNvSpPr>
          <p:nvPr>
            <p:ph idx="13" hasCustomPrompt="1"/>
          </p:nvPr>
        </p:nvSpPr>
        <p:spPr bwMode="gray">
          <a:xfrm>
            <a:off x="4680763" y="1449389"/>
            <a:ext cx="3960000" cy="4824411"/>
          </a:xfrm>
        </p:spPr>
        <p:txBody>
          <a:bodyPr/>
          <a:lstStyle>
            <a:lvl2pPr>
              <a:defRPr/>
            </a:lvl2pPr>
            <a:lvl3pPr>
              <a:defRPr/>
            </a:lvl3pPr>
            <a:lvl4pPr>
              <a:defRPr baseline="0"/>
            </a:lvl4pPr>
            <a:lvl5pPr>
              <a:defRPr/>
            </a:lvl5pPr>
          </a:lstStyle>
          <a:p>
            <a:pPr lvl="0"/>
            <a:r>
              <a:rPr lang="fr-FR" noProof="0"/>
              <a:t>Texte de niveau 1</a:t>
            </a:r>
          </a:p>
          <a:p>
            <a:pPr lvl="1"/>
            <a:r>
              <a:rPr lang="fr-FR" noProof="0"/>
              <a:t>Texte de niveau 2</a:t>
            </a:r>
          </a:p>
          <a:p>
            <a:pPr lvl="2"/>
            <a:r>
              <a:rPr lang="fr-FR" noProof="0"/>
              <a:t>Texte de niveau 3</a:t>
            </a:r>
          </a:p>
          <a:p>
            <a:pPr lvl="3"/>
            <a:r>
              <a:rPr lang="fr-FR" noProof="0"/>
              <a:t>Texte de niveau 4</a:t>
            </a:r>
          </a:p>
          <a:p>
            <a:pPr lvl="4"/>
            <a:r>
              <a:rPr lang="fr-FR" noProof="0"/>
              <a:t>Texte de niveau 5</a:t>
            </a:r>
          </a:p>
        </p:txBody>
      </p:sp>
      <p:sp>
        <p:nvSpPr>
          <p:cNvPr id="18" name="Espace réservé de la date 3"/>
          <p:cNvSpPr>
            <a:spLocks noGrp="1"/>
          </p:cNvSpPr>
          <p:nvPr>
            <p:ph type="dt" sz="half" idx="10"/>
          </p:nvPr>
        </p:nvSpPr>
        <p:spPr bwMode="gray">
          <a:xfrm>
            <a:off x="4139951" y="6381328"/>
            <a:ext cx="540000" cy="144464"/>
          </a:xfrm>
        </p:spPr>
        <p:txBody>
          <a:bodyPr/>
          <a:lstStyle/>
          <a:p>
            <a:fld id="{9728A8E0-CAF3-46D4-8E2D-4456E50C98FA}" type="datetime1">
              <a:rPr lang="fr-FR" smtClean="0"/>
              <a:t>11/05/2023</a:t>
            </a:fld>
            <a:endParaRPr lang="fr-FR"/>
          </a:p>
        </p:txBody>
      </p:sp>
      <p:sp>
        <p:nvSpPr>
          <p:cNvPr id="19" name="Espace réservé du pied de page 4"/>
          <p:cNvSpPr>
            <a:spLocks noGrp="1"/>
          </p:cNvSpPr>
          <p:nvPr>
            <p:ph type="ftr" sz="quarter" idx="11"/>
          </p:nvPr>
        </p:nvSpPr>
        <p:spPr bwMode="gray">
          <a:xfrm>
            <a:off x="2771999" y="6381328"/>
            <a:ext cx="3600000" cy="144463"/>
          </a:xfrm>
        </p:spPr>
        <p:txBody>
          <a:bodyPr/>
          <a:lstStyle/>
          <a:p>
            <a:r>
              <a:rPr lang="fr-FR"/>
              <a:t>GROUPE ADP -                      - DIFFUSION RESTREINTE</a:t>
            </a:r>
          </a:p>
        </p:txBody>
      </p:sp>
      <p:sp>
        <p:nvSpPr>
          <p:cNvPr id="20" name="Espace réservé du numéro de diapositive 5"/>
          <p:cNvSpPr>
            <a:spLocks noGrp="1"/>
          </p:cNvSpPr>
          <p:nvPr>
            <p:ph type="sldNum" sz="quarter" idx="12"/>
          </p:nvPr>
        </p:nvSpPr>
        <p:spPr bwMode="gray">
          <a:xfrm>
            <a:off x="8028384" y="6381328"/>
            <a:ext cx="612379" cy="144464"/>
          </a:xfrm>
        </p:spPr>
        <p:txBody>
          <a:bodyPr/>
          <a:lstStyle/>
          <a:p>
            <a:r>
              <a:rPr lang="fr-FR"/>
              <a:t>PAGE </a:t>
            </a:r>
            <a:fld id="{8AF9711C-11F6-40F1-A9C4-511E8DA6BB32}" type="slidenum">
              <a:rPr lang="fr-FR" smtClean="0"/>
              <a:pPr/>
              <a:t>‹N°›</a:t>
            </a:fld>
            <a:endParaRPr lang="fr-FR"/>
          </a:p>
        </p:txBody>
      </p:sp>
    </p:spTree>
    <p:extLst>
      <p:ext uri="{BB962C8B-B14F-4D97-AF65-F5344CB8AC3E}">
        <p14:creationId xmlns:p14="http://schemas.microsoft.com/office/powerpoint/2010/main" val="31799318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re, contenu et grande image">
    <p:spTree>
      <p:nvGrpSpPr>
        <p:cNvPr id="1" name=""/>
        <p:cNvGrpSpPr/>
        <p:nvPr/>
      </p:nvGrpSpPr>
      <p:grpSpPr>
        <a:xfrm>
          <a:off x="0" y="0"/>
          <a:ext cx="0" cy="0"/>
          <a:chOff x="0" y="0"/>
          <a:chExt cx="0" cy="0"/>
        </a:xfrm>
      </p:grpSpPr>
      <p:sp>
        <p:nvSpPr>
          <p:cNvPr id="15" name="Espace réservé pour une image  3"/>
          <p:cNvSpPr>
            <a:spLocks noGrp="1"/>
          </p:cNvSpPr>
          <p:nvPr>
            <p:ph type="pic" sz="quarter" idx="14"/>
          </p:nvPr>
        </p:nvSpPr>
        <p:spPr bwMode="gray">
          <a:xfrm>
            <a:off x="3600000" y="0"/>
            <a:ext cx="5544000" cy="6858000"/>
          </a:xfrm>
          <a:solidFill>
            <a:schemeClr val="tx1"/>
          </a:solidFill>
        </p:spPr>
        <p:txBody>
          <a:bodyPr tIns="720000" anchor="ctr" anchorCtr="0"/>
          <a:lstStyle>
            <a:lvl1pPr marL="0" indent="0" algn="ctr">
              <a:buNone/>
              <a:defRPr/>
            </a:lvl1pPr>
          </a:lstStyle>
          <a:p>
            <a:r>
              <a:rPr lang="fr-FR"/>
              <a:t>Cliquez sur l'icône pour ajouter une image</a:t>
            </a:r>
          </a:p>
        </p:txBody>
      </p:sp>
      <p:sp>
        <p:nvSpPr>
          <p:cNvPr id="3" name="Espace réservé du contenu 2"/>
          <p:cNvSpPr>
            <a:spLocks noGrp="1"/>
          </p:cNvSpPr>
          <p:nvPr>
            <p:ph idx="1" hasCustomPrompt="1"/>
          </p:nvPr>
        </p:nvSpPr>
        <p:spPr bwMode="gray">
          <a:xfrm>
            <a:off x="503239" y="1449389"/>
            <a:ext cx="2880000" cy="5003799"/>
          </a:xfrm>
        </p:spPr>
        <p:txBody>
          <a:bodyPr/>
          <a:lstStyle>
            <a:lvl2pPr>
              <a:defRPr/>
            </a:lvl2pPr>
            <a:lvl3pPr>
              <a:defRPr/>
            </a:lvl3pPr>
            <a:lvl4pPr>
              <a:defRPr baseline="0"/>
            </a:lvl4pPr>
            <a:lvl5pPr>
              <a:defRPr/>
            </a:lvl5pPr>
          </a:lstStyle>
          <a:p>
            <a:pPr lvl="0"/>
            <a:r>
              <a:rPr lang="fr-FR" noProof="0"/>
              <a:t>Texte de niveau 1</a:t>
            </a:r>
          </a:p>
          <a:p>
            <a:pPr lvl="1"/>
            <a:r>
              <a:rPr lang="fr-FR" noProof="0"/>
              <a:t>Texte de niveau 2</a:t>
            </a:r>
          </a:p>
          <a:p>
            <a:pPr lvl="2"/>
            <a:r>
              <a:rPr lang="fr-FR" noProof="0"/>
              <a:t>Texte de niveau 3</a:t>
            </a:r>
          </a:p>
          <a:p>
            <a:pPr lvl="3"/>
            <a:r>
              <a:rPr lang="fr-FR" noProof="0"/>
              <a:t>Texte de niveau 4</a:t>
            </a:r>
          </a:p>
          <a:p>
            <a:pPr lvl="4"/>
            <a:r>
              <a:rPr lang="fr-FR" noProof="0"/>
              <a:t>Texte de niveau 5</a:t>
            </a:r>
          </a:p>
        </p:txBody>
      </p:sp>
      <p:sp>
        <p:nvSpPr>
          <p:cNvPr id="7" name="Titre 6"/>
          <p:cNvSpPr>
            <a:spLocks noGrp="1"/>
          </p:cNvSpPr>
          <p:nvPr>
            <p:ph type="title" hasCustomPrompt="1"/>
          </p:nvPr>
        </p:nvSpPr>
        <p:spPr bwMode="gray">
          <a:xfrm>
            <a:off x="503239" y="800100"/>
            <a:ext cx="2880000" cy="649288"/>
          </a:xfrm>
        </p:spPr>
        <p:txBody>
          <a:bodyPr/>
          <a:lstStyle/>
          <a:p>
            <a:r>
              <a:rPr lang="fr-FR"/>
              <a:t>Titre</a:t>
            </a:r>
          </a:p>
        </p:txBody>
      </p:sp>
      <p:sp>
        <p:nvSpPr>
          <p:cNvPr id="19" name="Espace réservé de la date 18"/>
          <p:cNvSpPr>
            <a:spLocks noGrp="1"/>
          </p:cNvSpPr>
          <p:nvPr>
            <p:ph type="dt" sz="half" idx="15"/>
          </p:nvPr>
        </p:nvSpPr>
        <p:spPr bwMode="gray">
          <a:xfrm>
            <a:off x="4669147" y="6524625"/>
            <a:ext cx="540000" cy="144464"/>
          </a:xfrm>
        </p:spPr>
        <p:txBody>
          <a:bodyPr/>
          <a:lstStyle>
            <a:lvl1pPr>
              <a:defRPr>
                <a:solidFill>
                  <a:schemeClr val="bg1"/>
                </a:solidFill>
              </a:defRPr>
            </a:lvl1pPr>
          </a:lstStyle>
          <a:p>
            <a:fld id="{279B4899-8EE8-4459-B586-33B762E2A61A}" type="datetime1">
              <a:rPr lang="fr-FR" smtClean="0"/>
              <a:t>11/05/2023</a:t>
            </a:fld>
            <a:endParaRPr lang="fr-FR"/>
          </a:p>
        </p:txBody>
      </p:sp>
      <p:sp>
        <p:nvSpPr>
          <p:cNvPr id="20" name="Espace réservé du pied de page 19"/>
          <p:cNvSpPr>
            <a:spLocks noGrp="1"/>
          </p:cNvSpPr>
          <p:nvPr>
            <p:ph type="ftr" sz="quarter" idx="16"/>
          </p:nvPr>
        </p:nvSpPr>
        <p:spPr bwMode="gray">
          <a:xfrm>
            <a:off x="3301195" y="6524625"/>
            <a:ext cx="3600000" cy="144463"/>
          </a:xfrm>
        </p:spPr>
        <p:txBody>
          <a:bodyPr/>
          <a:lstStyle>
            <a:lvl1pPr>
              <a:defRPr>
                <a:solidFill>
                  <a:schemeClr val="bg1"/>
                </a:solidFill>
              </a:defRPr>
            </a:lvl1pPr>
          </a:lstStyle>
          <a:p>
            <a:r>
              <a:rPr lang="fr-FR"/>
              <a:t>GROUPE ADP -                      - DIFFUSION RESTREINTE</a:t>
            </a:r>
          </a:p>
        </p:txBody>
      </p:sp>
      <p:sp>
        <p:nvSpPr>
          <p:cNvPr id="21" name="Espace réservé du numéro de diapositive 20"/>
          <p:cNvSpPr>
            <a:spLocks noGrp="1"/>
          </p:cNvSpPr>
          <p:nvPr>
            <p:ph type="sldNum" sz="quarter" idx="17"/>
          </p:nvPr>
        </p:nvSpPr>
        <p:spPr bwMode="gray">
          <a:xfrm>
            <a:off x="8028384" y="6524625"/>
            <a:ext cx="612379" cy="144464"/>
          </a:xfrm>
        </p:spPr>
        <p:txBody>
          <a:bodyPr/>
          <a:lstStyle>
            <a:lvl1pPr>
              <a:defRPr>
                <a:solidFill>
                  <a:schemeClr val="bg1"/>
                </a:solidFill>
              </a:defRPr>
            </a:lvl1pPr>
          </a:lstStyle>
          <a:p>
            <a:r>
              <a:rPr lang="fr-FR"/>
              <a:t>PAGE </a:t>
            </a:r>
            <a:fld id="{8AF9711C-11F6-40F1-A9C4-511E8DA6BB32}" type="slidenum">
              <a:rPr lang="fr-FR" smtClean="0"/>
              <a:pPr/>
              <a:t>‹N°›</a:t>
            </a:fld>
            <a:endParaRPr lang="fr-FR"/>
          </a:p>
        </p:txBody>
      </p:sp>
    </p:spTree>
    <p:extLst>
      <p:ext uri="{BB962C8B-B14F-4D97-AF65-F5344CB8AC3E}">
        <p14:creationId xmlns:p14="http://schemas.microsoft.com/office/powerpoint/2010/main" val="1581113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re, contenu et petite image">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4103689" y="1449389"/>
            <a:ext cx="4537074" cy="5003799"/>
          </a:xfrm>
        </p:spPr>
        <p:txBody>
          <a:bodyPr/>
          <a:lstStyle>
            <a:lvl2pPr>
              <a:defRPr/>
            </a:lvl2pPr>
            <a:lvl3pPr>
              <a:defRPr/>
            </a:lvl3pPr>
            <a:lvl4pPr>
              <a:defRPr baseline="0"/>
            </a:lvl4pPr>
            <a:lvl5pPr>
              <a:defRPr/>
            </a:lvl5pPr>
          </a:lstStyle>
          <a:p>
            <a:pPr lvl="0"/>
            <a:r>
              <a:rPr lang="fr-FR" noProof="0"/>
              <a:t>Texte de niveau 1</a:t>
            </a:r>
          </a:p>
          <a:p>
            <a:pPr lvl="1"/>
            <a:r>
              <a:rPr lang="fr-FR" noProof="0"/>
              <a:t>Texte de niveau 2</a:t>
            </a:r>
          </a:p>
          <a:p>
            <a:pPr lvl="2"/>
            <a:r>
              <a:rPr lang="fr-FR" noProof="0"/>
              <a:t>Texte de niveau 3</a:t>
            </a:r>
          </a:p>
          <a:p>
            <a:pPr lvl="3"/>
            <a:r>
              <a:rPr lang="fr-FR" noProof="0"/>
              <a:t>Texte de niveau 4</a:t>
            </a:r>
          </a:p>
          <a:p>
            <a:pPr lvl="4"/>
            <a:r>
              <a:rPr lang="fr-FR" noProof="0"/>
              <a:t>Texte de niveau 5</a:t>
            </a:r>
          </a:p>
        </p:txBody>
      </p:sp>
      <p:sp>
        <p:nvSpPr>
          <p:cNvPr id="7" name="Titre 6"/>
          <p:cNvSpPr>
            <a:spLocks noGrp="1"/>
          </p:cNvSpPr>
          <p:nvPr>
            <p:ph type="title" hasCustomPrompt="1"/>
          </p:nvPr>
        </p:nvSpPr>
        <p:spPr bwMode="gray">
          <a:xfrm>
            <a:off x="4103689" y="800100"/>
            <a:ext cx="4537074" cy="649288"/>
          </a:xfrm>
        </p:spPr>
        <p:txBody>
          <a:bodyPr/>
          <a:lstStyle/>
          <a:p>
            <a:r>
              <a:rPr lang="fr-FR"/>
              <a:t>Titre</a:t>
            </a:r>
          </a:p>
        </p:txBody>
      </p:sp>
      <p:sp>
        <p:nvSpPr>
          <p:cNvPr id="8" name="Espace réservé pour une image  3"/>
          <p:cNvSpPr>
            <a:spLocks noGrp="1"/>
          </p:cNvSpPr>
          <p:nvPr>
            <p:ph type="pic" sz="quarter" idx="14"/>
          </p:nvPr>
        </p:nvSpPr>
        <p:spPr bwMode="gray">
          <a:xfrm>
            <a:off x="0" y="0"/>
            <a:ext cx="3600450" cy="6858000"/>
          </a:xfrm>
          <a:solidFill>
            <a:schemeClr val="tx1"/>
          </a:solidFill>
        </p:spPr>
        <p:txBody>
          <a:bodyPr tIns="720000" anchor="ctr" anchorCtr="0"/>
          <a:lstStyle>
            <a:lvl1pPr marL="0" indent="0" algn="ctr">
              <a:buNone/>
              <a:defRPr/>
            </a:lvl1pPr>
          </a:lstStyle>
          <a:p>
            <a:r>
              <a:rPr lang="fr-FR"/>
              <a:t>Cliquez sur l'icône pour ajouter une image</a:t>
            </a:r>
          </a:p>
        </p:txBody>
      </p:sp>
      <p:sp>
        <p:nvSpPr>
          <p:cNvPr id="13" name="Espace réservé de la date 18"/>
          <p:cNvSpPr>
            <a:spLocks noGrp="1"/>
          </p:cNvSpPr>
          <p:nvPr>
            <p:ph type="dt" sz="half" idx="15"/>
          </p:nvPr>
        </p:nvSpPr>
        <p:spPr bwMode="gray">
          <a:xfrm>
            <a:off x="4669147" y="6524625"/>
            <a:ext cx="540000" cy="144464"/>
          </a:xfrm>
        </p:spPr>
        <p:txBody>
          <a:bodyPr/>
          <a:lstStyle/>
          <a:p>
            <a:fld id="{3AF94AF0-58AE-49B0-91FC-5258FEA13DB3}" type="datetime1">
              <a:rPr lang="fr-FR" smtClean="0"/>
              <a:t>11/05/2023</a:t>
            </a:fld>
            <a:endParaRPr lang="fr-FR"/>
          </a:p>
        </p:txBody>
      </p:sp>
      <p:sp>
        <p:nvSpPr>
          <p:cNvPr id="14" name="Espace réservé du pied de page 19"/>
          <p:cNvSpPr>
            <a:spLocks noGrp="1"/>
          </p:cNvSpPr>
          <p:nvPr>
            <p:ph type="ftr" sz="quarter" idx="16"/>
          </p:nvPr>
        </p:nvSpPr>
        <p:spPr bwMode="gray">
          <a:xfrm>
            <a:off x="3301195" y="6524625"/>
            <a:ext cx="3600000" cy="144463"/>
          </a:xfrm>
        </p:spPr>
        <p:txBody>
          <a:bodyPr/>
          <a:lstStyle/>
          <a:p>
            <a:r>
              <a:rPr lang="fr-FR"/>
              <a:t>GROUPE ADP -                      - DIFFUSION RESTREINTE</a:t>
            </a:r>
          </a:p>
        </p:txBody>
      </p:sp>
      <p:sp>
        <p:nvSpPr>
          <p:cNvPr id="15" name="Espace réservé du numéro de diapositive 20"/>
          <p:cNvSpPr>
            <a:spLocks noGrp="1"/>
          </p:cNvSpPr>
          <p:nvPr>
            <p:ph type="sldNum" sz="quarter" idx="17"/>
          </p:nvPr>
        </p:nvSpPr>
        <p:spPr bwMode="gray">
          <a:xfrm>
            <a:off x="8028384" y="6524625"/>
            <a:ext cx="612379" cy="144464"/>
          </a:xfrm>
        </p:spPr>
        <p:txBody>
          <a:bodyPr/>
          <a:lstStyle/>
          <a:p>
            <a:r>
              <a:rPr lang="fr-FR"/>
              <a:t>PAGE </a:t>
            </a:r>
            <a:fld id="{8AF9711C-11F6-40F1-A9C4-511E8DA6BB32}" type="slidenum">
              <a:rPr lang="fr-FR" smtClean="0"/>
              <a:pPr/>
              <a:t>‹N°›</a:t>
            </a:fld>
            <a:endParaRPr lang="fr-FR"/>
          </a:p>
        </p:txBody>
      </p:sp>
    </p:spTree>
    <p:extLst>
      <p:ext uri="{BB962C8B-B14F-4D97-AF65-F5344CB8AC3E}">
        <p14:creationId xmlns:p14="http://schemas.microsoft.com/office/powerpoint/2010/main" val="12086656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rande image encart bleu">
    <p:spTree>
      <p:nvGrpSpPr>
        <p:cNvPr id="1" name=""/>
        <p:cNvGrpSpPr/>
        <p:nvPr/>
      </p:nvGrpSpPr>
      <p:grpSpPr>
        <a:xfrm>
          <a:off x="0" y="0"/>
          <a:ext cx="0" cy="0"/>
          <a:chOff x="0" y="0"/>
          <a:chExt cx="0" cy="0"/>
        </a:xfrm>
      </p:grpSpPr>
      <p:sp>
        <p:nvSpPr>
          <p:cNvPr id="7" name="Titre 6"/>
          <p:cNvSpPr>
            <a:spLocks noGrp="1"/>
          </p:cNvSpPr>
          <p:nvPr>
            <p:ph type="title"/>
          </p:nvPr>
        </p:nvSpPr>
        <p:spPr bwMode="gray">
          <a:xfrm>
            <a:off x="3041999" y="1808163"/>
            <a:ext cx="3060000" cy="3060000"/>
          </a:xfrm>
          <a:prstGeom prst="flowChartDecision">
            <a:avLst/>
          </a:prstGeom>
          <a:solidFill>
            <a:schemeClr val="accent1"/>
          </a:solidFill>
        </p:spPr>
        <p:txBody>
          <a:bodyPr wrap="none" anchor="ctr" anchorCtr="0"/>
          <a:lstStyle>
            <a:lvl1pPr algn="ctr">
              <a:lnSpc>
                <a:spcPct val="130000"/>
              </a:lnSpc>
              <a:defRPr sz="900" b="0" cap="none" baseline="0">
                <a:solidFill>
                  <a:schemeClr val="bg1"/>
                </a:solidFill>
              </a:defRPr>
            </a:lvl1pPr>
          </a:lstStyle>
          <a:p>
            <a:r>
              <a:rPr lang="fr-FR"/>
              <a:t>Modifiez le style du titre</a:t>
            </a:r>
          </a:p>
        </p:txBody>
      </p:sp>
      <p:sp>
        <p:nvSpPr>
          <p:cNvPr id="9" name="Espace réservé pour une image  3"/>
          <p:cNvSpPr>
            <a:spLocks noGrp="1"/>
          </p:cNvSpPr>
          <p:nvPr>
            <p:ph type="pic" sz="quarter" idx="14" hasCustomPrompt="1"/>
          </p:nvPr>
        </p:nvSpPr>
        <p:spPr bwMode="gray">
          <a:xfrm>
            <a:off x="377" y="0"/>
            <a:ext cx="9143623" cy="6858000"/>
          </a:xfrm>
          <a:solidFill>
            <a:schemeClr val="tx1"/>
          </a:solidFill>
        </p:spPr>
        <p:txBody>
          <a:bodyPr lIns="1080000" tIns="720000" rIns="1080000" anchor="ctr" anchorCtr="0"/>
          <a:lstStyle>
            <a:lvl1pPr marL="0" indent="0" algn="ctr">
              <a:spcAft>
                <a:spcPts val="0"/>
              </a:spcAft>
              <a:buNone/>
              <a:defRPr/>
            </a:lvl1pPr>
          </a:lstStyle>
          <a:p>
            <a:r>
              <a:rPr lang="fr-FR"/>
              <a:t>Sélectionner l’icône pour insérer une image, puis disposer l’image en arrière plan (Sélectionner l’image avec le bouton droit de la souris / Mettre à l’arrière plan)</a:t>
            </a:r>
          </a:p>
        </p:txBody>
      </p:sp>
      <p:sp>
        <p:nvSpPr>
          <p:cNvPr id="4" name="Espace réservé de la date 3"/>
          <p:cNvSpPr>
            <a:spLocks noGrp="1"/>
          </p:cNvSpPr>
          <p:nvPr>
            <p:ph type="dt" sz="half" idx="10"/>
          </p:nvPr>
        </p:nvSpPr>
        <p:spPr bwMode="gray"/>
        <p:txBody>
          <a:bodyPr/>
          <a:lstStyle>
            <a:lvl1pPr>
              <a:defRPr>
                <a:solidFill>
                  <a:schemeClr val="bg1"/>
                </a:solidFill>
              </a:defRPr>
            </a:lvl1pPr>
          </a:lstStyle>
          <a:p>
            <a:fld id="{4984FC56-8504-4B2F-9341-1B89DD4698C5}" type="datetime1">
              <a:rPr lang="fr-FR" smtClean="0"/>
              <a:t>11/05/2023</a:t>
            </a:fld>
            <a:endParaRPr lang="fr-FR"/>
          </a:p>
        </p:txBody>
      </p:sp>
      <p:sp>
        <p:nvSpPr>
          <p:cNvPr id="5" name="Espace réservé du pied de page 4"/>
          <p:cNvSpPr>
            <a:spLocks noGrp="1"/>
          </p:cNvSpPr>
          <p:nvPr>
            <p:ph type="ftr" sz="quarter" idx="11"/>
          </p:nvPr>
        </p:nvSpPr>
        <p:spPr bwMode="gray"/>
        <p:txBody>
          <a:bodyPr/>
          <a:lstStyle>
            <a:lvl1pPr>
              <a:defRPr>
                <a:solidFill>
                  <a:schemeClr val="bg1"/>
                </a:solidFill>
              </a:defRPr>
            </a:lvl1pPr>
          </a:lstStyle>
          <a:p>
            <a:r>
              <a:rPr lang="fr-FR"/>
              <a:t>GROUPE ADP -                      - DIFFUSION RESTREINTE</a:t>
            </a:r>
          </a:p>
        </p:txBody>
      </p:sp>
      <p:sp>
        <p:nvSpPr>
          <p:cNvPr id="6" name="Espace réservé du numéro de diapositive 5"/>
          <p:cNvSpPr>
            <a:spLocks noGrp="1"/>
          </p:cNvSpPr>
          <p:nvPr>
            <p:ph type="sldNum" sz="quarter" idx="12"/>
          </p:nvPr>
        </p:nvSpPr>
        <p:spPr bwMode="gray"/>
        <p:txBody>
          <a:bodyPr/>
          <a:lstStyle>
            <a:lvl1pPr>
              <a:defRPr>
                <a:solidFill>
                  <a:schemeClr val="bg1"/>
                </a:solidFill>
              </a:defRPr>
            </a:lvl1pPr>
          </a:lstStyle>
          <a:p>
            <a:r>
              <a:rPr lang="fr-FR"/>
              <a:t>PAGE </a:t>
            </a:r>
            <a:fld id="{8AF9711C-11F6-40F1-A9C4-511E8DA6BB32}" type="slidenum">
              <a:rPr lang="fr-FR" smtClean="0"/>
              <a:pPr/>
              <a:t>‹N°›</a:t>
            </a:fld>
            <a:endParaRPr lang="fr-FR"/>
          </a:p>
        </p:txBody>
      </p:sp>
    </p:spTree>
    <p:extLst>
      <p:ext uri="{BB962C8B-B14F-4D97-AF65-F5344CB8AC3E}">
        <p14:creationId xmlns:p14="http://schemas.microsoft.com/office/powerpoint/2010/main" val="3698618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ande image encart blanc">
    <p:spTree>
      <p:nvGrpSpPr>
        <p:cNvPr id="1" name=""/>
        <p:cNvGrpSpPr/>
        <p:nvPr/>
      </p:nvGrpSpPr>
      <p:grpSpPr>
        <a:xfrm>
          <a:off x="0" y="0"/>
          <a:ext cx="0" cy="0"/>
          <a:chOff x="0" y="0"/>
          <a:chExt cx="0" cy="0"/>
        </a:xfrm>
      </p:grpSpPr>
      <p:sp>
        <p:nvSpPr>
          <p:cNvPr id="7" name="Titre 6"/>
          <p:cNvSpPr>
            <a:spLocks noGrp="1"/>
          </p:cNvSpPr>
          <p:nvPr>
            <p:ph type="title"/>
          </p:nvPr>
        </p:nvSpPr>
        <p:spPr bwMode="gray">
          <a:xfrm>
            <a:off x="3041999" y="1808163"/>
            <a:ext cx="3060000" cy="3060000"/>
          </a:xfrm>
          <a:prstGeom prst="flowChartDecision">
            <a:avLst/>
          </a:prstGeom>
          <a:solidFill>
            <a:schemeClr val="bg1"/>
          </a:solidFill>
        </p:spPr>
        <p:txBody>
          <a:bodyPr wrap="none" anchor="ctr" anchorCtr="0"/>
          <a:lstStyle>
            <a:lvl1pPr algn="ctr">
              <a:lnSpc>
                <a:spcPct val="130000"/>
              </a:lnSpc>
              <a:defRPr sz="900" b="0" cap="none" baseline="0">
                <a:solidFill>
                  <a:schemeClr val="tx1"/>
                </a:solidFill>
              </a:defRPr>
            </a:lvl1pPr>
          </a:lstStyle>
          <a:p>
            <a:r>
              <a:rPr lang="fr-FR"/>
              <a:t>Modifiez le style du titre</a:t>
            </a:r>
          </a:p>
        </p:txBody>
      </p:sp>
      <p:sp>
        <p:nvSpPr>
          <p:cNvPr id="9" name="Espace réservé pour une image  3"/>
          <p:cNvSpPr>
            <a:spLocks noGrp="1"/>
          </p:cNvSpPr>
          <p:nvPr>
            <p:ph type="pic" sz="quarter" idx="14" hasCustomPrompt="1"/>
          </p:nvPr>
        </p:nvSpPr>
        <p:spPr bwMode="gray">
          <a:xfrm>
            <a:off x="377" y="0"/>
            <a:ext cx="9143623" cy="6858000"/>
          </a:xfrm>
          <a:solidFill>
            <a:schemeClr val="tx1"/>
          </a:solidFill>
        </p:spPr>
        <p:txBody>
          <a:bodyPr lIns="1080000" tIns="720000" rIns="1080000" anchor="ctr" anchorCtr="0"/>
          <a:lstStyle>
            <a:lvl1pPr marL="0" marR="0" indent="0" algn="ctr" defTabSz="914400" rtl="0" eaLnBrk="1" fontAlgn="auto" latinLnBrk="0" hangingPunct="1">
              <a:lnSpc>
                <a:spcPct val="110000"/>
              </a:lnSpc>
              <a:spcBef>
                <a:spcPts val="0"/>
              </a:spcBef>
              <a:spcAft>
                <a:spcPts val="0"/>
              </a:spcAft>
              <a:buClr>
                <a:schemeClr val="bg2"/>
              </a:buClr>
              <a:buSzPct val="90000"/>
              <a:buFont typeface="Wingdings" pitchFamily="2" charset="2"/>
              <a:buNone/>
              <a:tabLst/>
              <a:defRPr/>
            </a:lvl1pPr>
          </a:lstStyle>
          <a:p>
            <a:r>
              <a:rPr lang="fr-FR"/>
              <a:t>Sélectionner l’icône pour insérer une image, puis disposer l’image en arrière plan (Sélectionner l’image avec le bouton droit de la souris / Mettre à l’arrière plan)</a:t>
            </a:r>
          </a:p>
        </p:txBody>
      </p:sp>
      <p:sp>
        <p:nvSpPr>
          <p:cNvPr id="4" name="Espace réservé de la date 3"/>
          <p:cNvSpPr>
            <a:spLocks noGrp="1"/>
          </p:cNvSpPr>
          <p:nvPr>
            <p:ph type="dt" sz="half" idx="10"/>
          </p:nvPr>
        </p:nvSpPr>
        <p:spPr bwMode="gray"/>
        <p:txBody>
          <a:bodyPr/>
          <a:lstStyle>
            <a:lvl1pPr>
              <a:defRPr>
                <a:solidFill>
                  <a:schemeClr val="bg1"/>
                </a:solidFill>
              </a:defRPr>
            </a:lvl1pPr>
          </a:lstStyle>
          <a:p>
            <a:fld id="{227DD54B-AE49-4920-BF10-CF98D71D7043}" type="datetime1">
              <a:rPr lang="fr-FR" smtClean="0"/>
              <a:t>11/05/2023</a:t>
            </a:fld>
            <a:endParaRPr lang="fr-FR"/>
          </a:p>
        </p:txBody>
      </p:sp>
      <p:sp>
        <p:nvSpPr>
          <p:cNvPr id="5" name="Espace réservé du pied de page 4"/>
          <p:cNvSpPr>
            <a:spLocks noGrp="1"/>
          </p:cNvSpPr>
          <p:nvPr>
            <p:ph type="ftr" sz="quarter" idx="11"/>
          </p:nvPr>
        </p:nvSpPr>
        <p:spPr bwMode="gray"/>
        <p:txBody>
          <a:bodyPr/>
          <a:lstStyle>
            <a:lvl1pPr>
              <a:defRPr>
                <a:solidFill>
                  <a:schemeClr val="bg1"/>
                </a:solidFill>
              </a:defRPr>
            </a:lvl1pPr>
          </a:lstStyle>
          <a:p>
            <a:r>
              <a:rPr lang="fr-FR"/>
              <a:t>GROUPE ADP -                      - DIFFUSION RESTREINTE</a:t>
            </a:r>
          </a:p>
        </p:txBody>
      </p:sp>
      <p:sp>
        <p:nvSpPr>
          <p:cNvPr id="6" name="Espace réservé du numéro de diapositive 5"/>
          <p:cNvSpPr>
            <a:spLocks noGrp="1"/>
          </p:cNvSpPr>
          <p:nvPr>
            <p:ph type="sldNum" sz="quarter" idx="12"/>
          </p:nvPr>
        </p:nvSpPr>
        <p:spPr bwMode="gray"/>
        <p:txBody>
          <a:bodyPr/>
          <a:lstStyle>
            <a:lvl1pPr>
              <a:defRPr>
                <a:solidFill>
                  <a:schemeClr val="bg1"/>
                </a:solidFill>
              </a:defRPr>
            </a:lvl1pPr>
          </a:lstStyle>
          <a:p>
            <a:r>
              <a:rPr lang="fr-FR"/>
              <a:t>PAGE </a:t>
            </a:r>
            <a:fld id="{8AF9711C-11F6-40F1-A9C4-511E8DA6BB32}" type="slidenum">
              <a:rPr lang="fr-FR" smtClean="0"/>
              <a:pPr/>
              <a:t>‹N°›</a:t>
            </a:fld>
            <a:endParaRPr lang="fr-FR"/>
          </a:p>
        </p:txBody>
      </p:sp>
    </p:spTree>
    <p:extLst>
      <p:ext uri="{BB962C8B-B14F-4D97-AF65-F5344CB8AC3E}">
        <p14:creationId xmlns:p14="http://schemas.microsoft.com/office/powerpoint/2010/main" val="16348476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Page de garde">
    <p:bg>
      <p:bgPr>
        <a:blipFill dpi="0" rotWithShape="1">
          <a:blip r:embed="rId3"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499040" y="2551767"/>
            <a:ext cx="5270430" cy="1200328"/>
          </a:xfrm>
        </p:spPr>
        <p:txBody>
          <a:bodyPr>
            <a:noAutofit/>
          </a:bodyPr>
          <a:lstStyle>
            <a:lvl1pPr algn="l">
              <a:defRPr sz="3600" b="1">
                <a:solidFill>
                  <a:schemeClr val="accent3"/>
                </a:solidFill>
              </a:defRPr>
            </a:lvl1pPr>
          </a:lstStyle>
          <a:p>
            <a:r>
              <a:rPr lang="fr-FR"/>
              <a:t>Titre de la</a:t>
            </a:r>
            <a:br>
              <a:rPr lang="fr-FR"/>
            </a:br>
            <a:r>
              <a:rPr lang="fr-FR"/>
              <a:t>présentation</a:t>
            </a:r>
          </a:p>
        </p:txBody>
      </p:sp>
      <p:sp>
        <p:nvSpPr>
          <p:cNvPr id="3" name="Subtitle 2"/>
          <p:cNvSpPr>
            <a:spLocks noGrp="1"/>
          </p:cNvSpPr>
          <p:nvPr>
            <p:ph type="subTitle" idx="1" hasCustomPrompt="1"/>
          </p:nvPr>
        </p:nvSpPr>
        <p:spPr>
          <a:xfrm>
            <a:off x="3508178" y="3902873"/>
            <a:ext cx="5270430" cy="646330"/>
          </a:xfrm>
        </p:spPr>
        <p:txBody>
          <a:bodyPr>
            <a:noAutofit/>
          </a:bodyPr>
          <a:lstStyle>
            <a:lvl1pPr marL="0" indent="0" algn="l">
              <a:buNone/>
              <a:defRPr sz="3600" b="1">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a:t>Sous-titre</a:t>
            </a:r>
          </a:p>
        </p:txBody>
      </p:sp>
      <p:cxnSp>
        <p:nvCxnSpPr>
          <p:cNvPr id="15" name="Straight Connector 14"/>
          <p:cNvCxnSpPr/>
          <p:nvPr userDrawn="1">
            <p:custDataLst>
              <p:tags r:id="rId1"/>
            </p:custDataLst>
          </p:nvPr>
        </p:nvCxnSpPr>
        <p:spPr>
          <a:xfrm>
            <a:off x="3142831" y="3827484"/>
            <a:ext cx="5270430" cy="0"/>
          </a:xfrm>
          <a:prstGeom prst="line">
            <a:avLst/>
          </a:prstGeom>
          <a:noFill/>
          <a:ln w="9525" cap="flat" cmpd="sng" algn="ctr">
            <a:gradFill flip="none" rotWithShape="1">
              <a:gsLst>
                <a:gs pos="0">
                  <a:sysClr val="window" lastClr="FFFFFF"/>
                </a:gs>
                <a:gs pos="66000">
                  <a:srgbClr val="1F497D"/>
                </a:gs>
                <a:gs pos="100000">
                  <a:sysClr val="window" lastClr="FFFFFF"/>
                </a:gs>
              </a:gsLst>
              <a:lin ang="10800000" scaled="1"/>
              <a:tileRect/>
            </a:gradFill>
            <a:prstDash val="solid"/>
          </a:ln>
          <a:effectLst/>
        </p:spPr>
      </p:cxnSp>
      <p:grpSp>
        <p:nvGrpSpPr>
          <p:cNvPr id="7" name="Group 6"/>
          <p:cNvGrpSpPr/>
          <p:nvPr userDrawn="1"/>
        </p:nvGrpSpPr>
        <p:grpSpPr>
          <a:xfrm>
            <a:off x="3519854" y="1435102"/>
            <a:ext cx="1263162" cy="723899"/>
            <a:chOff x="3813175" y="1435101"/>
            <a:chExt cx="1368425" cy="723899"/>
          </a:xfrm>
        </p:grpSpPr>
        <p:grpSp>
          <p:nvGrpSpPr>
            <p:cNvPr id="8" name="Group 32"/>
            <p:cNvGrpSpPr/>
            <p:nvPr userDrawn="1"/>
          </p:nvGrpSpPr>
          <p:grpSpPr>
            <a:xfrm>
              <a:off x="3813175" y="1801813"/>
              <a:ext cx="1358900" cy="138112"/>
              <a:chOff x="3813175" y="1801813"/>
              <a:chExt cx="1358900" cy="138112"/>
            </a:xfrm>
          </p:grpSpPr>
          <p:sp>
            <p:nvSpPr>
              <p:cNvPr id="20" name="Freeform 5"/>
              <p:cNvSpPr>
                <a:spLocks/>
              </p:cNvSpPr>
              <p:nvPr userDrawn="1"/>
            </p:nvSpPr>
            <p:spPr bwMode="auto">
              <a:xfrm>
                <a:off x="3813175" y="1801813"/>
                <a:ext cx="103188" cy="138112"/>
              </a:xfrm>
              <a:custGeom>
                <a:avLst/>
                <a:gdLst/>
                <a:ahLst/>
                <a:cxnLst>
                  <a:cxn ang="0">
                    <a:pos x="74" y="20"/>
                  </a:cxn>
                  <a:cxn ang="0">
                    <a:pos x="34" y="79"/>
                  </a:cxn>
                  <a:cxn ang="0">
                    <a:pos x="86" y="152"/>
                  </a:cxn>
                  <a:cxn ang="0">
                    <a:pos x="115" y="142"/>
                  </a:cxn>
                  <a:cxn ang="0">
                    <a:pos x="123" y="138"/>
                  </a:cxn>
                  <a:cxn ang="0">
                    <a:pos x="131" y="146"/>
                  </a:cxn>
                  <a:cxn ang="0">
                    <a:pos x="78" y="177"/>
                  </a:cxn>
                  <a:cxn ang="0">
                    <a:pos x="0" y="87"/>
                  </a:cxn>
                  <a:cxn ang="0">
                    <a:pos x="77" y="0"/>
                  </a:cxn>
                  <a:cxn ang="0">
                    <a:pos x="133" y="35"/>
                  </a:cxn>
                  <a:cxn ang="0">
                    <a:pos x="119" y="49"/>
                  </a:cxn>
                  <a:cxn ang="0">
                    <a:pos x="106" y="42"/>
                  </a:cxn>
                  <a:cxn ang="0">
                    <a:pos x="74" y="20"/>
                  </a:cxn>
                </a:cxnLst>
                <a:rect l="0" t="0" r="r" b="b"/>
                <a:pathLst>
                  <a:path w="133" h="177">
                    <a:moveTo>
                      <a:pt x="74" y="20"/>
                    </a:moveTo>
                    <a:cubicBezTo>
                      <a:pt x="52" y="20"/>
                      <a:pt x="34" y="41"/>
                      <a:pt x="34" y="79"/>
                    </a:cubicBezTo>
                    <a:cubicBezTo>
                      <a:pt x="34" y="126"/>
                      <a:pt x="58" y="152"/>
                      <a:pt x="86" y="152"/>
                    </a:cubicBezTo>
                    <a:cubicBezTo>
                      <a:pt x="101" y="152"/>
                      <a:pt x="111" y="145"/>
                      <a:pt x="115" y="142"/>
                    </a:cubicBezTo>
                    <a:cubicBezTo>
                      <a:pt x="119" y="139"/>
                      <a:pt x="121" y="138"/>
                      <a:pt x="123" y="138"/>
                    </a:cubicBezTo>
                    <a:cubicBezTo>
                      <a:pt x="128" y="138"/>
                      <a:pt x="131" y="141"/>
                      <a:pt x="131" y="146"/>
                    </a:cubicBezTo>
                    <a:cubicBezTo>
                      <a:pt x="131" y="156"/>
                      <a:pt x="112" y="177"/>
                      <a:pt x="78" y="177"/>
                    </a:cubicBezTo>
                    <a:cubicBezTo>
                      <a:pt x="24" y="177"/>
                      <a:pt x="0" y="133"/>
                      <a:pt x="0" y="87"/>
                    </a:cubicBezTo>
                    <a:cubicBezTo>
                      <a:pt x="0" y="39"/>
                      <a:pt x="28" y="0"/>
                      <a:pt x="77" y="0"/>
                    </a:cubicBezTo>
                    <a:cubicBezTo>
                      <a:pt x="112" y="0"/>
                      <a:pt x="133" y="21"/>
                      <a:pt x="133" y="35"/>
                    </a:cubicBezTo>
                    <a:cubicBezTo>
                      <a:pt x="133" y="43"/>
                      <a:pt x="127" y="49"/>
                      <a:pt x="119" y="49"/>
                    </a:cubicBezTo>
                    <a:cubicBezTo>
                      <a:pt x="113" y="49"/>
                      <a:pt x="109" y="46"/>
                      <a:pt x="106" y="42"/>
                    </a:cubicBezTo>
                    <a:cubicBezTo>
                      <a:pt x="99" y="31"/>
                      <a:pt x="92" y="20"/>
                      <a:pt x="74" y="20"/>
                    </a:cubicBezTo>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1" name="Freeform 6"/>
              <p:cNvSpPr>
                <a:spLocks noEditPoints="1"/>
              </p:cNvSpPr>
              <p:nvPr userDrawn="1"/>
            </p:nvSpPr>
            <p:spPr bwMode="auto">
              <a:xfrm>
                <a:off x="3948113" y="1801813"/>
                <a:ext cx="119063" cy="138112"/>
              </a:xfrm>
              <a:custGeom>
                <a:avLst/>
                <a:gdLst/>
                <a:ahLst/>
                <a:cxnLst>
                  <a:cxn ang="0">
                    <a:pos x="108" y="39"/>
                  </a:cxn>
                  <a:cxn ang="0">
                    <a:pos x="76" y="20"/>
                  </a:cxn>
                  <a:cxn ang="0">
                    <a:pos x="58" y="25"/>
                  </a:cxn>
                  <a:cxn ang="0">
                    <a:pos x="34" y="86"/>
                  </a:cxn>
                  <a:cxn ang="0">
                    <a:pos x="36" y="110"/>
                  </a:cxn>
                  <a:cxn ang="0">
                    <a:pos x="77" y="154"/>
                  </a:cxn>
                  <a:cxn ang="0">
                    <a:pos x="110" y="133"/>
                  </a:cxn>
                  <a:cxn ang="0">
                    <a:pos x="119" y="84"/>
                  </a:cxn>
                  <a:cxn ang="0">
                    <a:pos x="108" y="39"/>
                  </a:cxn>
                  <a:cxn ang="0">
                    <a:pos x="77" y="177"/>
                  </a:cxn>
                  <a:cxn ang="0">
                    <a:pos x="0" y="89"/>
                  </a:cxn>
                  <a:cxn ang="0">
                    <a:pos x="77" y="0"/>
                  </a:cxn>
                  <a:cxn ang="0">
                    <a:pos x="153" y="84"/>
                  </a:cxn>
                  <a:cxn ang="0">
                    <a:pos x="77" y="177"/>
                  </a:cxn>
                </a:cxnLst>
                <a:rect l="0" t="0" r="r" b="b"/>
                <a:pathLst>
                  <a:path w="155" h="177">
                    <a:moveTo>
                      <a:pt x="108" y="39"/>
                    </a:moveTo>
                    <a:cubicBezTo>
                      <a:pt x="96" y="21"/>
                      <a:pt x="81" y="20"/>
                      <a:pt x="76" y="20"/>
                    </a:cubicBezTo>
                    <a:cubicBezTo>
                      <a:pt x="70" y="20"/>
                      <a:pt x="64" y="22"/>
                      <a:pt x="58" y="25"/>
                    </a:cubicBezTo>
                    <a:cubicBezTo>
                      <a:pt x="35" y="39"/>
                      <a:pt x="34" y="73"/>
                      <a:pt x="34" y="86"/>
                    </a:cubicBezTo>
                    <a:cubicBezTo>
                      <a:pt x="34" y="96"/>
                      <a:pt x="35" y="103"/>
                      <a:pt x="36" y="110"/>
                    </a:cubicBezTo>
                    <a:cubicBezTo>
                      <a:pt x="43" y="149"/>
                      <a:pt x="67" y="154"/>
                      <a:pt x="77" y="154"/>
                    </a:cubicBezTo>
                    <a:cubicBezTo>
                      <a:pt x="88" y="154"/>
                      <a:pt x="101" y="149"/>
                      <a:pt x="110" y="133"/>
                    </a:cubicBezTo>
                    <a:cubicBezTo>
                      <a:pt x="117" y="119"/>
                      <a:pt x="119" y="101"/>
                      <a:pt x="119" y="84"/>
                    </a:cubicBezTo>
                    <a:cubicBezTo>
                      <a:pt x="119" y="72"/>
                      <a:pt x="117" y="54"/>
                      <a:pt x="108" y="39"/>
                    </a:cubicBezTo>
                    <a:moveTo>
                      <a:pt x="77" y="177"/>
                    </a:moveTo>
                    <a:cubicBezTo>
                      <a:pt x="36" y="177"/>
                      <a:pt x="0" y="147"/>
                      <a:pt x="0" y="89"/>
                    </a:cubicBezTo>
                    <a:cubicBezTo>
                      <a:pt x="0" y="39"/>
                      <a:pt x="28" y="0"/>
                      <a:pt x="77" y="0"/>
                    </a:cubicBezTo>
                    <a:cubicBezTo>
                      <a:pt x="125" y="0"/>
                      <a:pt x="151" y="39"/>
                      <a:pt x="153" y="84"/>
                    </a:cubicBezTo>
                    <a:cubicBezTo>
                      <a:pt x="155" y="138"/>
                      <a:pt x="123" y="177"/>
                      <a:pt x="77" y="177"/>
                    </a:cubicBezTo>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3" name="Freeform 7"/>
              <p:cNvSpPr>
                <a:spLocks/>
              </p:cNvSpPr>
              <p:nvPr userDrawn="1"/>
            </p:nvSpPr>
            <p:spPr bwMode="auto">
              <a:xfrm>
                <a:off x="4108450" y="1804988"/>
                <a:ext cx="103188" cy="131762"/>
              </a:xfrm>
              <a:custGeom>
                <a:avLst/>
                <a:gdLst/>
                <a:ahLst/>
                <a:cxnLst>
                  <a:cxn ang="0">
                    <a:pos x="108" y="111"/>
                  </a:cxn>
                  <a:cxn ang="0">
                    <a:pos x="108" y="5"/>
                  </a:cxn>
                  <a:cxn ang="0">
                    <a:pos x="113" y="0"/>
                  </a:cxn>
                  <a:cxn ang="0">
                    <a:pos x="128" y="0"/>
                  </a:cxn>
                  <a:cxn ang="0">
                    <a:pos x="133" y="5"/>
                  </a:cxn>
                  <a:cxn ang="0">
                    <a:pos x="133" y="164"/>
                  </a:cxn>
                  <a:cxn ang="0">
                    <a:pos x="128" y="169"/>
                  </a:cxn>
                  <a:cxn ang="0">
                    <a:pos x="114" y="169"/>
                  </a:cxn>
                  <a:cxn ang="0">
                    <a:pos x="108" y="164"/>
                  </a:cxn>
                  <a:cxn ang="0">
                    <a:pos x="26" y="48"/>
                  </a:cxn>
                  <a:cxn ang="0">
                    <a:pos x="26" y="164"/>
                  </a:cxn>
                  <a:cxn ang="0">
                    <a:pos x="21" y="169"/>
                  </a:cxn>
                  <a:cxn ang="0">
                    <a:pos x="6" y="169"/>
                  </a:cxn>
                  <a:cxn ang="0">
                    <a:pos x="0" y="164"/>
                  </a:cxn>
                  <a:cxn ang="0">
                    <a:pos x="0" y="5"/>
                  </a:cxn>
                  <a:cxn ang="0">
                    <a:pos x="6" y="0"/>
                  </a:cxn>
                  <a:cxn ang="0">
                    <a:pos x="24" y="0"/>
                  </a:cxn>
                  <a:cxn ang="0">
                    <a:pos x="32" y="4"/>
                  </a:cxn>
                  <a:cxn ang="0">
                    <a:pos x="108" y="111"/>
                  </a:cxn>
                </a:cxnLst>
                <a:rect l="0" t="0" r="r" b="b"/>
                <a:pathLst>
                  <a:path w="133" h="169">
                    <a:moveTo>
                      <a:pt x="108" y="111"/>
                    </a:moveTo>
                    <a:cubicBezTo>
                      <a:pt x="108" y="5"/>
                      <a:pt x="108" y="5"/>
                      <a:pt x="108" y="5"/>
                    </a:cubicBezTo>
                    <a:cubicBezTo>
                      <a:pt x="108" y="1"/>
                      <a:pt x="109" y="0"/>
                      <a:pt x="113" y="0"/>
                    </a:cubicBezTo>
                    <a:cubicBezTo>
                      <a:pt x="128" y="0"/>
                      <a:pt x="128" y="0"/>
                      <a:pt x="128" y="0"/>
                    </a:cubicBezTo>
                    <a:cubicBezTo>
                      <a:pt x="132" y="0"/>
                      <a:pt x="133" y="1"/>
                      <a:pt x="133" y="5"/>
                    </a:cubicBezTo>
                    <a:cubicBezTo>
                      <a:pt x="133" y="164"/>
                      <a:pt x="133" y="164"/>
                      <a:pt x="133" y="164"/>
                    </a:cubicBezTo>
                    <a:cubicBezTo>
                      <a:pt x="133" y="168"/>
                      <a:pt x="131" y="169"/>
                      <a:pt x="128" y="169"/>
                    </a:cubicBezTo>
                    <a:cubicBezTo>
                      <a:pt x="114" y="169"/>
                      <a:pt x="114" y="169"/>
                      <a:pt x="114" y="169"/>
                    </a:cubicBezTo>
                    <a:cubicBezTo>
                      <a:pt x="111" y="169"/>
                      <a:pt x="111" y="168"/>
                      <a:pt x="108" y="164"/>
                    </a:cubicBezTo>
                    <a:cubicBezTo>
                      <a:pt x="26" y="48"/>
                      <a:pt x="26" y="48"/>
                      <a:pt x="26" y="48"/>
                    </a:cubicBezTo>
                    <a:cubicBezTo>
                      <a:pt x="26" y="164"/>
                      <a:pt x="26" y="164"/>
                      <a:pt x="26" y="164"/>
                    </a:cubicBezTo>
                    <a:cubicBezTo>
                      <a:pt x="26" y="168"/>
                      <a:pt x="25" y="169"/>
                      <a:pt x="21" y="169"/>
                    </a:cubicBezTo>
                    <a:cubicBezTo>
                      <a:pt x="6" y="169"/>
                      <a:pt x="6" y="169"/>
                      <a:pt x="6" y="169"/>
                    </a:cubicBezTo>
                    <a:cubicBezTo>
                      <a:pt x="2" y="169"/>
                      <a:pt x="0" y="169"/>
                      <a:pt x="0" y="164"/>
                    </a:cubicBezTo>
                    <a:cubicBezTo>
                      <a:pt x="0" y="5"/>
                      <a:pt x="0" y="5"/>
                      <a:pt x="0" y="5"/>
                    </a:cubicBezTo>
                    <a:cubicBezTo>
                      <a:pt x="0" y="0"/>
                      <a:pt x="2" y="0"/>
                      <a:pt x="6" y="0"/>
                    </a:cubicBezTo>
                    <a:cubicBezTo>
                      <a:pt x="24" y="0"/>
                      <a:pt x="24" y="0"/>
                      <a:pt x="24" y="0"/>
                    </a:cubicBezTo>
                    <a:cubicBezTo>
                      <a:pt x="28" y="0"/>
                      <a:pt x="29" y="0"/>
                      <a:pt x="32" y="4"/>
                    </a:cubicBezTo>
                    <a:lnTo>
                      <a:pt x="108" y="11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4" name="Freeform 8"/>
              <p:cNvSpPr>
                <a:spLocks/>
              </p:cNvSpPr>
              <p:nvPr userDrawn="1"/>
            </p:nvSpPr>
            <p:spPr bwMode="auto">
              <a:xfrm>
                <a:off x="4254500" y="1801813"/>
                <a:ext cx="85725" cy="138112"/>
              </a:xfrm>
              <a:custGeom>
                <a:avLst/>
                <a:gdLst/>
                <a:ahLst/>
                <a:cxnLst>
                  <a:cxn ang="0">
                    <a:pos x="71" y="75"/>
                  </a:cxn>
                  <a:cxn ang="0">
                    <a:pos x="110" y="127"/>
                  </a:cxn>
                  <a:cxn ang="0">
                    <a:pos x="55" y="177"/>
                  </a:cxn>
                  <a:cxn ang="0">
                    <a:pos x="0" y="138"/>
                  </a:cxn>
                  <a:cxn ang="0">
                    <a:pos x="14" y="123"/>
                  </a:cxn>
                  <a:cxn ang="0">
                    <a:pos x="31" y="137"/>
                  </a:cxn>
                  <a:cxn ang="0">
                    <a:pos x="57" y="156"/>
                  </a:cxn>
                  <a:cxn ang="0">
                    <a:pos x="80" y="134"/>
                  </a:cxn>
                  <a:cxn ang="0">
                    <a:pos x="48" y="100"/>
                  </a:cxn>
                  <a:cxn ang="0">
                    <a:pos x="35" y="93"/>
                  </a:cxn>
                  <a:cxn ang="0">
                    <a:pos x="2" y="47"/>
                  </a:cxn>
                  <a:cxn ang="0">
                    <a:pos x="54" y="0"/>
                  </a:cxn>
                  <a:cxn ang="0">
                    <a:pos x="104" y="32"/>
                  </a:cxn>
                  <a:cxn ang="0">
                    <a:pos x="90" y="46"/>
                  </a:cxn>
                  <a:cxn ang="0">
                    <a:pos x="76" y="35"/>
                  </a:cxn>
                  <a:cxn ang="0">
                    <a:pos x="53" y="19"/>
                  </a:cxn>
                  <a:cxn ang="0">
                    <a:pos x="32" y="40"/>
                  </a:cxn>
                  <a:cxn ang="0">
                    <a:pos x="60" y="70"/>
                  </a:cxn>
                  <a:cxn ang="0">
                    <a:pos x="71" y="75"/>
                  </a:cxn>
                </a:cxnLst>
                <a:rect l="0" t="0" r="r" b="b"/>
                <a:pathLst>
                  <a:path w="110" h="177">
                    <a:moveTo>
                      <a:pt x="71" y="75"/>
                    </a:moveTo>
                    <a:cubicBezTo>
                      <a:pt x="87" y="83"/>
                      <a:pt x="110" y="96"/>
                      <a:pt x="110" y="127"/>
                    </a:cubicBezTo>
                    <a:cubicBezTo>
                      <a:pt x="110" y="159"/>
                      <a:pt x="86" y="177"/>
                      <a:pt x="55" y="177"/>
                    </a:cubicBezTo>
                    <a:cubicBezTo>
                      <a:pt x="16" y="177"/>
                      <a:pt x="0" y="151"/>
                      <a:pt x="0" y="138"/>
                    </a:cubicBezTo>
                    <a:cubicBezTo>
                      <a:pt x="0" y="127"/>
                      <a:pt x="8" y="123"/>
                      <a:pt x="14" y="123"/>
                    </a:cubicBezTo>
                    <a:cubicBezTo>
                      <a:pt x="24" y="123"/>
                      <a:pt x="28" y="130"/>
                      <a:pt x="31" y="137"/>
                    </a:cubicBezTo>
                    <a:cubicBezTo>
                      <a:pt x="34" y="143"/>
                      <a:pt x="41" y="156"/>
                      <a:pt x="57" y="156"/>
                    </a:cubicBezTo>
                    <a:cubicBezTo>
                      <a:pt x="70" y="156"/>
                      <a:pt x="80" y="147"/>
                      <a:pt x="80" y="134"/>
                    </a:cubicBezTo>
                    <a:cubicBezTo>
                      <a:pt x="80" y="117"/>
                      <a:pt x="67" y="110"/>
                      <a:pt x="48" y="100"/>
                    </a:cubicBezTo>
                    <a:cubicBezTo>
                      <a:pt x="35" y="93"/>
                      <a:pt x="35" y="93"/>
                      <a:pt x="35" y="93"/>
                    </a:cubicBezTo>
                    <a:cubicBezTo>
                      <a:pt x="26" y="88"/>
                      <a:pt x="2" y="76"/>
                      <a:pt x="2" y="47"/>
                    </a:cubicBezTo>
                    <a:cubicBezTo>
                      <a:pt x="2" y="18"/>
                      <a:pt x="24" y="0"/>
                      <a:pt x="54" y="0"/>
                    </a:cubicBezTo>
                    <a:cubicBezTo>
                      <a:pt x="85" y="0"/>
                      <a:pt x="104" y="18"/>
                      <a:pt x="104" y="32"/>
                    </a:cubicBezTo>
                    <a:cubicBezTo>
                      <a:pt x="104" y="40"/>
                      <a:pt x="98" y="46"/>
                      <a:pt x="90" y="46"/>
                    </a:cubicBezTo>
                    <a:cubicBezTo>
                      <a:pt x="82" y="46"/>
                      <a:pt x="79" y="40"/>
                      <a:pt x="76" y="35"/>
                    </a:cubicBezTo>
                    <a:cubicBezTo>
                      <a:pt x="72" y="29"/>
                      <a:pt x="65" y="19"/>
                      <a:pt x="53" y="19"/>
                    </a:cubicBezTo>
                    <a:cubicBezTo>
                      <a:pt x="40" y="19"/>
                      <a:pt x="32" y="28"/>
                      <a:pt x="32" y="40"/>
                    </a:cubicBezTo>
                    <a:cubicBezTo>
                      <a:pt x="32" y="56"/>
                      <a:pt x="44" y="62"/>
                      <a:pt x="60" y="70"/>
                    </a:cubicBezTo>
                    <a:lnTo>
                      <a:pt x="71" y="75"/>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5" name="Freeform 9"/>
              <p:cNvSpPr>
                <a:spLocks/>
              </p:cNvSpPr>
              <p:nvPr userDrawn="1"/>
            </p:nvSpPr>
            <p:spPr bwMode="auto">
              <a:xfrm>
                <a:off x="4383088" y="1804988"/>
                <a:ext cx="88900" cy="134937"/>
              </a:xfrm>
              <a:custGeom>
                <a:avLst/>
                <a:gdLst/>
                <a:ahLst/>
                <a:cxnLst>
                  <a:cxn ang="0">
                    <a:pos x="116" y="119"/>
                  </a:cxn>
                  <a:cxn ang="0">
                    <a:pos x="111" y="146"/>
                  </a:cxn>
                  <a:cxn ang="0">
                    <a:pos x="58" y="173"/>
                  </a:cxn>
                  <a:cxn ang="0">
                    <a:pos x="5" y="146"/>
                  </a:cxn>
                  <a:cxn ang="0">
                    <a:pos x="0" y="117"/>
                  </a:cxn>
                  <a:cxn ang="0">
                    <a:pos x="0" y="4"/>
                  </a:cxn>
                  <a:cxn ang="0">
                    <a:pos x="4" y="0"/>
                  </a:cxn>
                  <a:cxn ang="0">
                    <a:pos x="28" y="0"/>
                  </a:cxn>
                  <a:cxn ang="0">
                    <a:pos x="33" y="4"/>
                  </a:cxn>
                  <a:cxn ang="0">
                    <a:pos x="33" y="114"/>
                  </a:cxn>
                  <a:cxn ang="0">
                    <a:pos x="62" y="148"/>
                  </a:cxn>
                  <a:cxn ang="0">
                    <a:pos x="90" y="116"/>
                  </a:cxn>
                  <a:cxn ang="0">
                    <a:pos x="90" y="5"/>
                  </a:cxn>
                  <a:cxn ang="0">
                    <a:pos x="95" y="0"/>
                  </a:cxn>
                  <a:cxn ang="0">
                    <a:pos x="111" y="0"/>
                  </a:cxn>
                  <a:cxn ang="0">
                    <a:pos x="116" y="4"/>
                  </a:cxn>
                  <a:cxn ang="0">
                    <a:pos x="116" y="119"/>
                  </a:cxn>
                </a:cxnLst>
                <a:rect l="0" t="0" r="r" b="b"/>
                <a:pathLst>
                  <a:path w="116" h="173">
                    <a:moveTo>
                      <a:pt x="116" y="119"/>
                    </a:moveTo>
                    <a:cubicBezTo>
                      <a:pt x="115" y="127"/>
                      <a:pt x="115" y="136"/>
                      <a:pt x="111" y="146"/>
                    </a:cubicBezTo>
                    <a:cubicBezTo>
                      <a:pt x="109" y="151"/>
                      <a:pt x="98" y="173"/>
                      <a:pt x="58" y="173"/>
                    </a:cubicBezTo>
                    <a:cubicBezTo>
                      <a:pt x="36" y="173"/>
                      <a:pt x="14" y="166"/>
                      <a:pt x="5" y="146"/>
                    </a:cubicBezTo>
                    <a:cubicBezTo>
                      <a:pt x="1" y="137"/>
                      <a:pt x="0" y="127"/>
                      <a:pt x="0" y="117"/>
                    </a:cubicBezTo>
                    <a:cubicBezTo>
                      <a:pt x="0" y="4"/>
                      <a:pt x="0" y="4"/>
                      <a:pt x="0" y="4"/>
                    </a:cubicBezTo>
                    <a:cubicBezTo>
                      <a:pt x="0" y="0"/>
                      <a:pt x="1" y="0"/>
                      <a:pt x="4" y="0"/>
                    </a:cubicBezTo>
                    <a:cubicBezTo>
                      <a:pt x="28" y="0"/>
                      <a:pt x="28" y="0"/>
                      <a:pt x="28" y="0"/>
                    </a:cubicBezTo>
                    <a:cubicBezTo>
                      <a:pt x="32" y="0"/>
                      <a:pt x="33" y="0"/>
                      <a:pt x="33" y="4"/>
                    </a:cubicBezTo>
                    <a:cubicBezTo>
                      <a:pt x="33" y="114"/>
                      <a:pt x="33" y="114"/>
                      <a:pt x="33" y="114"/>
                    </a:cubicBezTo>
                    <a:cubicBezTo>
                      <a:pt x="33" y="124"/>
                      <a:pt x="34" y="148"/>
                      <a:pt x="62" y="148"/>
                    </a:cubicBezTo>
                    <a:cubicBezTo>
                      <a:pt x="90" y="148"/>
                      <a:pt x="90" y="123"/>
                      <a:pt x="90" y="116"/>
                    </a:cubicBezTo>
                    <a:cubicBezTo>
                      <a:pt x="90" y="5"/>
                      <a:pt x="90" y="5"/>
                      <a:pt x="90" y="5"/>
                    </a:cubicBezTo>
                    <a:cubicBezTo>
                      <a:pt x="90" y="1"/>
                      <a:pt x="91" y="0"/>
                      <a:pt x="95" y="0"/>
                    </a:cubicBezTo>
                    <a:cubicBezTo>
                      <a:pt x="111" y="0"/>
                      <a:pt x="111" y="0"/>
                      <a:pt x="111" y="0"/>
                    </a:cubicBezTo>
                    <a:cubicBezTo>
                      <a:pt x="114" y="0"/>
                      <a:pt x="116" y="0"/>
                      <a:pt x="116" y="4"/>
                    </a:cubicBezTo>
                    <a:lnTo>
                      <a:pt x="116" y="119"/>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6" name="Freeform 10"/>
              <p:cNvSpPr>
                <a:spLocks/>
              </p:cNvSpPr>
              <p:nvPr userDrawn="1"/>
            </p:nvSpPr>
            <p:spPr bwMode="auto">
              <a:xfrm>
                <a:off x="4521200" y="1804988"/>
                <a:ext cx="71438" cy="131762"/>
              </a:xfrm>
              <a:custGeom>
                <a:avLst/>
                <a:gdLst/>
                <a:ahLst/>
                <a:cxnLst>
                  <a:cxn ang="0">
                    <a:pos x="32" y="147"/>
                  </a:cxn>
                  <a:cxn ang="0">
                    <a:pos x="87" y="147"/>
                  </a:cxn>
                  <a:cxn ang="0">
                    <a:pos x="92" y="152"/>
                  </a:cxn>
                  <a:cxn ang="0">
                    <a:pos x="92" y="164"/>
                  </a:cxn>
                  <a:cxn ang="0">
                    <a:pos x="87" y="169"/>
                  </a:cxn>
                  <a:cxn ang="0">
                    <a:pos x="5" y="169"/>
                  </a:cxn>
                  <a:cxn ang="0">
                    <a:pos x="0" y="164"/>
                  </a:cxn>
                  <a:cxn ang="0">
                    <a:pos x="0" y="5"/>
                  </a:cxn>
                  <a:cxn ang="0">
                    <a:pos x="5" y="0"/>
                  </a:cxn>
                  <a:cxn ang="0">
                    <a:pos x="27" y="0"/>
                  </a:cxn>
                  <a:cxn ang="0">
                    <a:pos x="32" y="5"/>
                  </a:cxn>
                  <a:cxn ang="0">
                    <a:pos x="32" y="147"/>
                  </a:cxn>
                </a:cxnLst>
                <a:rect l="0" t="0" r="r" b="b"/>
                <a:pathLst>
                  <a:path w="92" h="169">
                    <a:moveTo>
                      <a:pt x="32" y="147"/>
                    </a:moveTo>
                    <a:cubicBezTo>
                      <a:pt x="87" y="147"/>
                      <a:pt x="87" y="147"/>
                      <a:pt x="87" y="147"/>
                    </a:cubicBezTo>
                    <a:cubicBezTo>
                      <a:pt x="91" y="147"/>
                      <a:pt x="92" y="148"/>
                      <a:pt x="92" y="152"/>
                    </a:cubicBezTo>
                    <a:cubicBezTo>
                      <a:pt x="92" y="164"/>
                      <a:pt x="92" y="164"/>
                      <a:pt x="92" y="164"/>
                    </a:cubicBezTo>
                    <a:cubicBezTo>
                      <a:pt x="92" y="168"/>
                      <a:pt x="91" y="169"/>
                      <a:pt x="87" y="169"/>
                    </a:cubicBezTo>
                    <a:cubicBezTo>
                      <a:pt x="5" y="169"/>
                      <a:pt x="5" y="169"/>
                      <a:pt x="5" y="169"/>
                    </a:cubicBezTo>
                    <a:cubicBezTo>
                      <a:pt x="2" y="169"/>
                      <a:pt x="0" y="169"/>
                      <a:pt x="0" y="164"/>
                    </a:cubicBezTo>
                    <a:cubicBezTo>
                      <a:pt x="0" y="5"/>
                      <a:pt x="0" y="5"/>
                      <a:pt x="0" y="5"/>
                    </a:cubicBezTo>
                    <a:cubicBezTo>
                      <a:pt x="0" y="1"/>
                      <a:pt x="1" y="0"/>
                      <a:pt x="5" y="0"/>
                    </a:cubicBezTo>
                    <a:cubicBezTo>
                      <a:pt x="27" y="0"/>
                      <a:pt x="27" y="0"/>
                      <a:pt x="27" y="0"/>
                    </a:cubicBezTo>
                    <a:cubicBezTo>
                      <a:pt x="31" y="0"/>
                      <a:pt x="32" y="1"/>
                      <a:pt x="32" y="5"/>
                    </a:cubicBezTo>
                    <a:lnTo>
                      <a:pt x="32" y="147"/>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7" name="Freeform 11"/>
              <p:cNvSpPr>
                <a:spLocks/>
              </p:cNvSpPr>
              <p:nvPr userDrawn="1"/>
            </p:nvSpPr>
            <p:spPr bwMode="auto">
              <a:xfrm>
                <a:off x="4595813" y="1804988"/>
                <a:ext cx="90488" cy="131762"/>
              </a:xfrm>
              <a:custGeom>
                <a:avLst/>
                <a:gdLst/>
                <a:ahLst/>
                <a:cxnLst>
                  <a:cxn ang="0">
                    <a:pos x="74" y="21"/>
                  </a:cxn>
                  <a:cxn ang="0">
                    <a:pos x="74" y="163"/>
                  </a:cxn>
                  <a:cxn ang="0">
                    <a:pos x="69" y="169"/>
                  </a:cxn>
                  <a:cxn ang="0">
                    <a:pos x="47" y="169"/>
                  </a:cxn>
                  <a:cxn ang="0">
                    <a:pos x="41" y="163"/>
                  </a:cxn>
                  <a:cxn ang="0">
                    <a:pos x="41" y="21"/>
                  </a:cxn>
                  <a:cxn ang="0">
                    <a:pos x="5" y="21"/>
                  </a:cxn>
                  <a:cxn ang="0">
                    <a:pos x="0" y="16"/>
                  </a:cxn>
                  <a:cxn ang="0">
                    <a:pos x="0" y="5"/>
                  </a:cxn>
                  <a:cxn ang="0">
                    <a:pos x="5" y="0"/>
                  </a:cxn>
                  <a:cxn ang="0">
                    <a:pos x="110" y="0"/>
                  </a:cxn>
                  <a:cxn ang="0">
                    <a:pos x="116" y="4"/>
                  </a:cxn>
                  <a:cxn ang="0">
                    <a:pos x="116" y="16"/>
                  </a:cxn>
                  <a:cxn ang="0">
                    <a:pos x="110" y="21"/>
                  </a:cxn>
                  <a:cxn ang="0">
                    <a:pos x="74" y="21"/>
                  </a:cxn>
                </a:cxnLst>
                <a:rect l="0" t="0" r="r" b="b"/>
                <a:pathLst>
                  <a:path w="116" h="169">
                    <a:moveTo>
                      <a:pt x="74" y="21"/>
                    </a:moveTo>
                    <a:cubicBezTo>
                      <a:pt x="74" y="163"/>
                      <a:pt x="74" y="163"/>
                      <a:pt x="74" y="163"/>
                    </a:cubicBezTo>
                    <a:cubicBezTo>
                      <a:pt x="74" y="167"/>
                      <a:pt x="73" y="169"/>
                      <a:pt x="69" y="169"/>
                    </a:cubicBezTo>
                    <a:cubicBezTo>
                      <a:pt x="47" y="169"/>
                      <a:pt x="47" y="169"/>
                      <a:pt x="47" y="169"/>
                    </a:cubicBezTo>
                    <a:cubicBezTo>
                      <a:pt x="43" y="169"/>
                      <a:pt x="41" y="168"/>
                      <a:pt x="41" y="163"/>
                    </a:cubicBezTo>
                    <a:cubicBezTo>
                      <a:pt x="41" y="21"/>
                      <a:pt x="41" y="21"/>
                      <a:pt x="41" y="21"/>
                    </a:cubicBezTo>
                    <a:cubicBezTo>
                      <a:pt x="5" y="21"/>
                      <a:pt x="5" y="21"/>
                      <a:pt x="5" y="21"/>
                    </a:cubicBezTo>
                    <a:cubicBezTo>
                      <a:pt x="1" y="21"/>
                      <a:pt x="0" y="20"/>
                      <a:pt x="0" y="16"/>
                    </a:cubicBezTo>
                    <a:cubicBezTo>
                      <a:pt x="0" y="5"/>
                      <a:pt x="0" y="5"/>
                      <a:pt x="0" y="5"/>
                    </a:cubicBezTo>
                    <a:cubicBezTo>
                      <a:pt x="0" y="0"/>
                      <a:pt x="2" y="0"/>
                      <a:pt x="5" y="0"/>
                    </a:cubicBezTo>
                    <a:cubicBezTo>
                      <a:pt x="110" y="0"/>
                      <a:pt x="110" y="0"/>
                      <a:pt x="110" y="0"/>
                    </a:cubicBezTo>
                    <a:cubicBezTo>
                      <a:pt x="114" y="0"/>
                      <a:pt x="116" y="0"/>
                      <a:pt x="116" y="4"/>
                    </a:cubicBezTo>
                    <a:cubicBezTo>
                      <a:pt x="116" y="16"/>
                      <a:pt x="116" y="16"/>
                      <a:pt x="116" y="16"/>
                    </a:cubicBezTo>
                    <a:cubicBezTo>
                      <a:pt x="116" y="20"/>
                      <a:pt x="115" y="21"/>
                      <a:pt x="110" y="21"/>
                    </a:cubicBezTo>
                    <a:lnTo>
                      <a:pt x="74" y="2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8" name="Freeform 12"/>
              <p:cNvSpPr>
                <a:spLocks noEditPoints="1"/>
              </p:cNvSpPr>
              <p:nvPr userDrawn="1"/>
            </p:nvSpPr>
            <p:spPr bwMode="auto">
              <a:xfrm>
                <a:off x="4689475" y="1804988"/>
                <a:ext cx="112713" cy="131762"/>
              </a:xfrm>
              <a:custGeom>
                <a:avLst/>
                <a:gdLst/>
                <a:ahLst/>
                <a:cxnLst>
                  <a:cxn ang="0">
                    <a:pos x="87" y="98"/>
                  </a:cxn>
                  <a:cxn ang="0">
                    <a:pos x="68" y="43"/>
                  </a:cxn>
                  <a:cxn ang="0">
                    <a:pos x="50" y="98"/>
                  </a:cxn>
                  <a:cxn ang="0">
                    <a:pos x="87" y="98"/>
                  </a:cxn>
                  <a:cxn ang="0">
                    <a:pos x="93" y="116"/>
                  </a:cxn>
                  <a:cxn ang="0">
                    <a:pos x="44" y="116"/>
                  </a:cxn>
                  <a:cxn ang="0">
                    <a:pos x="27" y="164"/>
                  </a:cxn>
                  <a:cxn ang="0">
                    <a:pos x="21" y="169"/>
                  </a:cxn>
                  <a:cxn ang="0">
                    <a:pos x="5" y="169"/>
                  </a:cxn>
                  <a:cxn ang="0">
                    <a:pos x="0" y="166"/>
                  </a:cxn>
                  <a:cxn ang="0">
                    <a:pos x="2" y="161"/>
                  </a:cxn>
                  <a:cxn ang="0">
                    <a:pos x="60" y="4"/>
                  </a:cxn>
                  <a:cxn ang="0">
                    <a:pos x="66" y="0"/>
                  </a:cxn>
                  <a:cxn ang="0">
                    <a:pos x="80" y="0"/>
                  </a:cxn>
                  <a:cxn ang="0">
                    <a:pos x="86" y="3"/>
                  </a:cxn>
                  <a:cxn ang="0">
                    <a:pos x="144" y="163"/>
                  </a:cxn>
                  <a:cxn ang="0">
                    <a:pos x="145" y="166"/>
                  </a:cxn>
                  <a:cxn ang="0">
                    <a:pos x="141" y="169"/>
                  </a:cxn>
                  <a:cxn ang="0">
                    <a:pos x="117" y="169"/>
                  </a:cxn>
                  <a:cxn ang="0">
                    <a:pos x="110" y="165"/>
                  </a:cxn>
                  <a:cxn ang="0">
                    <a:pos x="93" y="116"/>
                  </a:cxn>
                </a:cxnLst>
                <a:rect l="0" t="0" r="r" b="b"/>
                <a:pathLst>
                  <a:path w="145" h="169">
                    <a:moveTo>
                      <a:pt x="87" y="98"/>
                    </a:moveTo>
                    <a:cubicBezTo>
                      <a:pt x="68" y="43"/>
                      <a:pt x="68" y="43"/>
                      <a:pt x="68" y="43"/>
                    </a:cubicBezTo>
                    <a:cubicBezTo>
                      <a:pt x="50" y="98"/>
                      <a:pt x="50" y="98"/>
                      <a:pt x="50" y="98"/>
                    </a:cubicBezTo>
                    <a:lnTo>
                      <a:pt x="87" y="98"/>
                    </a:lnTo>
                    <a:close/>
                    <a:moveTo>
                      <a:pt x="93" y="116"/>
                    </a:moveTo>
                    <a:cubicBezTo>
                      <a:pt x="44" y="116"/>
                      <a:pt x="44" y="116"/>
                      <a:pt x="44" y="116"/>
                    </a:cubicBezTo>
                    <a:cubicBezTo>
                      <a:pt x="27" y="164"/>
                      <a:pt x="27" y="164"/>
                      <a:pt x="27" y="164"/>
                    </a:cubicBezTo>
                    <a:cubicBezTo>
                      <a:pt x="26" y="168"/>
                      <a:pt x="25" y="169"/>
                      <a:pt x="21" y="169"/>
                    </a:cubicBezTo>
                    <a:cubicBezTo>
                      <a:pt x="5" y="169"/>
                      <a:pt x="5" y="169"/>
                      <a:pt x="5" y="169"/>
                    </a:cubicBezTo>
                    <a:cubicBezTo>
                      <a:pt x="3" y="169"/>
                      <a:pt x="0" y="169"/>
                      <a:pt x="0" y="166"/>
                    </a:cubicBezTo>
                    <a:cubicBezTo>
                      <a:pt x="0" y="165"/>
                      <a:pt x="2" y="162"/>
                      <a:pt x="2" y="161"/>
                    </a:cubicBezTo>
                    <a:cubicBezTo>
                      <a:pt x="60" y="4"/>
                      <a:pt x="60" y="4"/>
                      <a:pt x="60" y="4"/>
                    </a:cubicBezTo>
                    <a:cubicBezTo>
                      <a:pt x="62" y="1"/>
                      <a:pt x="62" y="0"/>
                      <a:pt x="66" y="0"/>
                    </a:cubicBezTo>
                    <a:cubicBezTo>
                      <a:pt x="80" y="0"/>
                      <a:pt x="80" y="0"/>
                      <a:pt x="80" y="0"/>
                    </a:cubicBezTo>
                    <a:cubicBezTo>
                      <a:pt x="84" y="0"/>
                      <a:pt x="84" y="0"/>
                      <a:pt x="86" y="3"/>
                    </a:cubicBezTo>
                    <a:cubicBezTo>
                      <a:pt x="144" y="163"/>
                      <a:pt x="144" y="163"/>
                      <a:pt x="144" y="163"/>
                    </a:cubicBezTo>
                    <a:cubicBezTo>
                      <a:pt x="145" y="164"/>
                      <a:pt x="145" y="165"/>
                      <a:pt x="145" y="166"/>
                    </a:cubicBezTo>
                    <a:cubicBezTo>
                      <a:pt x="145" y="169"/>
                      <a:pt x="143" y="169"/>
                      <a:pt x="141" y="169"/>
                    </a:cubicBezTo>
                    <a:cubicBezTo>
                      <a:pt x="117" y="169"/>
                      <a:pt x="117" y="169"/>
                      <a:pt x="117" y="169"/>
                    </a:cubicBezTo>
                    <a:cubicBezTo>
                      <a:pt x="113" y="169"/>
                      <a:pt x="112" y="169"/>
                      <a:pt x="110" y="165"/>
                    </a:cubicBezTo>
                    <a:lnTo>
                      <a:pt x="93" y="116"/>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9" name="Freeform 13"/>
              <p:cNvSpPr>
                <a:spLocks/>
              </p:cNvSpPr>
              <p:nvPr userDrawn="1"/>
            </p:nvSpPr>
            <p:spPr bwMode="auto">
              <a:xfrm>
                <a:off x="4833938" y="1804988"/>
                <a:ext cx="103188" cy="131762"/>
              </a:xfrm>
              <a:custGeom>
                <a:avLst/>
                <a:gdLst/>
                <a:ahLst/>
                <a:cxnLst>
                  <a:cxn ang="0">
                    <a:pos x="108" y="111"/>
                  </a:cxn>
                  <a:cxn ang="0">
                    <a:pos x="108" y="5"/>
                  </a:cxn>
                  <a:cxn ang="0">
                    <a:pos x="113" y="0"/>
                  </a:cxn>
                  <a:cxn ang="0">
                    <a:pos x="128" y="0"/>
                  </a:cxn>
                  <a:cxn ang="0">
                    <a:pos x="133" y="5"/>
                  </a:cxn>
                  <a:cxn ang="0">
                    <a:pos x="133" y="164"/>
                  </a:cxn>
                  <a:cxn ang="0">
                    <a:pos x="128" y="169"/>
                  </a:cxn>
                  <a:cxn ang="0">
                    <a:pos x="114" y="169"/>
                  </a:cxn>
                  <a:cxn ang="0">
                    <a:pos x="108" y="164"/>
                  </a:cxn>
                  <a:cxn ang="0">
                    <a:pos x="26" y="48"/>
                  </a:cxn>
                  <a:cxn ang="0">
                    <a:pos x="26" y="164"/>
                  </a:cxn>
                  <a:cxn ang="0">
                    <a:pos x="21" y="169"/>
                  </a:cxn>
                  <a:cxn ang="0">
                    <a:pos x="6" y="169"/>
                  </a:cxn>
                  <a:cxn ang="0">
                    <a:pos x="0" y="164"/>
                  </a:cxn>
                  <a:cxn ang="0">
                    <a:pos x="0" y="5"/>
                  </a:cxn>
                  <a:cxn ang="0">
                    <a:pos x="6" y="0"/>
                  </a:cxn>
                  <a:cxn ang="0">
                    <a:pos x="24" y="0"/>
                  </a:cxn>
                  <a:cxn ang="0">
                    <a:pos x="32" y="4"/>
                  </a:cxn>
                  <a:cxn ang="0">
                    <a:pos x="108" y="111"/>
                  </a:cxn>
                </a:cxnLst>
                <a:rect l="0" t="0" r="r" b="b"/>
                <a:pathLst>
                  <a:path w="133" h="169">
                    <a:moveTo>
                      <a:pt x="108" y="111"/>
                    </a:moveTo>
                    <a:cubicBezTo>
                      <a:pt x="108" y="5"/>
                      <a:pt x="108" y="5"/>
                      <a:pt x="108" y="5"/>
                    </a:cubicBezTo>
                    <a:cubicBezTo>
                      <a:pt x="108" y="1"/>
                      <a:pt x="109" y="0"/>
                      <a:pt x="113" y="0"/>
                    </a:cubicBezTo>
                    <a:cubicBezTo>
                      <a:pt x="128" y="0"/>
                      <a:pt x="128" y="0"/>
                      <a:pt x="128" y="0"/>
                    </a:cubicBezTo>
                    <a:cubicBezTo>
                      <a:pt x="132" y="0"/>
                      <a:pt x="133" y="1"/>
                      <a:pt x="133" y="5"/>
                    </a:cubicBezTo>
                    <a:cubicBezTo>
                      <a:pt x="133" y="164"/>
                      <a:pt x="133" y="164"/>
                      <a:pt x="133" y="164"/>
                    </a:cubicBezTo>
                    <a:cubicBezTo>
                      <a:pt x="133" y="168"/>
                      <a:pt x="131" y="169"/>
                      <a:pt x="128" y="169"/>
                    </a:cubicBezTo>
                    <a:cubicBezTo>
                      <a:pt x="114" y="169"/>
                      <a:pt x="114" y="169"/>
                      <a:pt x="114" y="169"/>
                    </a:cubicBezTo>
                    <a:cubicBezTo>
                      <a:pt x="111" y="169"/>
                      <a:pt x="111" y="168"/>
                      <a:pt x="108" y="164"/>
                    </a:cubicBezTo>
                    <a:cubicBezTo>
                      <a:pt x="26" y="48"/>
                      <a:pt x="26" y="48"/>
                      <a:pt x="26" y="48"/>
                    </a:cubicBezTo>
                    <a:cubicBezTo>
                      <a:pt x="26" y="164"/>
                      <a:pt x="26" y="164"/>
                      <a:pt x="26" y="164"/>
                    </a:cubicBezTo>
                    <a:cubicBezTo>
                      <a:pt x="26" y="168"/>
                      <a:pt x="25" y="169"/>
                      <a:pt x="21" y="169"/>
                    </a:cubicBezTo>
                    <a:cubicBezTo>
                      <a:pt x="6" y="169"/>
                      <a:pt x="6" y="169"/>
                      <a:pt x="6" y="169"/>
                    </a:cubicBezTo>
                    <a:cubicBezTo>
                      <a:pt x="2" y="169"/>
                      <a:pt x="0" y="169"/>
                      <a:pt x="0" y="164"/>
                    </a:cubicBezTo>
                    <a:cubicBezTo>
                      <a:pt x="0" y="5"/>
                      <a:pt x="0" y="5"/>
                      <a:pt x="0" y="5"/>
                    </a:cubicBezTo>
                    <a:cubicBezTo>
                      <a:pt x="0" y="0"/>
                      <a:pt x="2" y="0"/>
                      <a:pt x="6" y="0"/>
                    </a:cubicBezTo>
                    <a:cubicBezTo>
                      <a:pt x="24" y="0"/>
                      <a:pt x="24" y="0"/>
                      <a:pt x="24" y="0"/>
                    </a:cubicBezTo>
                    <a:cubicBezTo>
                      <a:pt x="28" y="0"/>
                      <a:pt x="29" y="0"/>
                      <a:pt x="32" y="4"/>
                    </a:cubicBezTo>
                    <a:lnTo>
                      <a:pt x="108" y="11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0" name="Freeform 14"/>
              <p:cNvSpPr>
                <a:spLocks/>
              </p:cNvSpPr>
              <p:nvPr userDrawn="1"/>
            </p:nvSpPr>
            <p:spPr bwMode="auto">
              <a:xfrm>
                <a:off x="4970463" y="1804988"/>
                <a:ext cx="88900" cy="131762"/>
              </a:xfrm>
              <a:custGeom>
                <a:avLst/>
                <a:gdLst/>
                <a:ahLst/>
                <a:cxnLst>
                  <a:cxn ang="0">
                    <a:pos x="74" y="21"/>
                  </a:cxn>
                  <a:cxn ang="0">
                    <a:pos x="74" y="163"/>
                  </a:cxn>
                  <a:cxn ang="0">
                    <a:pos x="69" y="169"/>
                  </a:cxn>
                  <a:cxn ang="0">
                    <a:pos x="48" y="169"/>
                  </a:cxn>
                  <a:cxn ang="0">
                    <a:pos x="42" y="163"/>
                  </a:cxn>
                  <a:cxn ang="0">
                    <a:pos x="42" y="21"/>
                  </a:cxn>
                  <a:cxn ang="0">
                    <a:pos x="6" y="21"/>
                  </a:cxn>
                  <a:cxn ang="0">
                    <a:pos x="0" y="16"/>
                  </a:cxn>
                  <a:cxn ang="0">
                    <a:pos x="0" y="5"/>
                  </a:cxn>
                  <a:cxn ang="0">
                    <a:pos x="6" y="0"/>
                  </a:cxn>
                  <a:cxn ang="0">
                    <a:pos x="111" y="0"/>
                  </a:cxn>
                  <a:cxn ang="0">
                    <a:pos x="116" y="4"/>
                  </a:cxn>
                  <a:cxn ang="0">
                    <a:pos x="116" y="16"/>
                  </a:cxn>
                  <a:cxn ang="0">
                    <a:pos x="111" y="21"/>
                  </a:cxn>
                  <a:cxn ang="0">
                    <a:pos x="74" y="21"/>
                  </a:cxn>
                </a:cxnLst>
                <a:rect l="0" t="0" r="r" b="b"/>
                <a:pathLst>
                  <a:path w="116" h="169">
                    <a:moveTo>
                      <a:pt x="74" y="21"/>
                    </a:moveTo>
                    <a:cubicBezTo>
                      <a:pt x="74" y="163"/>
                      <a:pt x="74" y="163"/>
                      <a:pt x="74" y="163"/>
                    </a:cubicBezTo>
                    <a:cubicBezTo>
                      <a:pt x="74" y="167"/>
                      <a:pt x="74" y="169"/>
                      <a:pt x="69" y="169"/>
                    </a:cubicBezTo>
                    <a:cubicBezTo>
                      <a:pt x="48" y="169"/>
                      <a:pt x="48" y="169"/>
                      <a:pt x="48" y="169"/>
                    </a:cubicBezTo>
                    <a:cubicBezTo>
                      <a:pt x="43" y="169"/>
                      <a:pt x="42" y="168"/>
                      <a:pt x="42" y="163"/>
                    </a:cubicBezTo>
                    <a:cubicBezTo>
                      <a:pt x="42" y="21"/>
                      <a:pt x="42" y="21"/>
                      <a:pt x="42" y="21"/>
                    </a:cubicBezTo>
                    <a:cubicBezTo>
                      <a:pt x="6" y="21"/>
                      <a:pt x="6" y="21"/>
                      <a:pt x="6" y="21"/>
                    </a:cubicBezTo>
                    <a:cubicBezTo>
                      <a:pt x="1" y="21"/>
                      <a:pt x="0" y="20"/>
                      <a:pt x="0" y="16"/>
                    </a:cubicBezTo>
                    <a:cubicBezTo>
                      <a:pt x="0" y="5"/>
                      <a:pt x="0" y="5"/>
                      <a:pt x="0" y="5"/>
                    </a:cubicBezTo>
                    <a:cubicBezTo>
                      <a:pt x="0" y="0"/>
                      <a:pt x="2" y="0"/>
                      <a:pt x="6" y="0"/>
                    </a:cubicBezTo>
                    <a:cubicBezTo>
                      <a:pt x="111" y="0"/>
                      <a:pt x="111" y="0"/>
                      <a:pt x="111" y="0"/>
                    </a:cubicBezTo>
                    <a:cubicBezTo>
                      <a:pt x="114" y="0"/>
                      <a:pt x="116" y="0"/>
                      <a:pt x="116" y="4"/>
                    </a:cubicBezTo>
                    <a:cubicBezTo>
                      <a:pt x="116" y="16"/>
                      <a:pt x="116" y="16"/>
                      <a:pt x="116" y="16"/>
                    </a:cubicBezTo>
                    <a:cubicBezTo>
                      <a:pt x="116" y="20"/>
                      <a:pt x="115" y="21"/>
                      <a:pt x="111" y="21"/>
                    </a:cubicBezTo>
                    <a:lnTo>
                      <a:pt x="74" y="2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1" name="Freeform 15"/>
              <p:cNvSpPr>
                <a:spLocks/>
              </p:cNvSpPr>
              <p:nvPr userDrawn="1"/>
            </p:nvSpPr>
            <p:spPr bwMode="auto">
              <a:xfrm>
                <a:off x="5086350" y="1801813"/>
                <a:ext cx="85725" cy="138112"/>
              </a:xfrm>
              <a:custGeom>
                <a:avLst/>
                <a:gdLst/>
                <a:ahLst/>
                <a:cxnLst>
                  <a:cxn ang="0">
                    <a:pos x="71" y="75"/>
                  </a:cxn>
                  <a:cxn ang="0">
                    <a:pos x="110" y="127"/>
                  </a:cxn>
                  <a:cxn ang="0">
                    <a:pos x="55" y="177"/>
                  </a:cxn>
                  <a:cxn ang="0">
                    <a:pos x="0" y="138"/>
                  </a:cxn>
                  <a:cxn ang="0">
                    <a:pos x="14" y="123"/>
                  </a:cxn>
                  <a:cxn ang="0">
                    <a:pos x="31" y="137"/>
                  </a:cxn>
                  <a:cxn ang="0">
                    <a:pos x="57" y="156"/>
                  </a:cxn>
                  <a:cxn ang="0">
                    <a:pos x="79" y="134"/>
                  </a:cxn>
                  <a:cxn ang="0">
                    <a:pos x="48" y="100"/>
                  </a:cxn>
                  <a:cxn ang="0">
                    <a:pos x="34" y="93"/>
                  </a:cxn>
                  <a:cxn ang="0">
                    <a:pos x="2" y="47"/>
                  </a:cxn>
                  <a:cxn ang="0">
                    <a:pos x="53" y="0"/>
                  </a:cxn>
                  <a:cxn ang="0">
                    <a:pos x="104" y="32"/>
                  </a:cxn>
                  <a:cxn ang="0">
                    <a:pos x="90" y="46"/>
                  </a:cxn>
                  <a:cxn ang="0">
                    <a:pos x="75" y="35"/>
                  </a:cxn>
                  <a:cxn ang="0">
                    <a:pos x="52" y="19"/>
                  </a:cxn>
                  <a:cxn ang="0">
                    <a:pos x="31" y="40"/>
                  </a:cxn>
                  <a:cxn ang="0">
                    <a:pos x="60" y="70"/>
                  </a:cxn>
                  <a:cxn ang="0">
                    <a:pos x="71" y="75"/>
                  </a:cxn>
                </a:cxnLst>
                <a:rect l="0" t="0" r="r" b="b"/>
                <a:pathLst>
                  <a:path w="110" h="177">
                    <a:moveTo>
                      <a:pt x="71" y="75"/>
                    </a:moveTo>
                    <a:cubicBezTo>
                      <a:pt x="86" y="83"/>
                      <a:pt x="110" y="96"/>
                      <a:pt x="110" y="127"/>
                    </a:cubicBezTo>
                    <a:cubicBezTo>
                      <a:pt x="110" y="159"/>
                      <a:pt x="86" y="177"/>
                      <a:pt x="55" y="177"/>
                    </a:cubicBezTo>
                    <a:cubicBezTo>
                      <a:pt x="16" y="177"/>
                      <a:pt x="0" y="151"/>
                      <a:pt x="0" y="138"/>
                    </a:cubicBezTo>
                    <a:cubicBezTo>
                      <a:pt x="0" y="127"/>
                      <a:pt x="8" y="123"/>
                      <a:pt x="14" y="123"/>
                    </a:cubicBezTo>
                    <a:cubicBezTo>
                      <a:pt x="23" y="123"/>
                      <a:pt x="27" y="130"/>
                      <a:pt x="31" y="137"/>
                    </a:cubicBezTo>
                    <a:cubicBezTo>
                      <a:pt x="34" y="143"/>
                      <a:pt x="41" y="156"/>
                      <a:pt x="57" y="156"/>
                    </a:cubicBezTo>
                    <a:cubicBezTo>
                      <a:pt x="70" y="156"/>
                      <a:pt x="79" y="147"/>
                      <a:pt x="79" y="134"/>
                    </a:cubicBezTo>
                    <a:cubicBezTo>
                      <a:pt x="79" y="117"/>
                      <a:pt x="67" y="110"/>
                      <a:pt x="48" y="100"/>
                    </a:cubicBezTo>
                    <a:cubicBezTo>
                      <a:pt x="34" y="93"/>
                      <a:pt x="34" y="93"/>
                      <a:pt x="34" y="93"/>
                    </a:cubicBezTo>
                    <a:cubicBezTo>
                      <a:pt x="25" y="88"/>
                      <a:pt x="2" y="76"/>
                      <a:pt x="2" y="47"/>
                    </a:cubicBezTo>
                    <a:cubicBezTo>
                      <a:pt x="2" y="18"/>
                      <a:pt x="23" y="0"/>
                      <a:pt x="53" y="0"/>
                    </a:cubicBezTo>
                    <a:cubicBezTo>
                      <a:pt x="85" y="0"/>
                      <a:pt x="104" y="18"/>
                      <a:pt x="104" y="32"/>
                    </a:cubicBezTo>
                    <a:cubicBezTo>
                      <a:pt x="104" y="40"/>
                      <a:pt x="98" y="46"/>
                      <a:pt x="90" y="46"/>
                    </a:cubicBezTo>
                    <a:cubicBezTo>
                      <a:pt x="82" y="46"/>
                      <a:pt x="79" y="40"/>
                      <a:pt x="75" y="35"/>
                    </a:cubicBezTo>
                    <a:cubicBezTo>
                      <a:pt x="71" y="29"/>
                      <a:pt x="65" y="19"/>
                      <a:pt x="52" y="19"/>
                    </a:cubicBezTo>
                    <a:cubicBezTo>
                      <a:pt x="40" y="19"/>
                      <a:pt x="31" y="28"/>
                      <a:pt x="31" y="40"/>
                    </a:cubicBezTo>
                    <a:cubicBezTo>
                      <a:pt x="31" y="56"/>
                      <a:pt x="44" y="62"/>
                      <a:pt x="60" y="70"/>
                    </a:cubicBezTo>
                    <a:lnTo>
                      <a:pt x="71" y="75"/>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sp>
          <p:nvSpPr>
            <p:cNvPr id="10" name="Rectangle 16"/>
            <p:cNvSpPr>
              <a:spLocks noChangeArrowheads="1"/>
            </p:cNvSpPr>
            <p:nvPr userDrawn="1"/>
          </p:nvSpPr>
          <p:spPr bwMode="auto">
            <a:xfrm>
              <a:off x="3813175" y="1984375"/>
              <a:ext cx="1368425" cy="9525"/>
            </a:xfrm>
            <a:prstGeom prst="rect">
              <a:avLst/>
            </a:prstGeom>
            <a:solidFill>
              <a:srgbClr val="225696"/>
            </a:solidFill>
            <a:ln w="9525">
              <a:noFill/>
              <a:miter lim="800000"/>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nvGrpSpPr>
            <p:cNvPr id="11" name="Group 31"/>
            <p:cNvGrpSpPr/>
            <p:nvPr userDrawn="1"/>
          </p:nvGrpSpPr>
          <p:grpSpPr>
            <a:xfrm>
              <a:off x="3813175" y="1435101"/>
              <a:ext cx="1358901" cy="317499"/>
              <a:chOff x="3813175" y="1435101"/>
              <a:chExt cx="1358901" cy="317499"/>
            </a:xfrm>
          </p:grpSpPr>
          <p:sp>
            <p:nvSpPr>
              <p:cNvPr id="16" name="Freeform 17"/>
              <p:cNvSpPr>
                <a:spLocks/>
              </p:cNvSpPr>
              <p:nvPr userDrawn="1"/>
            </p:nvSpPr>
            <p:spPr bwMode="auto">
              <a:xfrm>
                <a:off x="4551363" y="1452563"/>
                <a:ext cx="285750" cy="300037"/>
              </a:xfrm>
              <a:custGeom>
                <a:avLst/>
                <a:gdLst/>
                <a:ahLst/>
                <a:cxnLst>
                  <a:cxn ang="0">
                    <a:pos x="54" y="0"/>
                  </a:cxn>
                  <a:cxn ang="0">
                    <a:pos x="201" y="207"/>
                  </a:cxn>
                  <a:cxn ang="0">
                    <a:pos x="330" y="0"/>
                  </a:cxn>
                  <a:cxn ang="0">
                    <a:pos x="368" y="38"/>
                  </a:cxn>
                  <a:cxn ang="0">
                    <a:pos x="228" y="314"/>
                  </a:cxn>
                  <a:cxn ang="0">
                    <a:pos x="51" y="387"/>
                  </a:cxn>
                  <a:cxn ang="0">
                    <a:pos x="0" y="357"/>
                  </a:cxn>
                  <a:cxn ang="0">
                    <a:pos x="55" y="325"/>
                  </a:cxn>
                  <a:cxn ang="0">
                    <a:pos x="170" y="272"/>
                  </a:cxn>
                  <a:cxn ang="0">
                    <a:pos x="20" y="50"/>
                  </a:cxn>
                  <a:cxn ang="0">
                    <a:pos x="54" y="0"/>
                  </a:cxn>
                </a:cxnLst>
                <a:rect l="0" t="0" r="r" b="b"/>
                <a:pathLst>
                  <a:path w="368" h="387">
                    <a:moveTo>
                      <a:pt x="54" y="0"/>
                    </a:moveTo>
                    <a:cubicBezTo>
                      <a:pt x="99" y="0"/>
                      <a:pt x="96" y="207"/>
                      <a:pt x="201" y="207"/>
                    </a:cubicBezTo>
                    <a:cubicBezTo>
                      <a:pt x="296" y="207"/>
                      <a:pt x="280" y="0"/>
                      <a:pt x="330" y="0"/>
                    </a:cubicBezTo>
                    <a:cubicBezTo>
                      <a:pt x="368" y="0"/>
                      <a:pt x="368" y="28"/>
                      <a:pt x="368" y="38"/>
                    </a:cubicBezTo>
                    <a:cubicBezTo>
                      <a:pt x="368" y="48"/>
                      <a:pt x="332" y="235"/>
                      <a:pt x="228" y="314"/>
                    </a:cubicBezTo>
                    <a:cubicBezTo>
                      <a:pt x="147" y="376"/>
                      <a:pt x="81" y="387"/>
                      <a:pt x="51" y="387"/>
                    </a:cubicBezTo>
                    <a:cubicBezTo>
                      <a:pt x="21" y="387"/>
                      <a:pt x="0" y="376"/>
                      <a:pt x="0" y="357"/>
                    </a:cubicBezTo>
                    <a:cubicBezTo>
                      <a:pt x="0" y="339"/>
                      <a:pt x="21" y="328"/>
                      <a:pt x="55" y="325"/>
                    </a:cubicBezTo>
                    <a:cubicBezTo>
                      <a:pt x="95" y="322"/>
                      <a:pt x="170" y="287"/>
                      <a:pt x="170" y="272"/>
                    </a:cubicBezTo>
                    <a:cubicBezTo>
                      <a:pt x="74" y="272"/>
                      <a:pt x="22" y="64"/>
                      <a:pt x="20" y="50"/>
                    </a:cubicBezTo>
                    <a:cubicBezTo>
                      <a:pt x="16" y="11"/>
                      <a:pt x="32" y="0"/>
                      <a:pt x="54" y="0"/>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17" name="Freeform 18"/>
              <p:cNvSpPr>
                <a:spLocks/>
              </p:cNvSpPr>
              <p:nvPr userDrawn="1"/>
            </p:nvSpPr>
            <p:spPr bwMode="auto">
              <a:xfrm>
                <a:off x="4189413" y="1444625"/>
                <a:ext cx="309563" cy="233362"/>
              </a:xfrm>
              <a:custGeom>
                <a:avLst/>
                <a:gdLst/>
                <a:ahLst/>
                <a:cxnLst>
                  <a:cxn ang="0">
                    <a:pos x="371" y="251"/>
                  </a:cxn>
                  <a:cxn ang="0">
                    <a:pos x="258" y="158"/>
                  </a:cxn>
                  <a:cxn ang="0">
                    <a:pos x="361" y="48"/>
                  </a:cxn>
                  <a:cxn ang="0">
                    <a:pos x="384" y="19"/>
                  </a:cxn>
                  <a:cxn ang="0">
                    <a:pos x="349" y="2"/>
                  </a:cxn>
                  <a:cxn ang="0">
                    <a:pos x="200" y="91"/>
                  </a:cxn>
                  <a:cxn ang="0">
                    <a:pos x="51" y="2"/>
                  </a:cxn>
                  <a:cxn ang="0">
                    <a:pos x="16" y="19"/>
                  </a:cxn>
                  <a:cxn ang="0">
                    <a:pos x="39" y="48"/>
                  </a:cxn>
                  <a:cxn ang="0">
                    <a:pos x="142" y="158"/>
                  </a:cxn>
                  <a:cxn ang="0">
                    <a:pos x="29" y="251"/>
                  </a:cxn>
                  <a:cxn ang="0">
                    <a:pos x="4" y="280"/>
                  </a:cxn>
                  <a:cxn ang="0">
                    <a:pos x="41" y="298"/>
                  </a:cxn>
                  <a:cxn ang="0">
                    <a:pos x="200" y="218"/>
                  </a:cxn>
                  <a:cxn ang="0">
                    <a:pos x="359" y="298"/>
                  </a:cxn>
                  <a:cxn ang="0">
                    <a:pos x="396" y="280"/>
                  </a:cxn>
                  <a:cxn ang="0">
                    <a:pos x="371" y="251"/>
                  </a:cxn>
                </a:cxnLst>
                <a:rect l="0" t="0" r="r" b="b"/>
                <a:pathLst>
                  <a:path w="399" h="300">
                    <a:moveTo>
                      <a:pt x="371" y="251"/>
                    </a:moveTo>
                    <a:cubicBezTo>
                      <a:pt x="370" y="251"/>
                      <a:pt x="258" y="225"/>
                      <a:pt x="258" y="158"/>
                    </a:cubicBezTo>
                    <a:cubicBezTo>
                      <a:pt x="258" y="79"/>
                      <a:pt x="360" y="48"/>
                      <a:pt x="361" y="48"/>
                    </a:cubicBezTo>
                    <a:cubicBezTo>
                      <a:pt x="373" y="44"/>
                      <a:pt x="387" y="31"/>
                      <a:pt x="384" y="19"/>
                    </a:cubicBezTo>
                    <a:cubicBezTo>
                      <a:pt x="379" y="2"/>
                      <a:pt x="365" y="0"/>
                      <a:pt x="349" y="2"/>
                    </a:cubicBezTo>
                    <a:cubicBezTo>
                      <a:pt x="345" y="2"/>
                      <a:pt x="247" y="26"/>
                      <a:pt x="200" y="91"/>
                    </a:cubicBezTo>
                    <a:cubicBezTo>
                      <a:pt x="152" y="26"/>
                      <a:pt x="55" y="3"/>
                      <a:pt x="51" y="2"/>
                    </a:cubicBezTo>
                    <a:cubicBezTo>
                      <a:pt x="39" y="0"/>
                      <a:pt x="19" y="6"/>
                      <a:pt x="16" y="19"/>
                    </a:cubicBezTo>
                    <a:cubicBezTo>
                      <a:pt x="12" y="31"/>
                      <a:pt x="27" y="44"/>
                      <a:pt x="39" y="48"/>
                    </a:cubicBezTo>
                    <a:cubicBezTo>
                      <a:pt x="40" y="48"/>
                      <a:pt x="142" y="79"/>
                      <a:pt x="142" y="158"/>
                    </a:cubicBezTo>
                    <a:cubicBezTo>
                      <a:pt x="142" y="225"/>
                      <a:pt x="30" y="251"/>
                      <a:pt x="29" y="251"/>
                    </a:cubicBezTo>
                    <a:cubicBezTo>
                      <a:pt x="16" y="254"/>
                      <a:pt x="0" y="267"/>
                      <a:pt x="4" y="280"/>
                    </a:cubicBezTo>
                    <a:cubicBezTo>
                      <a:pt x="7" y="293"/>
                      <a:pt x="26" y="300"/>
                      <a:pt x="41" y="298"/>
                    </a:cubicBezTo>
                    <a:cubicBezTo>
                      <a:pt x="45" y="297"/>
                      <a:pt x="152" y="277"/>
                      <a:pt x="200" y="218"/>
                    </a:cubicBezTo>
                    <a:cubicBezTo>
                      <a:pt x="248" y="277"/>
                      <a:pt x="355" y="297"/>
                      <a:pt x="359" y="298"/>
                    </a:cubicBezTo>
                    <a:cubicBezTo>
                      <a:pt x="374" y="300"/>
                      <a:pt x="392" y="297"/>
                      <a:pt x="396" y="280"/>
                    </a:cubicBezTo>
                    <a:cubicBezTo>
                      <a:pt x="399" y="267"/>
                      <a:pt x="384" y="254"/>
                      <a:pt x="371" y="251"/>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18" name="Freeform 19"/>
              <p:cNvSpPr>
                <a:spLocks/>
              </p:cNvSpPr>
              <p:nvPr userDrawn="1"/>
            </p:nvSpPr>
            <p:spPr bwMode="auto">
              <a:xfrm>
                <a:off x="4887913" y="1435101"/>
                <a:ext cx="284163" cy="265112"/>
              </a:xfrm>
              <a:custGeom>
                <a:avLst/>
                <a:gdLst/>
                <a:ahLst/>
                <a:cxnLst>
                  <a:cxn ang="0">
                    <a:pos x="208" y="143"/>
                  </a:cxn>
                  <a:cxn ang="0">
                    <a:pos x="200" y="142"/>
                  </a:cxn>
                  <a:cxn ang="0">
                    <a:pos x="105" y="105"/>
                  </a:cxn>
                  <a:cxn ang="0">
                    <a:pos x="115" y="84"/>
                  </a:cxn>
                  <a:cxn ang="0">
                    <a:pos x="295" y="87"/>
                  </a:cxn>
                  <a:cxn ang="0">
                    <a:pos x="333" y="70"/>
                  </a:cxn>
                  <a:cxn ang="0">
                    <a:pos x="305" y="35"/>
                  </a:cxn>
                  <a:cxn ang="0">
                    <a:pos x="62" y="46"/>
                  </a:cxn>
                  <a:cxn ang="0">
                    <a:pos x="34" y="104"/>
                  </a:cxn>
                  <a:cxn ang="0">
                    <a:pos x="170" y="194"/>
                  </a:cxn>
                  <a:cxn ang="0">
                    <a:pos x="296" y="231"/>
                  </a:cxn>
                  <a:cxn ang="0">
                    <a:pos x="285" y="249"/>
                  </a:cxn>
                  <a:cxn ang="0">
                    <a:pos x="45" y="236"/>
                  </a:cxn>
                  <a:cxn ang="0">
                    <a:pos x="2" y="248"/>
                  </a:cxn>
                  <a:cxn ang="0">
                    <a:pos x="2" y="265"/>
                  </a:cxn>
                  <a:cxn ang="0">
                    <a:pos x="23" y="287"/>
                  </a:cxn>
                  <a:cxn ang="0">
                    <a:pos x="331" y="294"/>
                  </a:cxn>
                  <a:cxn ang="0">
                    <a:pos x="367" y="231"/>
                  </a:cxn>
                  <a:cxn ang="0">
                    <a:pos x="208" y="143"/>
                  </a:cxn>
                </a:cxnLst>
                <a:rect l="0" t="0" r="r" b="b"/>
                <a:pathLst>
                  <a:path w="367" h="342">
                    <a:moveTo>
                      <a:pt x="208" y="143"/>
                    </a:moveTo>
                    <a:cubicBezTo>
                      <a:pt x="200" y="142"/>
                      <a:pt x="200" y="142"/>
                      <a:pt x="200" y="142"/>
                    </a:cubicBezTo>
                    <a:cubicBezTo>
                      <a:pt x="177" y="139"/>
                      <a:pt x="105" y="130"/>
                      <a:pt x="105" y="105"/>
                    </a:cubicBezTo>
                    <a:cubicBezTo>
                      <a:pt x="105" y="96"/>
                      <a:pt x="108" y="89"/>
                      <a:pt x="115" y="84"/>
                    </a:cubicBezTo>
                    <a:cubicBezTo>
                      <a:pt x="148" y="57"/>
                      <a:pt x="252" y="77"/>
                      <a:pt x="295" y="87"/>
                    </a:cubicBezTo>
                    <a:cubicBezTo>
                      <a:pt x="311" y="90"/>
                      <a:pt x="330" y="86"/>
                      <a:pt x="333" y="70"/>
                    </a:cubicBezTo>
                    <a:cubicBezTo>
                      <a:pt x="337" y="54"/>
                      <a:pt x="320" y="39"/>
                      <a:pt x="305" y="35"/>
                    </a:cubicBezTo>
                    <a:cubicBezTo>
                      <a:pt x="258" y="23"/>
                      <a:pt x="121" y="0"/>
                      <a:pt x="62" y="46"/>
                    </a:cubicBezTo>
                    <a:cubicBezTo>
                      <a:pt x="43" y="60"/>
                      <a:pt x="34" y="79"/>
                      <a:pt x="34" y="104"/>
                    </a:cubicBezTo>
                    <a:cubicBezTo>
                      <a:pt x="34" y="162"/>
                      <a:pt x="88" y="182"/>
                      <a:pt x="170" y="194"/>
                    </a:cubicBezTo>
                    <a:cubicBezTo>
                      <a:pt x="237" y="204"/>
                      <a:pt x="296" y="212"/>
                      <a:pt x="296" y="231"/>
                    </a:cubicBezTo>
                    <a:cubicBezTo>
                      <a:pt x="296" y="238"/>
                      <a:pt x="292" y="244"/>
                      <a:pt x="285" y="249"/>
                    </a:cubicBezTo>
                    <a:cubicBezTo>
                      <a:pt x="241" y="277"/>
                      <a:pt x="94" y="257"/>
                      <a:pt x="45" y="236"/>
                    </a:cubicBezTo>
                    <a:cubicBezTo>
                      <a:pt x="30" y="230"/>
                      <a:pt x="9" y="233"/>
                      <a:pt x="2" y="248"/>
                    </a:cubicBezTo>
                    <a:cubicBezTo>
                      <a:pt x="0" y="253"/>
                      <a:pt x="0" y="259"/>
                      <a:pt x="2" y="265"/>
                    </a:cubicBezTo>
                    <a:cubicBezTo>
                      <a:pt x="5" y="274"/>
                      <a:pt x="14" y="283"/>
                      <a:pt x="23" y="287"/>
                    </a:cubicBezTo>
                    <a:cubicBezTo>
                      <a:pt x="78" y="313"/>
                      <a:pt x="256" y="342"/>
                      <a:pt x="331" y="294"/>
                    </a:cubicBezTo>
                    <a:cubicBezTo>
                      <a:pt x="355" y="279"/>
                      <a:pt x="367" y="258"/>
                      <a:pt x="367" y="231"/>
                    </a:cubicBezTo>
                    <a:cubicBezTo>
                      <a:pt x="367" y="162"/>
                      <a:pt x="293" y="153"/>
                      <a:pt x="208" y="143"/>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19" name="Freeform 20"/>
              <p:cNvSpPr>
                <a:spLocks noEditPoints="1"/>
              </p:cNvSpPr>
              <p:nvPr userDrawn="1"/>
            </p:nvSpPr>
            <p:spPr bwMode="auto">
              <a:xfrm>
                <a:off x="3813175" y="1441451"/>
                <a:ext cx="341313" cy="234950"/>
              </a:xfrm>
              <a:custGeom>
                <a:avLst/>
                <a:gdLst/>
                <a:ahLst/>
                <a:cxnLst>
                  <a:cxn ang="0">
                    <a:pos x="286" y="219"/>
                  </a:cxn>
                  <a:cxn ang="0">
                    <a:pos x="222" y="258"/>
                  </a:cxn>
                  <a:cxn ang="0">
                    <a:pos x="103" y="208"/>
                  </a:cxn>
                  <a:cxn ang="0">
                    <a:pos x="163" y="165"/>
                  </a:cxn>
                  <a:cxn ang="0">
                    <a:pos x="163" y="165"/>
                  </a:cxn>
                  <a:cxn ang="0">
                    <a:pos x="287" y="155"/>
                  </a:cxn>
                  <a:cxn ang="0">
                    <a:pos x="286" y="219"/>
                  </a:cxn>
                  <a:cxn ang="0">
                    <a:pos x="282" y="112"/>
                  </a:cxn>
                  <a:cxn ang="0">
                    <a:pos x="143" y="117"/>
                  </a:cxn>
                  <a:cxn ang="0">
                    <a:pos x="0" y="211"/>
                  </a:cxn>
                  <a:cxn ang="0">
                    <a:pos x="35" y="270"/>
                  </a:cxn>
                  <a:cxn ang="0">
                    <a:pos x="186" y="304"/>
                  </a:cxn>
                  <a:cxn ang="0">
                    <a:pos x="287" y="290"/>
                  </a:cxn>
                  <a:cxn ang="0">
                    <a:pos x="335" y="275"/>
                  </a:cxn>
                  <a:cxn ang="0">
                    <a:pos x="398" y="304"/>
                  </a:cxn>
                  <a:cxn ang="0">
                    <a:pos x="395" y="246"/>
                  </a:cxn>
                  <a:cxn ang="0">
                    <a:pos x="388" y="157"/>
                  </a:cxn>
                  <a:cxn ang="0">
                    <a:pos x="312" y="21"/>
                  </a:cxn>
                  <a:cxn ang="0">
                    <a:pos x="186" y="1"/>
                  </a:cxn>
                  <a:cxn ang="0">
                    <a:pos x="34" y="42"/>
                  </a:cxn>
                  <a:cxn ang="0">
                    <a:pos x="55" y="79"/>
                  </a:cxn>
                  <a:cxn ang="0">
                    <a:pos x="195" y="47"/>
                  </a:cxn>
                  <a:cxn ang="0">
                    <a:pos x="282" y="112"/>
                  </a:cxn>
                </a:cxnLst>
                <a:rect l="0" t="0" r="r" b="b"/>
                <a:pathLst>
                  <a:path w="440" h="304">
                    <a:moveTo>
                      <a:pt x="286" y="219"/>
                    </a:moveTo>
                    <a:cubicBezTo>
                      <a:pt x="279" y="241"/>
                      <a:pt x="260" y="258"/>
                      <a:pt x="222" y="258"/>
                    </a:cubicBezTo>
                    <a:cubicBezTo>
                      <a:pt x="164" y="258"/>
                      <a:pt x="103" y="236"/>
                      <a:pt x="103" y="208"/>
                    </a:cubicBezTo>
                    <a:cubicBezTo>
                      <a:pt x="103" y="190"/>
                      <a:pt x="129" y="174"/>
                      <a:pt x="163" y="165"/>
                    </a:cubicBezTo>
                    <a:cubicBezTo>
                      <a:pt x="163" y="165"/>
                      <a:pt x="163" y="165"/>
                      <a:pt x="163" y="165"/>
                    </a:cubicBezTo>
                    <a:cubicBezTo>
                      <a:pt x="163" y="165"/>
                      <a:pt x="221" y="150"/>
                      <a:pt x="287" y="155"/>
                    </a:cubicBezTo>
                    <a:cubicBezTo>
                      <a:pt x="291" y="169"/>
                      <a:pt x="292" y="200"/>
                      <a:pt x="286" y="219"/>
                    </a:cubicBezTo>
                    <a:moveTo>
                      <a:pt x="282" y="112"/>
                    </a:moveTo>
                    <a:cubicBezTo>
                      <a:pt x="265" y="111"/>
                      <a:pt x="189" y="111"/>
                      <a:pt x="143" y="117"/>
                    </a:cubicBezTo>
                    <a:cubicBezTo>
                      <a:pt x="35" y="133"/>
                      <a:pt x="0" y="175"/>
                      <a:pt x="0" y="211"/>
                    </a:cubicBezTo>
                    <a:cubicBezTo>
                      <a:pt x="0" y="233"/>
                      <a:pt x="11" y="256"/>
                      <a:pt x="35" y="270"/>
                    </a:cubicBezTo>
                    <a:cubicBezTo>
                      <a:pt x="67" y="290"/>
                      <a:pt x="120" y="304"/>
                      <a:pt x="186" y="304"/>
                    </a:cubicBezTo>
                    <a:cubicBezTo>
                      <a:pt x="222" y="304"/>
                      <a:pt x="257" y="300"/>
                      <a:pt x="287" y="290"/>
                    </a:cubicBezTo>
                    <a:cubicBezTo>
                      <a:pt x="287" y="290"/>
                      <a:pt x="327" y="275"/>
                      <a:pt x="335" y="275"/>
                    </a:cubicBezTo>
                    <a:cubicBezTo>
                      <a:pt x="360" y="275"/>
                      <a:pt x="354" y="304"/>
                      <a:pt x="398" y="304"/>
                    </a:cubicBezTo>
                    <a:cubicBezTo>
                      <a:pt x="440" y="304"/>
                      <a:pt x="402" y="272"/>
                      <a:pt x="395" y="246"/>
                    </a:cubicBezTo>
                    <a:cubicBezTo>
                      <a:pt x="388" y="218"/>
                      <a:pt x="389" y="173"/>
                      <a:pt x="388" y="157"/>
                    </a:cubicBezTo>
                    <a:cubicBezTo>
                      <a:pt x="385" y="98"/>
                      <a:pt x="366" y="48"/>
                      <a:pt x="312" y="21"/>
                    </a:cubicBezTo>
                    <a:cubicBezTo>
                      <a:pt x="279" y="5"/>
                      <a:pt x="244" y="0"/>
                      <a:pt x="186" y="1"/>
                    </a:cubicBezTo>
                    <a:cubicBezTo>
                      <a:pt x="139" y="2"/>
                      <a:pt x="67" y="22"/>
                      <a:pt x="34" y="42"/>
                    </a:cubicBezTo>
                    <a:cubicBezTo>
                      <a:pt x="6" y="60"/>
                      <a:pt x="26" y="91"/>
                      <a:pt x="55" y="79"/>
                    </a:cubicBezTo>
                    <a:cubicBezTo>
                      <a:pt x="108" y="56"/>
                      <a:pt x="141" y="46"/>
                      <a:pt x="195" y="47"/>
                    </a:cubicBezTo>
                    <a:cubicBezTo>
                      <a:pt x="234" y="48"/>
                      <a:pt x="273" y="57"/>
                      <a:pt x="282" y="112"/>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grpSp>
          <p:nvGrpSpPr>
            <p:cNvPr id="12" name="Group 33"/>
            <p:cNvGrpSpPr/>
            <p:nvPr userDrawn="1"/>
          </p:nvGrpSpPr>
          <p:grpSpPr>
            <a:xfrm>
              <a:off x="3825875" y="2044700"/>
              <a:ext cx="1347788" cy="114300"/>
              <a:chOff x="3825875" y="2044700"/>
              <a:chExt cx="1347788" cy="114300"/>
            </a:xfrm>
          </p:grpSpPr>
          <p:sp>
            <p:nvSpPr>
              <p:cNvPr id="13" name="Freeform 21"/>
              <p:cNvSpPr>
                <a:spLocks noEditPoints="1"/>
              </p:cNvSpPr>
              <p:nvPr userDrawn="1"/>
            </p:nvSpPr>
            <p:spPr bwMode="auto">
              <a:xfrm>
                <a:off x="3825875" y="2044700"/>
                <a:ext cx="1347788" cy="114300"/>
              </a:xfrm>
              <a:custGeom>
                <a:avLst/>
                <a:gdLst/>
                <a:ahLst/>
                <a:cxnLst>
                  <a:cxn ang="0">
                    <a:pos x="1726" y="117"/>
                  </a:cxn>
                  <a:cxn ang="0">
                    <a:pos x="1670" y="43"/>
                  </a:cxn>
                  <a:cxn ang="0">
                    <a:pos x="1648" y="17"/>
                  </a:cxn>
                  <a:cxn ang="0">
                    <a:pos x="1557" y="60"/>
                  </a:cxn>
                  <a:cxn ang="0">
                    <a:pos x="1605" y="92"/>
                  </a:cxn>
                  <a:cxn ang="0">
                    <a:pos x="1547" y="57"/>
                  </a:cxn>
                  <a:cxn ang="0">
                    <a:pos x="1615" y="95"/>
                  </a:cxn>
                  <a:cxn ang="0">
                    <a:pos x="1526" y="5"/>
                  </a:cxn>
                  <a:cxn ang="0">
                    <a:pos x="1448" y="114"/>
                  </a:cxn>
                  <a:cxn ang="0">
                    <a:pos x="1430" y="69"/>
                  </a:cxn>
                  <a:cxn ang="0">
                    <a:pos x="1456" y="44"/>
                  </a:cxn>
                  <a:cxn ang="0">
                    <a:pos x="1411" y="46"/>
                  </a:cxn>
                  <a:cxn ang="0">
                    <a:pos x="1435" y="83"/>
                  </a:cxn>
                  <a:cxn ang="0">
                    <a:pos x="1431" y="111"/>
                  </a:cxn>
                  <a:cxn ang="0">
                    <a:pos x="1369" y="110"/>
                  </a:cxn>
                  <a:cxn ang="0">
                    <a:pos x="1332" y="109"/>
                  </a:cxn>
                  <a:cxn ang="0">
                    <a:pos x="1304" y="5"/>
                  </a:cxn>
                  <a:cxn ang="0">
                    <a:pos x="1261" y="63"/>
                  </a:cxn>
                  <a:cxn ang="0">
                    <a:pos x="1218" y="44"/>
                  </a:cxn>
                  <a:cxn ang="0">
                    <a:pos x="1271" y="60"/>
                  </a:cxn>
                  <a:cxn ang="0">
                    <a:pos x="1218" y="114"/>
                  </a:cxn>
                  <a:cxn ang="0">
                    <a:pos x="1155" y="36"/>
                  </a:cxn>
                  <a:cxn ang="0">
                    <a:pos x="1059" y="43"/>
                  </a:cxn>
                  <a:cxn ang="0">
                    <a:pos x="1060" y="111"/>
                  </a:cxn>
                  <a:cxn ang="0">
                    <a:pos x="1059" y="36"/>
                  </a:cxn>
                  <a:cxn ang="0">
                    <a:pos x="1060" y="118"/>
                  </a:cxn>
                  <a:cxn ang="0">
                    <a:pos x="1007" y="5"/>
                  </a:cxn>
                  <a:cxn ang="0">
                    <a:pos x="930" y="107"/>
                  </a:cxn>
                  <a:cxn ang="0">
                    <a:pos x="930" y="107"/>
                  </a:cxn>
                  <a:cxn ang="0">
                    <a:pos x="885" y="78"/>
                  </a:cxn>
                  <a:cxn ang="0">
                    <a:pos x="913" y="36"/>
                  </a:cxn>
                  <a:cxn ang="0">
                    <a:pos x="842" y="34"/>
                  </a:cxn>
                  <a:cxn ang="0">
                    <a:pos x="768" y="61"/>
                  </a:cxn>
                  <a:cxn ang="0">
                    <a:pos x="801" y="37"/>
                  </a:cxn>
                  <a:cxn ang="0">
                    <a:pos x="778" y="116"/>
                  </a:cxn>
                  <a:cxn ang="0">
                    <a:pos x="643" y="117"/>
                  </a:cxn>
                  <a:cxn ang="0">
                    <a:pos x="700" y="75"/>
                  </a:cxn>
                  <a:cxn ang="0">
                    <a:pos x="564" y="109"/>
                  </a:cxn>
                  <a:cxn ang="0">
                    <a:pos x="588" y="45"/>
                  </a:cxn>
                  <a:cxn ang="0">
                    <a:pos x="564" y="109"/>
                  </a:cxn>
                  <a:cxn ang="0">
                    <a:pos x="559" y="116"/>
                  </a:cxn>
                  <a:cxn ang="0">
                    <a:pos x="592" y="38"/>
                  </a:cxn>
                  <a:cxn ang="0">
                    <a:pos x="522" y="17"/>
                  </a:cxn>
                  <a:cxn ang="0">
                    <a:pos x="467" y="45"/>
                  </a:cxn>
                  <a:cxn ang="0">
                    <a:pos x="496" y="110"/>
                  </a:cxn>
                  <a:cxn ang="0">
                    <a:pos x="477" y="45"/>
                  </a:cxn>
                  <a:cxn ang="0">
                    <a:pos x="440" y="37"/>
                  </a:cxn>
                  <a:cxn ang="0">
                    <a:pos x="353" y="47"/>
                  </a:cxn>
                  <a:cxn ang="0">
                    <a:pos x="392" y="102"/>
                  </a:cxn>
                  <a:cxn ang="0">
                    <a:pos x="354" y="118"/>
                  </a:cxn>
                  <a:cxn ang="0">
                    <a:pos x="392" y="38"/>
                  </a:cxn>
                  <a:cxn ang="0">
                    <a:pos x="212" y="47"/>
                  </a:cxn>
                  <a:cxn ang="0">
                    <a:pos x="267" y="117"/>
                  </a:cxn>
                  <a:cxn ang="0">
                    <a:pos x="309" y="60"/>
                  </a:cxn>
                  <a:cxn ang="0">
                    <a:pos x="289" y="36"/>
                  </a:cxn>
                  <a:cxn ang="0">
                    <a:pos x="201" y="117"/>
                  </a:cxn>
                  <a:cxn ang="0">
                    <a:pos x="169" y="76"/>
                  </a:cxn>
                  <a:cxn ang="0">
                    <a:pos x="143" y="71"/>
                  </a:cxn>
                  <a:cxn ang="0">
                    <a:pos x="173" y="42"/>
                  </a:cxn>
                  <a:cxn ang="0">
                    <a:pos x="89" y="0"/>
                  </a:cxn>
                  <a:cxn ang="0">
                    <a:pos x="70" y="117"/>
                  </a:cxn>
                </a:cxnLst>
                <a:rect l="0" t="0" r="r" b="b"/>
                <a:pathLst>
                  <a:path w="1737" h="148">
                    <a:moveTo>
                      <a:pt x="1670" y="117"/>
                    </a:moveTo>
                    <a:cubicBezTo>
                      <a:pt x="1680" y="117"/>
                      <a:pt x="1680" y="117"/>
                      <a:pt x="1680" y="117"/>
                    </a:cubicBezTo>
                    <a:cubicBezTo>
                      <a:pt x="1680" y="47"/>
                      <a:pt x="1680" y="47"/>
                      <a:pt x="1680" y="47"/>
                    </a:cubicBezTo>
                    <a:cubicBezTo>
                      <a:pt x="1683" y="46"/>
                      <a:pt x="1686" y="45"/>
                      <a:pt x="1690" y="44"/>
                    </a:cubicBezTo>
                    <a:cubicBezTo>
                      <a:pt x="1694" y="43"/>
                      <a:pt x="1698" y="43"/>
                      <a:pt x="1703" y="43"/>
                    </a:cubicBezTo>
                    <a:cubicBezTo>
                      <a:pt x="1712" y="43"/>
                      <a:pt x="1718" y="45"/>
                      <a:pt x="1721" y="51"/>
                    </a:cubicBezTo>
                    <a:cubicBezTo>
                      <a:pt x="1725" y="56"/>
                      <a:pt x="1726" y="64"/>
                      <a:pt x="1726" y="75"/>
                    </a:cubicBezTo>
                    <a:cubicBezTo>
                      <a:pt x="1726" y="117"/>
                      <a:pt x="1726" y="117"/>
                      <a:pt x="1726" y="117"/>
                    </a:cubicBezTo>
                    <a:cubicBezTo>
                      <a:pt x="1737" y="117"/>
                      <a:pt x="1737" y="117"/>
                      <a:pt x="1737" y="117"/>
                    </a:cubicBezTo>
                    <a:cubicBezTo>
                      <a:pt x="1737" y="75"/>
                      <a:pt x="1737" y="75"/>
                      <a:pt x="1737" y="75"/>
                    </a:cubicBezTo>
                    <a:cubicBezTo>
                      <a:pt x="1737" y="69"/>
                      <a:pt x="1737" y="63"/>
                      <a:pt x="1736" y="58"/>
                    </a:cubicBezTo>
                    <a:cubicBezTo>
                      <a:pt x="1734" y="53"/>
                      <a:pt x="1732" y="49"/>
                      <a:pt x="1730" y="45"/>
                    </a:cubicBezTo>
                    <a:cubicBezTo>
                      <a:pt x="1727" y="42"/>
                      <a:pt x="1723" y="40"/>
                      <a:pt x="1719" y="38"/>
                    </a:cubicBezTo>
                    <a:cubicBezTo>
                      <a:pt x="1715" y="37"/>
                      <a:pt x="1709" y="36"/>
                      <a:pt x="1703" y="36"/>
                    </a:cubicBezTo>
                    <a:cubicBezTo>
                      <a:pt x="1697" y="36"/>
                      <a:pt x="1692" y="36"/>
                      <a:pt x="1686" y="37"/>
                    </a:cubicBezTo>
                    <a:cubicBezTo>
                      <a:pt x="1681" y="39"/>
                      <a:pt x="1676" y="40"/>
                      <a:pt x="1670" y="43"/>
                    </a:cubicBezTo>
                    <a:lnTo>
                      <a:pt x="1670" y="117"/>
                    </a:lnTo>
                    <a:close/>
                    <a:moveTo>
                      <a:pt x="1637" y="117"/>
                    </a:moveTo>
                    <a:cubicBezTo>
                      <a:pt x="1648" y="117"/>
                      <a:pt x="1648" y="117"/>
                      <a:pt x="1648" y="117"/>
                    </a:cubicBezTo>
                    <a:cubicBezTo>
                      <a:pt x="1648" y="37"/>
                      <a:pt x="1648" y="37"/>
                      <a:pt x="1648" y="37"/>
                    </a:cubicBezTo>
                    <a:cubicBezTo>
                      <a:pt x="1637" y="37"/>
                      <a:pt x="1637" y="37"/>
                      <a:pt x="1637" y="37"/>
                    </a:cubicBezTo>
                    <a:lnTo>
                      <a:pt x="1637" y="117"/>
                    </a:lnTo>
                    <a:close/>
                    <a:moveTo>
                      <a:pt x="1637" y="17"/>
                    </a:moveTo>
                    <a:cubicBezTo>
                      <a:pt x="1648" y="17"/>
                      <a:pt x="1648" y="17"/>
                      <a:pt x="1648" y="17"/>
                    </a:cubicBezTo>
                    <a:cubicBezTo>
                      <a:pt x="1648" y="6"/>
                      <a:pt x="1648" y="6"/>
                      <a:pt x="1648" y="6"/>
                    </a:cubicBezTo>
                    <a:cubicBezTo>
                      <a:pt x="1637" y="6"/>
                      <a:pt x="1637" y="6"/>
                      <a:pt x="1637" y="6"/>
                    </a:cubicBezTo>
                    <a:lnTo>
                      <a:pt x="1637" y="17"/>
                    </a:lnTo>
                    <a:close/>
                    <a:moveTo>
                      <a:pt x="1568" y="109"/>
                    </a:moveTo>
                    <a:cubicBezTo>
                      <a:pt x="1565" y="108"/>
                      <a:pt x="1562" y="106"/>
                      <a:pt x="1560" y="103"/>
                    </a:cubicBezTo>
                    <a:cubicBezTo>
                      <a:pt x="1558" y="100"/>
                      <a:pt x="1557" y="97"/>
                      <a:pt x="1556" y="92"/>
                    </a:cubicBezTo>
                    <a:cubicBezTo>
                      <a:pt x="1556" y="88"/>
                      <a:pt x="1556" y="82"/>
                      <a:pt x="1556" y="76"/>
                    </a:cubicBezTo>
                    <a:cubicBezTo>
                      <a:pt x="1556" y="69"/>
                      <a:pt x="1556" y="64"/>
                      <a:pt x="1557" y="60"/>
                    </a:cubicBezTo>
                    <a:cubicBezTo>
                      <a:pt x="1558" y="56"/>
                      <a:pt x="1559" y="52"/>
                      <a:pt x="1561" y="50"/>
                    </a:cubicBezTo>
                    <a:cubicBezTo>
                      <a:pt x="1563" y="47"/>
                      <a:pt x="1566" y="46"/>
                      <a:pt x="1569" y="45"/>
                    </a:cubicBezTo>
                    <a:cubicBezTo>
                      <a:pt x="1572" y="44"/>
                      <a:pt x="1576" y="43"/>
                      <a:pt x="1581" y="43"/>
                    </a:cubicBezTo>
                    <a:cubicBezTo>
                      <a:pt x="1585" y="43"/>
                      <a:pt x="1588" y="44"/>
                      <a:pt x="1592" y="45"/>
                    </a:cubicBezTo>
                    <a:cubicBezTo>
                      <a:pt x="1595" y="46"/>
                      <a:pt x="1597" y="48"/>
                      <a:pt x="1599" y="50"/>
                    </a:cubicBezTo>
                    <a:cubicBezTo>
                      <a:pt x="1602" y="53"/>
                      <a:pt x="1603" y="56"/>
                      <a:pt x="1604" y="61"/>
                    </a:cubicBezTo>
                    <a:cubicBezTo>
                      <a:pt x="1605" y="65"/>
                      <a:pt x="1606" y="70"/>
                      <a:pt x="1606" y="76"/>
                    </a:cubicBezTo>
                    <a:cubicBezTo>
                      <a:pt x="1606" y="82"/>
                      <a:pt x="1606" y="87"/>
                      <a:pt x="1605" y="92"/>
                    </a:cubicBezTo>
                    <a:cubicBezTo>
                      <a:pt x="1605" y="96"/>
                      <a:pt x="1603" y="100"/>
                      <a:pt x="1602" y="103"/>
                    </a:cubicBezTo>
                    <a:cubicBezTo>
                      <a:pt x="1600" y="106"/>
                      <a:pt x="1597" y="108"/>
                      <a:pt x="1594" y="109"/>
                    </a:cubicBezTo>
                    <a:cubicBezTo>
                      <a:pt x="1591" y="110"/>
                      <a:pt x="1587" y="111"/>
                      <a:pt x="1581" y="111"/>
                    </a:cubicBezTo>
                    <a:cubicBezTo>
                      <a:pt x="1576" y="111"/>
                      <a:pt x="1571" y="111"/>
                      <a:pt x="1568" y="109"/>
                    </a:cubicBezTo>
                    <a:moveTo>
                      <a:pt x="1581" y="36"/>
                    </a:moveTo>
                    <a:cubicBezTo>
                      <a:pt x="1575" y="36"/>
                      <a:pt x="1569" y="36"/>
                      <a:pt x="1565" y="38"/>
                    </a:cubicBezTo>
                    <a:cubicBezTo>
                      <a:pt x="1560" y="39"/>
                      <a:pt x="1557" y="41"/>
                      <a:pt x="1554" y="45"/>
                    </a:cubicBezTo>
                    <a:cubicBezTo>
                      <a:pt x="1551" y="48"/>
                      <a:pt x="1548" y="52"/>
                      <a:pt x="1547" y="57"/>
                    </a:cubicBezTo>
                    <a:cubicBezTo>
                      <a:pt x="1546" y="62"/>
                      <a:pt x="1545" y="68"/>
                      <a:pt x="1545" y="75"/>
                    </a:cubicBezTo>
                    <a:cubicBezTo>
                      <a:pt x="1545" y="83"/>
                      <a:pt x="1545" y="90"/>
                      <a:pt x="1547" y="95"/>
                    </a:cubicBezTo>
                    <a:cubicBezTo>
                      <a:pt x="1548" y="101"/>
                      <a:pt x="1550" y="105"/>
                      <a:pt x="1552" y="109"/>
                    </a:cubicBezTo>
                    <a:cubicBezTo>
                      <a:pt x="1555" y="112"/>
                      <a:pt x="1559" y="114"/>
                      <a:pt x="1563" y="116"/>
                    </a:cubicBezTo>
                    <a:cubicBezTo>
                      <a:pt x="1568" y="118"/>
                      <a:pt x="1574" y="118"/>
                      <a:pt x="1581" y="118"/>
                    </a:cubicBezTo>
                    <a:cubicBezTo>
                      <a:pt x="1588" y="118"/>
                      <a:pt x="1594" y="117"/>
                      <a:pt x="1599" y="116"/>
                    </a:cubicBezTo>
                    <a:cubicBezTo>
                      <a:pt x="1603" y="114"/>
                      <a:pt x="1607" y="111"/>
                      <a:pt x="1610" y="108"/>
                    </a:cubicBezTo>
                    <a:cubicBezTo>
                      <a:pt x="1612" y="104"/>
                      <a:pt x="1614" y="100"/>
                      <a:pt x="1615" y="95"/>
                    </a:cubicBezTo>
                    <a:cubicBezTo>
                      <a:pt x="1616" y="89"/>
                      <a:pt x="1617" y="83"/>
                      <a:pt x="1617" y="76"/>
                    </a:cubicBezTo>
                    <a:cubicBezTo>
                      <a:pt x="1617" y="69"/>
                      <a:pt x="1616" y="63"/>
                      <a:pt x="1614" y="57"/>
                    </a:cubicBezTo>
                    <a:cubicBezTo>
                      <a:pt x="1613" y="52"/>
                      <a:pt x="1610" y="48"/>
                      <a:pt x="1607" y="45"/>
                    </a:cubicBezTo>
                    <a:cubicBezTo>
                      <a:pt x="1604" y="42"/>
                      <a:pt x="1601" y="40"/>
                      <a:pt x="1596" y="38"/>
                    </a:cubicBezTo>
                    <a:cubicBezTo>
                      <a:pt x="1592" y="37"/>
                      <a:pt x="1587" y="36"/>
                      <a:pt x="1581" y="36"/>
                    </a:cubicBezTo>
                    <a:close/>
                    <a:moveTo>
                      <a:pt x="1516" y="117"/>
                    </a:moveTo>
                    <a:cubicBezTo>
                      <a:pt x="1526" y="117"/>
                      <a:pt x="1526" y="117"/>
                      <a:pt x="1526" y="117"/>
                    </a:cubicBezTo>
                    <a:cubicBezTo>
                      <a:pt x="1526" y="5"/>
                      <a:pt x="1526" y="5"/>
                      <a:pt x="1526" y="5"/>
                    </a:cubicBezTo>
                    <a:cubicBezTo>
                      <a:pt x="1516" y="5"/>
                      <a:pt x="1516" y="5"/>
                      <a:pt x="1516" y="5"/>
                    </a:cubicBezTo>
                    <a:lnTo>
                      <a:pt x="1516" y="117"/>
                    </a:lnTo>
                    <a:close/>
                    <a:moveTo>
                      <a:pt x="1408" y="115"/>
                    </a:moveTo>
                    <a:cubicBezTo>
                      <a:pt x="1412" y="116"/>
                      <a:pt x="1415" y="116"/>
                      <a:pt x="1419" y="117"/>
                    </a:cubicBezTo>
                    <a:cubicBezTo>
                      <a:pt x="1422" y="117"/>
                      <a:pt x="1426" y="117"/>
                      <a:pt x="1429" y="117"/>
                    </a:cubicBezTo>
                    <a:cubicBezTo>
                      <a:pt x="1432" y="117"/>
                      <a:pt x="1432" y="117"/>
                      <a:pt x="1432" y="117"/>
                    </a:cubicBezTo>
                    <a:cubicBezTo>
                      <a:pt x="1434" y="117"/>
                      <a:pt x="1437" y="117"/>
                      <a:pt x="1440" y="117"/>
                    </a:cubicBezTo>
                    <a:cubicBezTo>
                      <a:pt x="1443" y="116"/>
                      <a:pt x="1446" y="115"/>
                      <a:pt x="1448" y="114"/>
                    </a:cubicBezTo>
                    <a:cubicBezTo>
                      <a:pt x="1451" y="113"/>
                      <a:pt x="1453" y="111"/>
                      <a:pt x="1455" y="108"/>
                    </a:cubicBezTo>
                    <a:cubicBezTo>
                      <a:pt x="1457" y="106"/>
                      <a:pt x="1457" y="102"/>
                      <a:pt x="1457" y="98"/>
                    </a:cubicBezTo>
                    <a:cubicBezTo>
                      <a:pt x="1457" y="96"/>
                      <a:pt x="1457" y="94"/>
                      <a:pt x="1456" y="91"/>
                    </a:cubicBezTo>
                    <a:cubicBezTo>
                      <a:pt x="1455" y="88"/>
                      <a:pt x="1453" y="85"/>
                      <a:pt x="1450" y="83"/>
                    </a:cubicBezTo>
                    <a:cubicBezTo>
                      <a:pt x="1449" y="82"/>
                      <a:pt x="1448" y="81"/>
                      <a:pt x="1447" y="80"/>
                    </a:cubicBezTo>
                    <a:cubicBezTo>
                      <a:pt x="1445" y="79"/>
                      <a:pt x="1444" y="78"/>
                      <a:pt x="1442" y="77"/>
                    </a:cubicBezTo>
                    <a:cubicBezTo>
                      <a:pt x="1440" y="76"/>
                      <a:pt x="1438" y="74"/>
                      <a:pt x="1436" y="73"/>
                    </a:cubicBezTo>
                    <a:cubicBezTo>
                      <a:pt x="1434" y="72"/>
                      <a:pt x="1432" y="70"/>
                      <a:pt x="1430" y="69"/>
                    </a:cubicBezTo>
                    <a:cubicBezTo>
                      <a:pt x="1426" y="67"/>
                      <a:pt x="1424" y="64"/>
                      <a:pt x="1422" y="62"/>
                    </a:cubicBezTo>
                    <a:cubicBezTo>
                      <a:pt x="1421" y="61"/>
                      <a:pt x="1420" y="58"/>
                      <a:pt x="1420" y="55"/>
                    </a:cubicBezTo>
                    <a:cubicBezTo>
                      <a:pt x="1420" y="53"/>
                      <a:pt x="1420" y="53"/>
                      <a:pt x="1420" y="53"/>
                    </a:cubicBezTo>
                    <a:cubicBezTo>
                      <a:pt x="1420" y="50"/>
                      <a:pt x="1422" y="48"/>
                      <a:pt x="1424" y="46"/>
                    </a:cubicBezTo>
                    <a:cubicBezTo>
                      <a:pt x="1426" y="44"/>
                      <a:pt x="1430" y="43"/>
                      <a:pt x="1435" y="43"/>
                    </a:cubicBezTo>
                    <a:cubicBezTo>
                      <a:pt x="1438" y="43"/>
                      <a:pt x="1438" y="43"/>
                      <a:pt x="1438" y="43"/>
                    </a:cubicBezTo>
                    <a:cubicBezTo>
                      <a:pt x="1441" y="43"/>
                      <a:pt x="1444" y="43"/>
                      <a:pt x="1446" y="43"/>
                    </a:cubicBezTo>
                    <a:cubicBezTo>
                      <a:pt x="1449" y="43"/>
                      <a:pt x="1452" y="44"/>
                      <a:pt x="1456" y="44"/>
                    </a:cubicBezTo>
                    <a:cubicBezTo>
                      <a:pt x="1457" y="37"/>
                      <a:pt x="1457" y="37"/>
                      <a:pt x="1457" y="37"/>
                    </a:cubicBezTo>
                    <a:cubicBezTo>
                      <a:pt x="1455" y="37"/>
                      <a:pt x="1453" y="37"/>
                      <a:pt x="1451" y="37"/>
                    </a:cubicBezTo>
                    <a:cubicBezTo>
                      <a:pt x="1449" y="36"/>
                      <a:pt x="1448" y="36"/>
                      <a:pt x="1446" y="36"/>
                    </a:cubicBezTo>
                    <a:cubicBezTo>
                      <a:pt x="1444" y="36"/>
                      <a:pt x="1443" y="36"/>
                      <a:pt x="1441" y="36"/>
                    </a:cubicBezTo>
                    <a:cubicBezTo>
                      <a:pt x="1439" y="36"/>
                      <a:pt x="1437" y="36"/>
                      <a:pt x="1435" y="36"/>
                    </a:cubicBezTo>
                    <a:cubicBezTo>
                      <a:pt x="1431" y="36"/>
                      <a:pt x="1427" y="36"/>
                      <a:pt x="1424" y="37"/>
                    </a:cubicBezTo>
                    <a:cubicBezTo>
                      <a:pt x="1421" y="38"/>
                      <a:pt x="1418" y="39"/>
                      <a:pt x="1416" y="41"/>
                    </a:cubicBezTo>
                    <a:cubicBezTo>
                      <a:pt x="1414" y="42"/>
                      <a:pt x="1412" y="44"/>
                      <a:pt x="1411" y="46"/>
                    </a:cubicBezTo>
                    <a:cubicBezTo>
                      <a:pt x="1410" y="48"/>
                      <a:pt x="1410" y="50"/>
                      <a:pt x="1410" y="52"/>
                    </a:cubicBezTo>
                    <a:cubicBezTo>
                      <a:pt x="1410" y="55"/>
                      <a:pt x="1410" y="55"/>
                      <a:pt x="1410" y="55"/>
                    </a:cubicBezTo>
                    <a:cubicBezTo>
                      <a:pt x="1410" y="57"/>
                      <a:pt x="1410" y="59"/>
                      <a:pt x="1410" y="61"/>
                    </a:cubicBezTo>
                    <a:cubicBezTo>
                      <a:pt x="1411" y="63"/>
                      <a:pt x="1412" y="65"/>
                      <a:pt x="1413" y="66"/>
                    </a:cubicBezTo>
                    <a:cubicBezTo>
                      <a:pt x="1414" y="68"/>
                      <a:pt x="1416" y="70"/>
                      <a:pt x="1417" y="71"/>
                    </a:cubicBezTo>
                    <a:cubicBezTo>
                      <a:pt x="1419" y="72"/>
                      <a:pt x="1421" y="74"/>
                      <a:pt x="1424" y="75"/>
                    </a:cubicBezTo>
                    <a:cubicBezTo>
                      <a:pt x="1425" y="77"/>
                      <a:pt x="1427" y="78"/>
                      <a:pt x="1429" y="79"/>
                    </a:cubicBezTo>
                    <a:cubicBezTo>
                      <a:pt x="1431" y="80"/>
                      <a:pt x="1433" y="82"/>
                      <a:pt x="1435" y="83"/>
                    </a:cubicBezTo>
                    <a:cubicBezTo>
                      <a:pt x="1436" y="84"/>
                      <a:pt x="1438" y="85"/>
                      <a:pt x="1439" y="86"/>
                    </a:cubicBezTo>
                    <a:cubicBezTo>
                      <a:pt x="1440" y="87"/>
                      <a:pt x="1441" y="88"/>
                      <a:pt x="1442" y="89"/>
                    </a:cubicBezTo>
                    <a:cubicBezTo>
                      <a:pt x="1444" y="90"/>
                      <a:pt x="1445" y="92"/>
                      <a:pt x="1446" y="94"/>
                    </a:cubicBezTo>
                    <a:cubicBezTo>
                      <a:pt x="1446" y="95"/>
                      <a:pt x="1447" y="97"/>
                      <a:pt x="1447" y="99"/>
                    </a:cubicBezTo>
                    <a:cubicBezTo>
                      <a:pt x="1447" y="101"/>
                      <a:pt x="1446" y="103"/>
                      <a:pt x="1446" y="105"/>
                    </a:cubicBezTo>
                    <a:cubicBezTo>
                      <a:pt x="1445" y="107"/>
                      <a:pt x="1444" y="108"/>
                      <a:pt x="1442" y="109"/>
                    </a:cubicBezTo>
                    <a:cubicBezTo>
                      <a:pt x="1441" y="109"/>
                      <a:pt x="1439" y="110"/>
                      <a:pt x="1437" y="110"/>
                    </a:cubicBezTo>
                    <a:cubicBezTo>
                      <a:pt x="1435" y="111"/>
                      <a:pt x="1433" y="111"/>
                      <a:pt x="1431" y="111"/>
                    </a:cubicBezTo>
                    <a:cubicBezTo>
                      <a:pt x="1428" y="111"/>
                      <a:pt x="1428" y="111"/>
                      <a:pt x="1428" y="111"/>
                    </a:cubicBezTo>
                    <a:cubicBezTo>
                      <a:pt x="1426" y="111"/>
                      <a:pt x="1423" y="111"/>
                      <a:pt x="1420" y="110"/>
                    </a:cubicBezTo>
                    <a:cubicBezTo>
                      <a:pt x="1417" y="110"/>
                      <a:pt x="1413" y="109"/>
                      <a:pt x="1409" y="109"/>
                    </a:cubicBezTo>
                    <a:lnTo>
                      <a:pt x="1408" y="115"/>
                    </a:lnTo>
                    <a:close/>
                    <a:moveTo>
                      <a:pt x="1390" y="37"/>
                    </a:moveTo>
                    <a:cubicBezTo>
                      <a:pt x="1379" y="37"/>
                      <a:pt x="1379" y="37"/>
                      <a:pt x="1379" y="37"/>
                    </a:cubicBezTo>
                    <a:cubicBezTo>
                      <a:pt x="1379" y="107"/>
                      <a:pt x="1379" y="107"/>
                      <a:pt x="1379" y="107"/>
                    </a:cubicBezTo>
                    <a:cubicBezTo>
                      <a:pt x="1376" y="108"/>
                      <a:pt x="1373" y="109"/>
                      <a:pt x="1369" y="110"/>
                    </a:cubicBezTo>
                    <a:cubicBezTo>
                      <a:pt x="1366" y="111"/>
                      <a:pt x="1362" y="111"/>
                      <a:pt x="1359" y="111"/>
                    </a:cubicBezTo>
                    <a:cubicBezTo>
                      <a:pt x="1350" y="111"/>
                      <a:pt x="1344" y="109"/>
                      <a:pt x="1340" y="104"/>
                    </a:cubicBezTo>
                    <a:cubicBezTo>
                      <a:pt x="1337" y="99"/>
                      <a:pt x="1335" y="90"/>
                      <a:pt x="1335" y="79"/>
                    </a:cubicBezTo>
                    <a:cubicBezTo>
                      <a:pt x="1335" y="38"/>
                      <a:pt x="1335" y="38"/>
                      <a:pt x="1335" y="38"/>
                    </a:cubicBezTo>
                    <a:cubicBezTo>
                      <a:pt x="1324" y="38"/>
                      <a:pt x="1324" y="38"/>
                      <a:pt x="1324" y="38"/>
                    </a:cubicBezTo>
                    <a:cubicBezTo>
                      <a:pt x="1324" y="79"/>
                      <a:pt x="1324" y="79"/>
                      <a:pt x="1324" y="79"/>
                    </a:cubicBezTo>
                    <a:cubicBezTo>
                      <a:pt x="1324" y="86"/>
                      <a:pt x="1325" y="92"/>
                      <a:pt x="1326" y="97"/>
                    </a:cubicBezTo>
                    <a:cubicBezTo>
                      <a:pt x="1327" y="102"/>
                      <a:pt x="1329" y="106"/>
                      <a:pt x="1332" y="109"/>
                    </a:cubicBezTo>
                    <a:cubicBezTo>
                      <a:pt x="1335" y="112"/>
                      <a:pt x="1338" y="114"/>
                      <a:pt x="1343" y="116"/>
                    </a:cubicBezTo>
                    <a:cubicBezTo>
                      <a:pt x="1347" y="118"/>
                      <a:pt x="1352" y="118"/>
                      <a:pt x="1359" y="118"/>
                    </a:cubicBezTo>
                    <a:cubicBezTo>
                      <a:pt x="1363" y="118"/>
                      <a:pt x="1368" y="118"/>
                      <a:pt x="1373" y="117"/>
                    </a:cubicBezTo>
                    <a:cubicBezTo>
                      <a:pt x="1378" y="116"/>
                      <a:pt x="1384" y="114"/>
                      <a:pt x="1390" y="112"/>
                    </a:cubicBezTo>
                    <a:lnTo>
                      <a:pt x="1390" y="37"/>
                    </a:lnTo>
                    <a:close/>
                    <a:moveTo>
                      <a:pt x="1293" y="117"/>
                    </a:moveTo>
                    <a:cubicBezTo>
                      <a:pt x="1304" y="117"/>
                      <a:pt x="1304" y="117"/>
                      <a:pt x="1304" y="117"/>
                    </a:cubicBezTo>
                    <a:cubicBezTo>
                      <a:pt x="1304" y="5"/>
                      <a:pt x="1304" y="5"/>
                      <a:pt x="1304" y="5"/>
                    </a:cubicBezTo>
                    <a:cubicBezTo>
                      <a:pt x="1293" y="5"/>
                      <a:pt x="1293" y="5"/>
                      <a:pt x="1293" y="5"/>
                    </a:cubicBezTo>
                    <a:lnTo>
                      <a:pt x="1293" y="117"/>
                    </a:lnTo>
                    <a:close/>
                    <a:moveTo>
                      <a:pt x="1218" y="44"/>
                    </a:moveTo>
                    <a:cubicBezTo>
                      <a:pt x="1220" y="43"/>
                      <a:pt x="1222" y="43"/>
                      <a:pt x="1225" y="43"/>
                    </a:cubicBezTo>
                    <a:cubicBezTo>
                      <a:pt x="1228" y="43"/>
                      <a:pt x="1230" y="43"/>
                      <a:pt x="1232" y="43"/>
                    </a:cubicBezTo>
                    <a:cubicBezTo>
                      <a:pt x="1238" y="43"/>
                      <a:pt x="1243" y="44"/>
                      <a:pt x="1247" y="45"/>
                    </a:cubicBezTo>
                    <a:cubicBezTo>
                      <a:pt x="1251" y="47"/>
                      <a:pt x="1254" y="49"/>
                      <a:pt x="1257" y="52"/>
                    </a:cubicBezTo>
                    <a:cubicBezTo>
                      <a:pt x="1259" y="55"/>
                      <a:pt x="1260" y="58"/>
                      <a:pt x="1261" y="63"/>
                    </a:cubicBezTo>
                    <a:cubicBezTo>
                      <a:pt x="1262" y="67"/>
                      <a:pt x="1262" y="72"/>
                      <a:pt x="1262" y="78"/>
                    </a:cubicBezTo>
                    <a:cubicBezTo>
                      <a:pt x="1262" y="84"/>
                      <a:pt x="1262" y="89"/>
                      <a:pt x="1261" y="93"/>
                    </a:cubicBezTo>
                    <a:cubicBezTo>
                      <a:pt x="1260" y="97"/>
                      <a:pt x="1259" y="101"/>
                      <a:pt x="1258" y="103"/>
                    </a:cubicBezTo>
                    <a:cubicBezTo>
                      <a:pt x="1256" y="106"/>
                      <a:pt x="1254" y="108"/>
                      <a:pt x="1251" y="109"/>
                    </a:cubicBezTo>
                    <a:cubicBezTo>
                      <a:pt x="1249" y="110"/>
                      <a:pt x="1245" y="111"/>
                      <a:pt x="1241" y="111"/>
                    </a:cubicBezTo>
                    <a:cubicBezTo>
                      <a:pt x="1236" y="111"/>
                      <a:pt x="1232" y="111"/>
                      <a:pt x="1228" y="110"/>
                    </a:cubicBezTo>
                    <a:cubicBezTo>
                      <a:pt x="1224" y="109"/>
                      <a:pt x="1220" y="108"/>
                      <a:pt x="1218" y="107"/>
                    </a:cubicBezTo>
                    <a:lnTo>
                      <a:pt x="1218" y="44"/>
                    </a:lnTo>
                    <a:close/>
                    <a:moveTo>
                      <a:pt x="1218" y="114"/>
                    </a:moveTo>
                    <a:cubicBezTo>
                      <a:pt x="1220" y="115"/>
                      <a:pt x="1224" y="116"/>
                      <a:pt x="1228" y="117"/>
                    </a:cubicBezTo>
                    <a:cubicBezTo>
                      <a:pt x="1232" y="118"/>
                      <a:pt x="1236" y="118"/>
                      <a:pt x="1241" y="118"/>
                    </a:cubicBezTo>
                    <a:cubicBezTo>
                      <a:pt x="1247" y="118"/>
                      <a:pt x="1252" y="117"/>
                      <a:pt x="1256" y="116"/>
                    </a:cubicBezTo>
                    <a:cubicBezTo>
                      <a:pt x="1260" y="114"/>
                      <a:pt x="1264" y="112"/>
                      <a:pt x="1266" y="108"/>
                    </a:cubicBezTo>
                    <a:cubicBezTo>
                      <a:pt x="1268" y="105"/>
                      <a:pt x="1270" y="101"/>
                      <a:pt x="1271" y="96"/>
                    </a:cubicBezTo>
                    <a:cubicBezTo>
                      <a:pt x="1272" y="91"/>
                      <a:pt x="1273" y="85"/>
                      <a:pt x="1273" y="79"/>
                    </a:cubicBezTo>
                    <a:cubicBezTo>
                      <a:pt x="1273" y="71"/>
                      <a:pt x="1272" y="65"/>
                      <a:pt x="1271" y="60"/>
                    </a:cubicBezTo>
                    <a:cubicBezTo>
                      <a:pt x="1270" y="54"/>
                      <a:pt x="1267" y="50"/>
                      <a:pt x="1264" y="46"/>
                    </a:cubicBezTo>
                    <a:cubicBezTo>
                      <a:pt x="1261" y="43"/>
                      <a:pt x="1257" y="40"/>
                      <a:pt x="1251" y="38"/>
                    </a:cubicBezTo>
                    <a:cubicBezTo>
                      <a:pt x="1246" y="37"/>
                      <a:pt x="1239" y="36"/>
                      <a:pt x="1230" y="36"/>
                    </a:cubicBezTo>
                    <a:cubicBezTo>
                      <a:pt x="1226" y="36"/>
                      <a:pt x="1222" y="36"/>
                      <a:pt x="1219" y="36"/>
                    </a:cubicBezTo>
                    <a:cubicBezTo>
                      <a:pt x="1215" y="36"/>
                      <a:pt x="1211" y="37"/>
                      <a:pt x="1207" y="37"/>
                    </a:cubicBezTo>
                    <a:cubicBezTo>
                      <a:pt x="1207" y="148"/>
                      <a:pt x="1207" y="148"/>
                      <a:pt x="1207" y="148"/>
                    </a:cubicBezTo>
                    <a:cubicBezTo>
                      <a:pt x="1218" y="148"/>
                      <a:pt x="1218" y="148"/>
                      <a:pt x="1218" y="148"/>
                    </a:cubicBezTo>
                    <a:lnTo>
                      <a:pt x="1218" y="114"/>
                    </a:lnTo>
                    <a:close/>
                    <a:moveTo>
                      <a:pt x="1113" y="117"/>
                    </a:moveTo>
                    <a:cubicBezTo>
                      <a:pt x="1124" y="117"/>
                      <a:pt x="1124" y="117"/>
                      <a:pt x="1124" y="117"/>
                    </a:cubicBezTo>
                    <a:cubicBezTo>
                      <a:pt x="1124" y="47"/>
                      <a:pt x="1124" y="47"/>
                      <a:pt x="1124" y="47"/>
                    </a:cubicBezTo>
                    <a:cubicBezTo>
                      <a:pt x="1126" y="46"/>
                      <a:pt x="1130" y="45"/>
                      <a:pt x="1134" y="44"/>
                    </a:cubicBezTo>
                    <a:cubicBezTo>
                      <a:pt x="1138" y="43"/>
                      <a:pt x="1142" y="43"/>
                      <a:pt x="1146" y="43"/>
                    </a:cubicBezTo>
                    <a:cubicBezTo>
                      <a:pt x="1147" y="43"/>
                      <a:pt x="1149" y="43"/>
                      <a:pt x="1150" y="43"/>
                    </a:cubicBezTo>
                    <a:cubicBezTo>
                      <a:pt x="1151" y="43"/>
                      <a:pt x="1152" y="43"/>
                      <a:pt x="1154" y="44"/>
                    </a:cubicBezTo>
                    <a:cubicBezTo>
                      <a:pt x="1155" y="36"/>
                      <a:pt x="1155" y="36"/>
                      <a:pt x="1155" y="36"/>
                    </a:cubicBezTo>
                    <a:cubicBezTo>
                      <a:pt x="1153" y="36"/>
                      <a:pt x="1151" y="36"/>
                      <a:pt x="1150" y="36"/>
                    </a:cubicBezTo>
                    <a:cubicBezTo>
                      <a:pt x="1149" y="36"/>
                      <a:pt x="1148" y="36"/>
                      <a:pt x="1146" y="36"/>
                    </a:cubicBezTo>
                    <a:cubicBezTo>
                      <a:pt x="1141" y="36"/>
                      <a:pt x="1135" y="36"/>
                      <a:pt x="1130" y="38"/>
                    </a:cubicBezTo>
                    <a:cubicBezTo>
                      <a:pt x="1125" y="39"/>
                      <a:pt x="1119" y="40"/>
                      <a:pt x="1113" y="43"/>
                    </a:cubicBezTo>
                    <a:lnTo>
                      <a:pt x="1113" y="117"/>
                    </a:lnTo>
                    <a:close/>
                    <a:moveTo>
                      <a:pt x="1036" y="73"/>
                    </a:moveTo>
                    <a:cubicBezTo>
                      <a:pt x="1036" y="62"/>
                      <a:pt x="1038" y="54"/>
                      <a:pt x="1042" y="50"/>
                    </a:cubicBezTo>
                    <a:cubicBezTo>
                      <a:pt x="1046" y="45"/>
                      <a:pt x="1051" y="43"/>
                      <a:pt x="1059" y="43"/>
                    </a:cubicBezTo>
                    <a:cubicBezTo>
                      <a:pt x="1068" y="43"/>
                      <a:pt x="1074" y="45"/>
                      <a:pt x="1077" y="50"/>
                    </a:cubicBezTo>
                    <a:cubicBezTo>
                      <a:pt x="1081" y="54"/>
                      <a:pt x="1083" y="62"/>
                      <a:pt x="1083" y="73"/>
                    </a:cubicBezTo>
                    <a:lnTo>
                      <a:pt x="1036" y="73"/>
                    </a:lnTo>
                    <a:close/>
                    <a:moveTo>
                      <a:pt x="1090" y="107"/>
                    </a:moveTo>
                    <a:cubicBezTo>
                      <a:pt x="1088" y="107"/>
                      <a:pt x="1086" y="107"/>
                      <a:pt x="1084" y="108"/>
                    </a:cubicBezTo>
                    <a:cubicBezTo>
                      <a:pt x="1081" y="108"/>
                      <a:pt x="1079" y="109"/>
                      <a:pt x="1076" y="109"/>
                    </a:cubicBezTo>
                    <a:cubicBezTo>
                      <a:pt x="1073" y="110"/>
                      <a:pt x="1071" y="110"/>
                      <a:pt x="1068" y="111"/>
                    </a:cubicBezTo>
                    <a:cubicBezTo>
                      <a:pt x="1065" y="111"/>
                      <a:pt x="1063" y="111"/>
                      <a:pt x="1060" y="111"/>
                    </a:cubicBezTo>
                    <a:cubicBezTo>
                      <a:pt x="1056" y="111"/>
                      <a:pt x="1052" y="110"/>
                      <a:pt x="1049" y="109"/>
                    </a:cubicBezTo>
                    <a:cubicBezTo>
                      <a:pt x="1046" y="108"/>
                      <a:pt x="1043" y="106"/>
                      <a:pt x="1041" y="103"/>
                    </a:cubicBezTo>
                    <a:cubicBezTo>
                      <a:pt x="1040" y="101"/>
                      <a:pt x="1038" y="97"/>
                      <a:pt x="1037" y="93"/>
                    </a:cubicBezTo>
                    <a:cubicBezTo>
                      <a:pt x="1037" y="90"/>
                      <a:pt x="1036" y="85"/>
                      <a:pt x="1036" y="80"/>
                    </a:cubicBezTo>
                    <a:cubicBezTo>
                      <a:pt x="1094" y="80"/>
                      <a:pt x="1094" y="80"/>
                      <a:pt x="1094" y="80"/>
                    </a:cubicBezTo>
                    <a:cubicBezTo>
                      <a:pt x="1094" y="74"/>
                      <a:pt x="1094" y="74"/>
                      <a:pt x="1094" y="74"/>
                    </a:cubicBezTo>
                    <a:cubicBezTo>
                      <a:pt x="1094" y="60"/>
                      <a:pt x="1091" y="51"/>
                      <a:pt x="1085" y="45"/>
                    </a:cubicBezTo>
                    <a:cubicBezTo>
                      <a:pt x="1079" y="39"/>
                      <a:pt x="1071" y="36"/>
                      <a:pt x="1059" y="36"/>
                    </a:cubicBezTo>
                    <a:cubicBezTo>
                      <a:pt x="1054" y="36"/>
                      <a:pt x="1049" y="36"/>
                      <a:pt x="1045" y="38"/>
                    </a:cubicBezTo>
                    <a:cubicBezTo>
                      <a:pt x="1041" y="39"/>
                      <a:pt x="1037" y="41"/>
                      <a:pt x="1034" y="45"/>
                    </a:cubicBezTo>
                    <a:cubicBezTo>
                      <a:pt x="1031" y="48"/>
                      <a:pt x="1029" y="52"/>
                      <a:pt x="1028" y="57"/>
                    </a:cubicBezTo>
                    <a:cubicBezTo>
                      <a:pt x="1026" y="63"/>
                      <a:pt x="1025" y="69"/>
                      <a:pt x="1025" y="77"/>
                    </a:cubicBezTo>
                    <a:cubicBezTo>
                      <a:pt x="1025" y="83"/>
                      <a:pt x="1026" y="89"/>
                      <a:pt x="1027" y="94"/>
                    </a:cubicBezTo>
                    <a:cubicBezTo>
                      <a:pt x="1028" y="99"/>
                      <a:pt x="1030" y="104"/>
                      <a:pt x="1032" y="107"/>
                    </a:cubicBezTo>
                    <a:cubicBezTo>
                      <a:pt x="1035" y="111"/>
                      <a:pt x="1039" y="113"/>
                      <a:pt x="1043" y="115"/>
                    </a:cubicBezTo>
                    <a:cubicBezTo>
                      <a:pt x="1048" y="117"/>
                      <a:pt x="1053" y="118"/>
                      <a:pt x="1060" y="118"/>
                    </a:cubicBezTo>
                    <a:cubicBezTo>
                      <a:pt x="1063" y="118"/>
                      <a:pt x="1066" y="118"/>
                      <a:pt x="1068" y="118"/>
                    </a:cubicBezTo>
                    <a:cubicBezTo>
                      <a:pt x="1071" y="117"/>
                      <a:pt x="1074" y="117"/>
                      <a:pt x="1077" y="116"/>
                    </a:cubicBezTo>
                    <a:cubicBezTo>
                      <a:pt x="1080" y="116"/>
                      <a:pt x="1082" y="116"/>
                      <a:pt x="1085" y="115"/>
                    </a:cubicBezTo>
                    <a:cubicBezTo>
                      <a:pt x="1087" y="115"/>
                      <a:pt x="1089" y="114"/>
                      <a:pt x="1091" y="114"/>
                    </a:cubicBezTo>
                    <a:lnTo>
                      <a:pt x="1090" y="107"/>
                    </a:lnTo>
                    <a:close/>
                    <a:moveTo>
                      <a:pt x="996" y="117"/>
                    </a:moveTo>
                    <a:cubicBezTo>
                      <a:pt x="1007" y="117"/>
                      <a:pt x="1007" y="117"/>
                      <a:pt x="1007" y="117"/>
                    </a:cubicBezTo>
                    <a:cubicBezTo>
                      <a:pt x="1007" y="5"/>
                      <a:pt x="1007" y="5"/>
                      <a:pt x="1007" y="5"/>
                    </a:cubicBezTo>
                    <a:cubicBezTo>
                      <a:pt x="996" y="5"/>
                      <a:pt x="996" y="5"/>
                      <a:pt x="996" y="5"/>
                    </a:cubicBezTo>
                    <a:lnTo>
                      <a:pt x="996" y="117"/>
                    </a:lnTo>
                    <a:close/>
                    <a:moveTo>
                      <a:pt x="963" y="117"/>
                    </a:moveTo>
                    <a:cubicBezTo>
                      <a:pt x="974" y="117"/>
                      <a:pt x="974" y="117"/>
                      <a:pt x="974" y="117"/>
                    </a:cubicBezTo>
                    <a:cubicBezTo>
                      <a:pt x="974" y="5"/>
                      <a:pt x="974" y="5"/>
                      <a:pt x="974" y="5"/>
                    </a:cubicBezTo>
                    <a:cubicBezTo>
                      <a:pt x="963" y="5"/>
                      <a:pt x="963" y="5"/>
                      <a:pt x="963" y="5"/>
                    </a:cubicBezTo>
                    <a:lnTo>
                      <a:pt x="963" y="117"/>
                    </a:lnTo>
                    <a:close/>
                    <a:moveTo>
                      <a:pt x="930" y="107"/>
                    </a:moveTo>
                    <a:cubicBezTo>
                      <a:pt x="927" y="108"/>
                      <a:pt x="923" y="108"/>
                      <a:pt x="918" y="109"/>
                    </a:cubicBezTo>
                    <a:cubicBezTo>
                      <a:pt x="913" y="110"/>
                      <a:pt x="908" y="111"/>
                      <a:pt x="903" y="111"/>
                    </a:cubicBezTo>
                    <a:cubicBezTo>
                      <a:pt x="899" y="111"/>
                      <a:pt x="895" y="109"/>
                      <a:pt x="893" y="106"/>
                    </a:cubicBezTo>
                    <a:cubicBezTo>
                      <a:pt x="890" y="103"/>
                      <a:pt x="889" y="99"/>
                      <a:pt x="889" y="94"/>
                    </a:cubicBezTo>
                    <a:cubicBezTo>
                      <a:pt x="889" y="90"/>
                      <a:pt x="890" y="86"/>
                      <a:pt x="893" y="83"/>
                    </a:cubicBezTo>
                    <a:cubicBezTo>
                      <a:pt x="895" y="80"/>
                      <a:pt x="899" y="78"/>
                      <a:pt x="906" y="78"/>
                    </a:cubicBezTo>
                    <a:cubicBezTo>
                      <a:pt x="930" y="76"/>
                      <a:pt x="930" y="76"/>
                      <a:pt x="930" y="76"/>
                    </a:cubicBezTo>
                    <a:lnTo>
                      <a:pt x="930" y="107"/>
                    </a:lnTo>
                    <a:close/>
                    <a:moveTo>
                      <a:pt x="886" y="45"/>
                    </a:moveTo>
                    <a:cubicBezTo>
                      <a:pt x="891" y="45"/>
                      <a:pt x="896" y="44"/>
                      <a:pt x="900" y="44"/>
                    </a:cubicBezTo>
                    <a:cubicBezTo>
                      <a:pt x="905" y="43"/>
                      <a:pt x="909" y="43"/>
                      <a:pt x="913" y="43"/>
                    </a:cubicBezTo>
                    <a:cubicBezTo>
                      <a:pt x="919" y="43"/>
                      <a:pt x="923" y="45"/>
                      <a:pt x="926" y="47"/>
                    </a:cubicBezTo>
                    <a:cubicBezTo>
                      <a:pt x="929" y="50"/>
                      <a:pt x="930" y="54"/>
                      <a:pt x="930" y="61"/>
                    </a:cubicBezTo>
                    <a:cubicBezTo>
                      <a:pt x="930" y="69"/>
                      <a:pt x="930" y="69"/>
                      <a:pt x="930" y="69"/>
                    </a:cubicBezTo>
                    <a:cubicBezTo>
                      <a:pt x="905" y="71"/>
                      <a:pt x="905" y="71"/>
                      <a:pt x="905" y="71"/>
                    </a:cubicBezTo>
                    <a:cubicBezTo>
                      <a:pt x="895" y="72"/>
                      <a:pt x="889" y="74"/>
                      <a:pt x="885" y="78"/>
                    </a:cubicBezTo>
                    <a:cubicBezTo>
                      <a:pt x="881" y="82"/>
                      <a:pt x="879" y="88"/>
                      <a:pt x="879" y="94"/>
                    </a:cubicBezTo>
                    <a:cubicBezTo>
                      <a:pt x="879" y="102"/>
                      <a:pt x="881" y="108"/>
                      <a:pt x="885" y="112"/>
                    </a:cubicBezTo>
                    <a:cubicBezTo>
                      <a:pt x="889" y="116"/>
                      <a:pt x="895" y="118"/>
                      <a:pt x="903" y="118"/>
                    </a:cubicBezTo>
                    <a:cubicBezTo>
                      <a:pt x="911" y="118"/>
                      <a:pt x="918" y="117"/>
                      <a:pt x="924" y="116"/>
                    </a:cubicBezTo>
                    <a:cubicBezTo>
                      <a:pt x="931" y="114"/>
                      <a:pt x="936" y="113"/>
                      <a:pt x="941" y="111"/>
                    </a:cubicBezTo>
                    <a:cubicBezTo>
                      <a:pt x="941" y="61"/>
                      <a:pt x="941" y="61"/>
                      <a:pt x="941" y="61"/>
                    </a:cubicBezTo>
                    <a:cubicBezTo>
                      <a:pt x="941" y="53"/>
                      <a:pt x="939" y="46"/>
                      <a:pt x="934" y="42"/>
                    </a:cubicBezTo>
                    <a:cubicBezTo>
                      <a:pt x="930" y="38"/>
                      <a:pt x="923" y="36"/>
                      <a:pt x="913" y="36"/>
                    </a:cubicBezTo>
                    <a:cubicBezTo>
                      <a:pt x="909" y="36"/>
                      <a:pt x="904" y="36"/>
                      <a:pt x="899" y="36"/>
                    </a:cubicBezTo>
                    <a:cubicBezTo>
                      <a:pt x="894" y="37"/>
                      <a:pt x="889" y="37"/>
                      <a:pt x="884" y="38"/>
                    </a:cubicBezTo>
                    <a:lnTo>
                      <a:pt x="886" y="45"/>
                    </a:lnTo>
                    <a:close/>
                    <a:moveTo>
                      <a:pt x="842" y="34"/>
                    </a:moveTo>
                    <a:cubicBezTo>
                      <a:pt x="852" y="34"/>
                      <a:pt x="852" y="34"/>
                      <a:pt x="852" y="34"/>
                    </a:cubicBezTo>
                    <a:cubicBezTo>
                      <a:pt x="861" y="0"/>
                      <a:pt x="861" y="0"/>
                      <a:pt x="861" y="0"/>
                    </a:cubicBezTo>
                    <a:cubicBezTo>
                      <a:pt x="850" y="0"/>
                      <a:pt x="850" y="0"/>
                      <a:pt x="850" y="0"/>
                    </a:cubicBezTo>
                    <a:lnTo>
                      <a:pt x="842" y="34"/>
                    </a:lnTo>
                    <a:close/>
                    <a:moveTo>
                      <a:pt x="811" y="110"/>
                    </a:moveTo>
                    <a:cubicBezTo>
                      <a:pt x="809" y="110"/>
                      <a:pt x="807" y="111"/>
                      <a:pt x="804" y="111"/>
                    </a:cubicBezTo>
                    <a:cubicBezTo>
                      <a:pt x="802" y="111"/>
                      <a:pt x="799" y="111"/>
                      <a:pt x="798" y="111"/>
                    </a:cubicBezTo>
                    <a:cubicBezTo>
                      <a:pt x="791" y="111"/>
                      <a:pt x="786" y="110"/>
                      <a:pt x="782" y="109"/>
                    </a:cubicBezTo>
                    <a:cubicBezTo>
                      <a:pt x="778" y="107"/>
                      <a:pt x="775" y="105"/>
                      <a:pt x="773" y="102"/>
                    </a:cubicBezTo>
                    <a:cubicBezTo>
                      <a:pt x="771" y="99"/>
                      <a:pt x="769" y="95"/>
                      <a:pt x="768" y="91"/>
                    </a:cubicBezTo>
                    <a:cubicBezTo>
                      <a:pt x="768" y="87"/>
                      <a:pt x="767" y="81"/>
                      <a:pt x="767" y="76"/>
                    </a:cubicBezTo>
                    <a:cubicBezTo>
                      <a:pt x="767" y="70"/>
                      <a:pt x="768" y="65"/>
                      <a:pt x="768" y="61"/>
                    </a:cubicBezTo>
                    <a:cubicBezTo>
                      <a:pt x="769" y="57"/>
                      <a:pt x="770" y="53"/>
                      <a:pt x="771" y="51"/>
                    </a:cubicBezTo>
                    <a:cubicBezTo>
                      <a:pt x="773" y="48"/>
                      <a:pt x="775" y="46"/>
                      <a:pt x="778" y="45"/>
                    </a:cubicBezTo>
                    <a:cubicBezTo>
                      <a:pt x="781" y="44"/>
                      <a:pt x="784" y="43"/>
                      <a:pt x="789" y="43"/>
                    </a:cubicBezTo>
                    <a:cubicBezTo>
                      <a:pt x="793" y="43"/>
                      <a:pt x="797" y="43"/>
                      <a:pt x="801" y="44"/>
                    </a:cubicBezTo>
                    <a:cubicBezTo>
                      <a:pt x="805" y="45"/>
                      <a:pt x="809" y="46"/>
                      <a:pt x="811" y="47"/>
                    </a:cubicBezTo>
                    <a:lnTo>
                      <a:pt x="811" y="110"/>
                    </a:lnTo>
                    <a:close/>
                    <a:moveTo>
                      <a:pt x="811" y="40"/>
                    </a:moveTo>
                    <a:cubicBezTo>
                      <a:pt x="809" y="39"/>
                      <a:pt x="805" y="38"/>
                      <a:pt x="801" y="37"/>
                    </a:cubicBezTo>
                    <a:cubicBezTo>
                      <a:pt x="797" y="36"/>
                      <a:pt x="793" y="36"/>
                      <a:pt x="789" y="36"/>
                    </a:cubicBezTo>
                    <a:cubicBezTo>
                      <a:pt x="782" y="36"/>
                      <a:pt x="777" y="37"/>
                      <a:pt x="773" y="38"/>
                    </a:cubicBezTo>
                    <a:cubicBezTo>
                      <a:pt x="769" y="40"/>
                      <a:pt x="766" y="42"/>
                      <a:pt x="763" y="45"/>
                    </a:cubicBezTo>
                    <a:cubicBezTo>
                      <a:pt x="761" y="49"/>
                      <a:pt x="759" y="53"/>
                      <a:pt x="758" y="58"/>
                    </a:cubicBezTo>
                    <a:cubicBezTo>
                      <a:pt x="757" y="63"/>
                      <a:pt x="757" y="69"/>
                      <a:pt x="757" y="75"/>
                    </a:cubicBezTo>
                    <a:cubicBezTo>
                      <a:pt x="757" y="83"/>
                      <a:pt x="757" y="89"/>
                      <a:pt x="758" y="94"/>
                    </a:cubicBezTo>
                    <a:cubicBezTo>
                      <a:pt x="760" y="100"/>
                      <a:pt x="762" y="104"/>
                      <a:pt x="765" y="108"/>
                    </a:cubicBezTo>
                    <a:cubicBezTo>
                      <a:pt x="768" y="111"/>
                      <a:pt x="772" y="114"/>
                      <a:pt x="778" y="116"/>
                    </a:cubicBezTo>
                    <a:cubicBezTo>
                      <a:pt x="783" y="117"/>
                      <a:pt x="790" y="118"/>
                      <a:pt x="799" y="118"/>
                    </a:cubicBezTo>
                    <a:cubicBezTo>
                      <a:pt x="803" y="118"/>
                      <a:pt x="807" y="118"/>
                      <a:pt x="811" y="118"/>
                    </a:cubicBezTo>
                    <a:cubicBezTo>
                      <a:pt x="814" y="117"/>
                      <a:pt x="818" y="117"/>
                      <a:pt x="822" y="117"/>
                    </a:cubicBezTo>
                    <a:cubicBezTo>
                      <a:pt x="822" y="5"/>
                      <a:pt x="822" y="5"/>
                      <a:pt x="822" y="5"/>
                    </a:cubicBezTo>
                    <a:cubicBezTo>
                      <a:pt x="811" y="5"/>
                      <a:pt x="811" y="5"/>
                      <a:pt x="811" y="5"/>
                    </a:cubicBezTo>
                    <a:lnTo>
                      <a:pt x="811" y="40"/>
                    </a:lnTo>
                    <a:close/>
                    <a:moveTo>
                      <a:pt x="633" y="117"/>
                    </a:moveTo>
                    <a:cubicBezTo>
                      <a:pt x="643" y="117"/>
                      <a:pt x="643" y="117"/>
                      <a:pt x="643" y="117"/>
                    </a:cubicBezTo>
                    <a:cubicBezTo>
                      <a:pt x="643" y="47"/>
                      <a:pt x="643" y="47"/>
                      <a:pt x="643" y="47"/>
                    </a:cubicBezTo>
                    <a:cubicBezTo>
                      <a:pt x="646" y="46"/>
                      <a:pt x="649" y="45"/>
                      <a:pt x="653" y="44"/>
                    </a:cubicBezTo>
                    <a:cubicBezTo>
                      <a:pt x="657" y="43"/>
                      <a:pt x="661" y="43"/>
                      <a:pt x="666" y="43"/>
                    </a:cubicBezTo>
                    <a:cubicBezTo>
                      <a:pt x="675" y="43"/>
                      <a:pt x="681" y="45"/>
                      <a:pt x="684" y="51"/>
                    </a:cubicBezTo>
                    <a:cubicBezTo>
                      <a:pt x="688" y="56"/>
                      <a:pt x="689" y="64"/>
                      <a:pt x="689" y="75"/>
                    </a:cubicBezTo>
                    <a:cubicBezTo>
                      <a:pt x="689" y="117"/>
                      <a:pt x="689" y="117"/>
                      <a:pt x="689" y="117"/>
                    </a:cubicBezTo>
                    <a:cubicBezTo>
                      <a:pt x="700" y="117"/>
                      <a:pt x="700" y="117"/>
                      <a:pt x="700" y="117"/>
                    </a:cubicBezTo>
                    <a:cubicBezTo>
                      <a:pt x="700" y="75"/>
                      <a:pt x="700" y="75"/>
                      <a:pt x="700" y="75"/>
                    </a:cubicBezTo>
                    <a:cubicBezTo>
                      <a:pt x="700" y="69"/>
                      <a:pt x="700" y="63"/>
                      <a:pt x="698" y="58"/>
                    </a:cubicBezTo>
                    <a:cubicBezTo>
                      <a:pt x="697" y="53"/>
                      <a:pt x="695" y="49"/>
                      <a:pt x="693" y="45"/>
                    </a:cubicBezTo>
                    <a:cubicBezTo>
                      <a:pt x="690" y="42"/>
                      <a:pt x="686" y="40"/>
                      <a:pt x="682" y="38"/>
                    </a:cubicBezTo>
                    <a:cubicBezTo>
                      <a:pt x="677" y="37"/>
                      <a:pt x="672" y="36"/>
                      <a:pt x="666" y="36"/>
                    </a:cubicBezTo>
                    <a:cubicBezTo>
                      <a:pt x="660" y="36"/>
                      <a:pt x="654" y="36"/>
                      <a:pt x="649" y="37"/>
                    </a:cubicBezTo>
                    <a:cubicBezTo>
                      <a:pt x="644" y="39"/>
                      <a:pt x="639" y="40"/>
                      <a:pt x="632" y="43"/>
                    </a:cubicBezTo>
                    <a:lnTo>
                      <a:pt x="633" y="117"/>
                    </a:lnTo>
                    <a:close/>
                    <a:moveTo>
                      <a:pt x="564" y="109"/>
                    </a:moveTo>
                    <a:cubicBezTo>
                      <a:pt x="561" y="108"/>
                      <a:pt x="558" y="106"/>
                      <a:pt x="556" y="103"/>
                    </a:cubicBezTo>
                    <a:cubicBezTo>
                      <a:pt x="554" y="100"/>
                      <a:pt x="553" y="97"/>
                      <a:pt x="552" y="92"/>
                    </a:cubicBezTo>
                    <a:cubicBezTo>
                      <a:pt x="552" y="88"/>
                      <a:pt x="551" y="82"/>
                      <a:pt x="551" y="76"/>
                    </a:cubicBezTo>
                    <a:cubicBezTo>
                      <a:pt x="551" y="69"/>
                      <a:pt x="552" y="64"/>
                      <a:pt x="553" y="60"/>
                    </a:cubicBezTo>
                    <a:cubicBezTo>
                      <a:pt x="554" y="56"/>
                      <a:pt x="555" y="52"/>
                      <a:pt x="557" y="50"/>
                    </a:cubicBezTo>
                    <a:cubicBezTo>
                      <a:pt x="559" y="47"/>
                      <a:pt x="562" y="46"/>
                      <a:pt x="565" y="45"/>
                    </a:cubicBezTo>
                    <a:cubicBezTo>
                      <a:pt x="568" y="44"/>
                      <a:pt x="572" y="43"/>
                      <a:pt x="577" y="43"/>
                    </a:cubicBezTo>
                    <a:cubicBezTo>
                      <a:pt x="581" y="43"/>
                      <a:pt x="584" y="44"/>
                      <a:pt x="588" y="45"/>
                    </a:cubicBezTo>
                    <a:cubicBezTo>
                      <a:pt x="591" y="46"/>
                      <a:pt x="593" y="48"/>
                      <a:pt x="595" y="50"/>
                    </a:cubicBezTo>
                    <a:cubicBezTo>
                      <a:pt x="597" y="53"/>
                      <a:pt x="599" y="56"/>
                      <a:pt x="600" y="61"/>
                    </a:cubicBezTo>
                    <a:cubicBezTo>
                      <a:pt x="601" y="65"/>
                      <a:pt x="602" y="70"/>
                      <a:pt x="602" y="76"/>
                    </a:cubicBezTo>
                    <a:cubicBezTo>
                      <a:pt x="602" y="82"/>
                      <a:pt x="602" y="87"/>
                      <a:pt x="601" y="92"/>
                    </a:cubicBezTo>
                    <a:cubicBezTo>
                      <a:pt x="601" y="96"/>
                      <a:pt x="599" y="100"/>
                      <a:pt x="598" y="103"/>
                    </a:cubicBezTo>
                    <a:cubicBezTo>
                      <a:pt x="596" y="106"/>
                      <a:pt x="593" y="108"/>
                      <a:pt x="590" y="109"/>
                    </a:cubicBezTo>
                    <a:cubicBezTo>
                      <a:pt x="587" y="110"/>
                      <a:pt x="582" y="111"/>
                      <a:pt x="577" y="111"/>
                    </a:cubicBezTo>
                    <a:cubicBezTo>
                      <a:pt x="572" y="111"/>
                      <a:pt x="567" y="111"/>
                      <a:pt x="564" y="109"/>
                    </a:cubicBezTo>
                    <a:moveTo>
                      <a:pt x="577" y="36"/>
                    </a:moveTo>
                    <a:cubicBezTo>
                      <a:pt x="571" y="36"/>
                      <a:pt x="565" y="36"/>
                      <a:pt x="561" y="38"/>
                    </a:cubicBezTo>
                    <a:cubicBezTo>
                      <a:pt x="556" y="39"/>
                      <a:pt x="553" y="41"/>
                      <a:pt x="550" y="45"/>
                    </a:cubicBezTo>
                    <a:cubicBezTo>
                      <a:pt x="547" y="48"/>
                      <a:pt x="544" y="52"/>
                      <a:pt x="543" y="57"/>
                    </a:cubicBezTo>
                    <a:cubicBezTo>
                      <a:pt x="542" y="62"/>
                      <a:pt x="541" y="68"/>
                      <a:pt x="541" y="75"/>
                    </a:cubicBezTo>
                    <a:cubicBezTo>
                      <a:pt x="541" y="83"/>
                      <a:pt x="541" y="90"/>
                      <a:pt x="542" y="95"/>
                    </a:cubicBezTo>
                    <a:cubicBezTo>
                      <a:pt x="544" y="101"/>
                      <a:pt x="546" y="105"/>
                      <a:pt x="548" y="109"/>
                    </a:cubicBezTo>
                    <a:cubicBezTo>
                      <a:pt x="551" y="112"/>
                      <a:pt x="555" y="114"/>
                      <a:pt x="559" y="116"/>
                    </a:cubicBezTo>
                    <a:cubicBezTo>
                      <a:pt x="564" y="118"/>
                      <a:pt x="570" y="118"/>
                      <a:pt x="577" y="118"/>
                    </a:cubicBezTo>
                    <a:cubicBezTo>
                      <a:pt x="584" y="118"/>
                      <a:pt x="590" y="117"/>
                      <a:pt x="595" y="116"/>
                    </a:cubicBezTo>
                    <a:cubicBezTo>
                      <a:pt x="599" y="114"/>
                      <a:pt x="603" y="111"/>
                      <a:pt x="605" y="108"/>
                    </a:cubicBezTo>
                    <a:cubicBezTo>
                      <a:pt x="608" y="104"/>
                      <a:pt x="610" y="100"/>
                      <a:pt x="611" y="95"/>
                    </a:cubicBezTo>
                    <a:cubicBezTo>
                      <a:pt x="612" y="89"/>
                      <a:pt x="613" y="83"/>
                      <a:pt x="613" y="76"/>
                    </a:cubicBezTo>
                    <a:cubicBezTo>
                      <a:pt x="613" y="69"/>
                      <a:pt x="612" y="63"/>
                      <a:pt x="610" y="57"/>
                    </a:cubicBezTo>
                    <a:cubicBezTo>
                      <a:pt x="609" y="52"/>
                      <a:pt x="606" y="48"/>
                      <a:pt x="603" y="45"/>
                    </a:cubicBezTo>
                    <a:cubicBezTo>
                      <a:pt x="600" y="42"/>
                      <a:pt x="597" y="40"/>
                      <a:pt x="592" y="38"/>
                    </a:cubicBezTo>
                    <a:cubicBezTo>
                      <a:pt x="588" y="37"/>
                      <a:pt x="583" y="36"/>
                      <a:pt x="577" y="36"/>
                    </a:cubicBezTo>
                    <a:close/>
                    <a:moveTo>
                      <a:pt x="512" y="117"/>
                    </a:moveTo>
                    <a:cubicBezTo>
                      <a:pt x="522" y="117"/>
                      <a:pt x="522" y="117"/>
                      <a:pt x="522" y="117"/>
                    </a:cubicBezTo>
                    <a:cubicBezTo>
                      <a:pt x="522" y="37"/>
                      <a:pt x="522" y="37"/>
                      <a:pt x="522" y="37"/>
                    </a:cubicBezTo>
                    <a:cubicBezTo>
                      <a:pt x="512" y="37"/>
                      <a:pt x="512" y="37"/>
                      <a:pt x="512" y="37"/>
                    </a:cubicBezTo>
                    <a:lnTo>
                      <a:pt x="512" y="117"/>
                    </a:lnTo>
                    <a:close/>
                    <a:moveTo>
                      <a:pt x="512" y="17"/>
                    </a:moveTo>
                    <a:cubicBezTo>
                      <a:pt x="522" y="17"/>
                      <a:pt x="522" y="17"/>
                      <a:pt x="522" y="17"/>
                    </a:cubicBezTo>
                    <a:cubicBezTo>
                      <a:pt x="522" y="6"/>
                      <a:pt x="522" y="6"/>
                      <a:pt x="522" y="6"/>
                    </a:cubicBezTo>
                    <a:cubicBezTo>
                      <a:pt x="512" y="6"/>
                      <a:pt x="512" y="6"/>
                      <a:pt x="512" y="6"/>
                    </a:cubicBezTo>
                    <a:lnTo>
                      <a:pt x="512" y="17"/>
                    </a:lnTo>
                    <a:close/>
                    <a:moveTo>
                      <a:pt x="467" y="17"/>
                    </a:moveTo>
                    <a:cubicBezTo>
                      <a:pt x="467" y="37"/>
                      <a:pt x="467" y="37"/>
                      <a:pt x="467" y="37"/>
                    </a:cubicBezTo>
                    <a:cubicBezTo>
                      <a:pt x="450" y="37"/>
                      <a:pt x="450" y="37"/>
                      <a:pt x="450" y="37"/>
                    </a:cubicBezTo>
                    <a:cubicBezTo>
                      <a:pt x="450" y="45"/>
                      <a:pt x="450" y="45"/>
                      <a:pt x="450" y="45"/>
                    </a:cubicBezTo>
                    <a:cubicBezTo>
                      <a:pt x="467" y="45"/>
                      <a:pt x="467" y="45"/>
                      <a:pt x="467" y="45"/>
                    </a:cubicBezTo>
                    <a:cubicBezTo>
                      <a:pt x="467" y="92"/>
                      <a:pt x="467" y="92"/>
                      <a:pt x="467" y="92"/>
                    </a:cubicBezTo>
                    <a:cubicBezTo>
                      <a:pt x="467" y="96"/>
                      <a:pt x="467" y="101"/>
                      <a:pt x="468" y="104"/>
                    </a:cubicBezTo>
                    <a:cubicBezTo>
                      <a:pt x="468" y="107"/>
                      <a:pt x="469" y="110"/>
                      <a:pt x="470" y="112"/>
                    </a:cubicBezTo>
                    <a:cubicBezTo>
                      <a:pt x="471" y="114"/>
                      <a:pt x="473" y="116"/>
                      <a:pt x="475" y="117"/>
                    </a:cubicBezTo>
                    <a:cubicBezTo>
                      <a:pt x="478" y="118"/>
                      <a:pt x="481" y="118"/>
                      <a:pt x="484" y="118"/>
                    </a:cubicBezTo>
                    <a:cubicBezTo>
                      <a:pt x="486" y="118"/>
                      <a:pt x="487" y="118"/>
                      <a:pt x="488" y="118"/>
                    </a:cubicBezTo>
                    <a:cubicBezTo>
                      <a:pt x="490" y="118"/>
                      <a:pt x="492" y="117"/>
                      <a:pt x="495" y="117"/>
                    </a:cubicBezTo>
                    <a:cubicBezTo>
                      <a:pt x="496" y="110"/>
                      <a:pt x="496" y="110"/>
                      <a:pt x="496" y="110"/>
                    </a:cubicBezTo>
                    <a:cubicBezTo>
                      <a:pt x="494" y="110"/>
                      <a:pt x="492" y="110"/>
                      <a:pt x="490" y="111"/>
                    </a:cubicBezTo>
                    <a:cubicBezTo>
                      <a:pt x="489" y="111"/>
                      <a:pt x="487" y="111"/>
                      <a:pt x="486" y="111"/>
                    </a:cubicBezTo>
                    <a:cubicBezTo>
                      <a:pt x="485" y="111"/>
                      <a:pt x="485" y="111"/>
                      <a:pt x="485" y="111"/>
                    </a:cubicBezTo>
                    <a:cubicBezTo>
                      <a:pt x="484" y="111"/>
                      <a:pt x="482" y="111"/>
                      <a:pt x="481" y="110"/>
                    </a:cubicBezTo>
                    <a:cubicBezTo>
                      <a:pt x="480" y="110"/>
                      <a:pt x="479" y="109"/>
                      <a:pt x="479" y="107"/>
                    </a:cubicBezTo>
                    <a:cubicBezTo>
                      <a:pt x="478" y="106"/>
                      <a:pt x="478" y="104"/>
                      <a:pt x="478" y="101"/>
                    </a:cubicBezTo>
                    <a:cubicBezTo>
                      <a:pt x="477" y="99"/>
                      <a:pt x="477" y="96"/>
                      <a:pt x="477" y="92"/>
                    </a:cubicBezTo>
                    <a:cubicBezTo>
                      <a:pt x="477" y="45"/>
                      <a:pt x="477" y="45"/>
                      <a:pt x="477" y="45"/>
                    </a:cubicBezTo>
                    <a:cubicBezTo>
                      <a:pt x="496" y="45"/>
                      <a:pt x="496" y="45"/>
                      <a:pt x="496" y="45"/>
                    </a:cubicBezTo>
                    <a:cubicBezTo>
                      <a:pt x="496" y="37"/>
                      <a:pt x="496" y="37"/>
                      <a:pt x="496" y="37"/>
                    </a:cubicBezTo>
                    <a:cubicBezTo>
                      <a:pt x="477" y="37"/>
                      <a:pt x="477" y="37"/>
                      <a:pt x="477" y="37"/>
                    </a:cubicBezTo>
                    <a:cubicBezTo>
                      <a:pt x="477" y="17"/>
                      <a:pt x="477" y="17"/>
                      <a:pt x="477" y="17"/>
                    </a:cubicBezTo>
                    <a:lnTo>
                      <a:pt x="467" y="17"/>
                    </a:lnTo>
                    <a:close/>
                    <a:moveTo>
                      <a:pt x="429" y="117"/>
                    </a:moveTo>
                    <a:cubicBezTo>
                      <a:pt x="440" y="117"/>
                      <a:pt x="440" y="117"/>
                      <a:pt x="440" y="117"/>
                    </a:cubicBezTo>
                    <a:cubicBezTo>
                      <a:pt x="440" y="37"/>
                      <a:pt x="440" y="37"/>
                      <a:pt x="440" y="37"/>
                    </a:cubicBezTo>
                    <a:cubicBezTo>
                      <a:pt x="429" y="37"/>
                      <a:pt x="429" y="37"/>
                      <a:pt x="429" y="37"/>
                    </a:cubicBezTo>
                    <a:lnTo>
                      <a:pt x="429" y="117"/>
                    </a:lnTo>
                    <a:close/>
                    <a:moveTo>
                      <a:pt x="429" y="17"/>
                    </a:moveTo>
                    <a:cubicBezTo>
                      <a:pt x="440" y="17"/>
                      <a:pt x="440" y="17"/>
                      <a:pt x="440" y="17"/>
                    </a:cubicBezTo>
                    <a:cubicBezTo>
                      <a:pt x="440" y="6"/>
                      <a:pt x="440" y="6"/>
                      <a:pt x="440" y="6"/>
                    </a:cubicBezTo>
                    <a:cubicBezTo>
                      <a:pt x="429" y="6"/>
                      <a:pt x="429" y="6"/>
                      <a:pt x="429" y="6"/>
                    </a:cubicBezTo>
                    <a:lnTo>
                      <a:pt x="429" y="17"/>
                    </a:lnTo>
                    <a:close/>
                    <a:moveTo>
                      <a:pt x="353" y="47"/>
                    </a:moveTo>
                    <a:cubicBezTo>
                      <a:pt x="356" y="46"/>
                      <a:pt x="359" y="45"/>
                      <a:pt x="363" y="44"/>
                    </a:cubicBezTo>
                    <a:cubicBezTo>
                      <a:pt x="367" y="43"/>
                      <a:pt x="372" y="43"/>
                      <a:pt x="376" y="43"/>
                    </a:cubicBezTo>
                    <a:cubicBezTo>
                      <a:pt x="380" y="43"/>
                      <a:pt x="384" y="43"/>
                      <a:pt x="387" y="45"/>
                    </a:cubicBezTo>
                    <a:cubicBezTo>
                      <a:pt x="390" y="46"/>
                      <a:pt x="392" y="48"/>
                      <a:pt x="393" y="50"/>
                    </a:cubicBezTo>
                    <a:cubicBezTo>
                      <a:pt x="395" y="53"/>
                      <a:pt x="396" y="56"/>
                      <a:pt x="396" y="61"/>
                    </a:cubicBezTo>
                    <a:cubicBezTo>
                      <a:pt x="397" y="65"/>
                      <a:pt x="397" y="70"/>
                      <a:pt x="397" y="75"/>
                    </a:cubicBezTo>
                    <a:cubicBezTo>
                      <a:pt x="397" y="81"/>
                      <a:pt x="397" y="86"/>
                      <a:pt x="396" y="91"/>
                    </a:cubicBezTo>
                    <a:cubicBezTo>
                      <a:pt x="396" y="95"/>
                      <a:pt x="394" y="99"/>
                      <a:pt x="392" y="102"/>
                    </a:cubicBezTo>
                    <a:cubicBezTo>
                      <a:pt x="390" y="105"/>
                      <a:pt x="387" y="107"/>
                      <a:pt x="383" y="108"/>
                    </a:cubicBezTo>
                    <a:cubicBezTo>
                      <a:pt x="379" y="110"/>
                      <a:pt x="374" y="111"/>
                      <a:pt x="367" y="111"/>
                    </a:cubicBezTo>
                    <a:cubicBezTo>
                      <a:pt x="365" y="111"/>
                      <a:pt x="363" y="111"/>
                      <a:pt x="361" y="111"/>
                    </a:cubicBezTo>
                    <a:cubicBezTo>
                      <a:pt x="358" y="110"/>
                      <a:pt x="356" y="110"/>
                      <a:pt x="353" y="110"/>
                    </a:cubicBezTo>
                    <a:lnTo>
                      <a:pt x="353" y="47"/>
                    </a:lnTo>
                    <a:close/>
                    <a:moveTo>
                      <a:pt x="343" y="5"/>
                    </a:moveTo>
                    <a:cubicBezTo>
                      <a:pt x="343" y="117"/>
                      <a:pt x="343" y="117"/>
                      <a:pt x="343" y="117"/>
                    </a:cubicBezTo>
                    <a:cubicBezTo>
                      <a:pt x="346" y="117"/>
                      <a:pt x="350" y="117"/>
                      <a:pt x="354" y="118"/>
                    </a:cubicBezTo>
                    <a:cubicBezTo>
                      <a:pt x="358" y="118"/>
                      <a:pt x="362" y="118"/>
                      <a:pt x="366" y="118"/>
                    </a:cubicBezTo>
                    <a:cubicBezTo>
                      <a:pt x="374" y="118"/>
                      <a:pt x="381" y="117"/>
                      <a:pt x="387" y="116"/>
                    </a:cubicBezTo>
                    <a:cubicBezTo>
                      <a:pt x="392" y="114"/>
                      <a:pt x="397" y="111"/>
                      <a:pt x="400" y="108"/>
                    </a:cubicBezTo>
                    <a:cubicBezTo>
                      <a:pt x="403" y="104"/>
                      <a:pt x="405" y="100"/>
                      <a:pt x="406" y="94"/>
                    </a:cubicBezTo>
                    <a:cubicBezTo>
                      <a:pt x="407" y="89"/>
                      <a:pt x="408" y="83"/>
                      <a:pt x="408" y="75"/>
                    </a:cubicBezTo>
                    <a:cubicBezTo>
                      <a:pt x="408" y="69"/>
                      <a:pt x="407" y="63"/>
                      <a:pt x="406" y="58"/>
                    </a:cubicBezTo>
                    <a:cubicBezTo>
                      <a:pt x="405" y="53"/>
                      <a:pt x="404" y="49"/>
                      <a:pt x="401" y="45"/>
                    </a:cubicBezTo>
                    <a:cubicBezTo>
                      <a:pt x="399" y="42"/>
                      <a:pt x="396" y="40"/>
                      <a:pt x="392" y="38"/>
                    </a:cubicBezTo>
                    <a:cubicBezTo>
                      <a:pt x="388" y="37"/>
                      <a:pt x="382" y="36"/>
                      <a:pt x="376" y="36"/>
                    </a:cubicBezTo>
                    <a:cubicBezTo>
                      <a:pt x="372" y="36"/>
                      <a:pt x="367" y="36"/>
                      <a:pt x="363" y="37"/>
                    </a:cubicBezTo>
                    <a:cubicBezTo>
                      <a:pt x="359" y="38"/>
                      <a:pt x="356" y="39"/>
                      <a:pt x="353" y="40"/>
                    </a:cubicBezTo>
                    <a:cubicBezTo>
                      <a:pt x="353" y="5"/>
                      <a:pt x="353" y="5"/>
                      <a:pt x="353" y="5"/>
                    </a:cubicBezTo>
                    <a:lnTo>
                      <a:pt x="343" y="5"/>
                    </a:lnTo>
                    <a:close/>
                    <a:moveTo>
                      <a:pt x="201" y="117"/>
                    </a:moveTo>
                    <a:cubicBezTo>
                      <a:pt x="212" y="117"/>
                      <a:pt x="212" y="117"/>
                      <a:pt x="212" y="117"/>
                    </a:cubicBezTo>
                    <a:cubicBezTo>
                      <a:pt x="212" y="47"/>
                      <a:pt x="212" y="47"/>
                      <a:pt x="212" y="47"/>
                    </a:cubicBezTo>
                    <a:cubicBezTo>
                      <a:pt x="215" y="46"/>
                      <a:pt x="218" y="45"/>
                      <a:pt x="222" y="44"/>
                    </a:cubicBezTo>
                    <a:cubicBezTo>
                      <a:pt x="226" y="43"/>
                      <a:pt x="230" y="43"/>
                      <a:pt x="235" y="43"/>
                    </a:cubicBezTo>
                    <a:cubicBezTo>
                      <a:pt x="239" y="43"/>
                      <a:pt x="242" y="43"/>
                      <a:pt x="245" y="45"/>
                    </a:cubicBezTo>
                    <a:cubicBezTo>
                      <a:pt x="248" y="46"/>
                      <a:pt x="250" y="48"/>
                      <a:pt x="252" y="50"/>
                    </a:cubicBezTo>
                    <a:cubicBezTo>
                      <a:pt x="253" y="53"/>
                      <a:pt x="254" y="56"/>
                      <a:pt x="255" y="60"/>
                    </a:cubicBezTo>
                    <a:cubicBezTo>
                      <a:pt x="255" y="64"/>
                      <a:pt x="256" y="69"/>
                      <a:pt x="256" y="75"/>
                    </a:cubicBezTo>
                    <a:cubicBezTo>
                      <a:pt x="256" y="117"/>
                      <a:pt x="256" y="117"/>
                      <a:pt x="256" y="117"/>
                    </a:cubicBezTo>
                    <a:cubicBezTo>
                      <a:pt x="267" y="117"/>
                      <a:pt x="267" y="117"/>
                      <a:pt x="267" y="117"/>
                    </a:cubicBezTo>
                    <a:cubicBezTo>
                      <a:pt x="267" y="75"/>
                      <a:pt x="267" y="75"/>
                      <a:pt x="267" y="75"/>
                    </a:cubicBezTo>
                    <a:cubicBezTo>
                      <a:pt x="267" y="69"/>
                      <a:pt x="266" y="64"/>
                      <a:pt x="266" y="59"/>
                    </a:cubicBezTo>
                    <a:cubicBezTo>
                      <a:pt x="265" y="55"/>
                      <a:pt x="264" y="51"/>
                      <a:pt x="262" y="48"/>
                    </a:cubicBezTo>
                    <a:cubicBezTo>
                      <a:pt x="267" y="46"/>
                      <a:pt x="272" y="45"/>
                      <a:pt x="276" y="44"/>
                    </a:cubicBezTo>
                    <a:cubicBezTo>
                      <a:pt x="280" y="43"/>
                      <a:pt x="284" y="43"/>
                      <a:pt x="289" y="43"/>
                    </a:cubicBezTo>
                    <a:cubicBezTo>
                      <a:pt x="293" y="43"/>
                      <a:pt x="297" y="43"/>
                      <a:pt x="300" y="45"/>
                    </a:cubicBezTo>
                    <a:cubicBezTo>
                      <a:pt x="303" y="46"/>
                      <a:pt x="305" y="48"/>
                      <a:pt x="306" y="50"/>
                    </a:cubicBezTo>
                    <a:cubicBezTo>
                      <a:pt x="308" y="53"/>
                      <a:pt x="309" y="56"/>
                      <a:pt x="309" y="60"/>
                    </a:cubicBezTo>
                    <a:cubicBezTo>
                      <a:pt x="310" y="64"/>
                      <a:pt x="310" y="69"/>
                      <a:pt x="310" y="75"/>
                    </a:cubicBezTo>
                    <a:cubicBezTo>
                      <a:pt x="310" y="117"/>
                      <a:pt x="310" y="117"/>
                      <a:pt x="310" y="117"/>
                    </a:cubicBezTo>
                    <a:cubicBezTo>
                      <a:pt x="321" y="117"/>
                      <a:pt x="321" y="117"/>
                      <a:pt x="321" y="117"/>
                    </a:cubicBezTo>
                    <a:cubicBezTo>
                      <a:pt x="321" y="75"/>
                      <a:pt x="321" y="75"/>
                      <a:pt x="321" y="75"/>
                    </a:cubicBezTo>
                    <a:cubicBezTo>
                      <a:pt x="321" y="68"/>
                      <a:pt x="321" y="63"/>
                      <a:pt x="320" y="58"/>
                    </a:cubicBezTo>
                    <a:cubicBezTo>
                      <a:pt x="319" y="53"/>
                      <a:pt x="317" y="48"/>
                      <a:pt x="315" y="45"/>
                    </a:cubicBezTo>
                    <a:cubicBezTo>
                      <a:pt x="312" y="42"/>
                      <a:pt x="309" y="40"/>
                      <a:pt x="305" y="38"/>
                    </a:cubicBezTo>
                    <a:cubicBezTo>
                      <a:pt x="301" y="36"/>
                      <a:pt x="296" y="36"/>
                      <a:pt x="289" y="36"/>
                    </a:cubicBezTo>
                    <a:cubicBezTo>
                      <a:pt x="287" y="36"/>
                      <a:pt x="284" y="36"/>
                      <a:pt x="282" y="36"/>
                    </a:cubicBezTo>
                    <a:cubicBezTo>
                      <a:pt x="279" y="36"/>
                      <a:pt x="277" y="36"/>
                      <a:pt x="274" y="37"/>
                    </a:cubicBezTo>
                    <a:cubicBezTo>
                      <a:pt x="272" y="37"/>
                      <a:pt x="269" y="38"/>
                      <a:pt x="266" y="39"/>
                    </a:cubicBezTo>
                    <a:cubicBezTo>
                      <a:pt x="263" y="40"/>
                      <a:pt x="260" y="41"/>
                      <a:pt x="257" y="42"/>
                    </a:cubicBezTo>
                    <a:cubicBezTo>
                      <a:pt x="252" y="38"/>
                      <a:pt x="245" y="35"/>
                      <a:pt x="235" y="35"/>
                    </a:cubicBezTo>
                    <a:cubicBezTo>
                      <a:pt x="229" y="35"/>
                      <a:pt x="224" y="36"/>
                      <a:pt x="219" y="37"/>
                    </a:cubicBezTo>
                    <a:cubicBezTo>
                      <a:pt x="214" y="38"/>
                      <a:pt x="208" y="40"/>
                      <a:pt x="201" y="42"/>
                    </a:cubicBezTo>
                    <a:lnTo>
                      <a:pt x="201" y="117"/>
                    </a:lnTo>
                    <a:close/>
                    <a:moveTo>
                      <a:pt x="169" y="107"/>
                    </a:moveTo>
                    <a:cubicBezTo>
                      <a:pt x="166" y="108"/>
                      <a:pt x="162" y="108"/>
                      <a:pt x="157" y="109"/>
                    </a:cubicBezTo>
                    <a:cubicBezTo>
                      <a:pt x="152" y="110"/>
                      <a:pt x="147" y="111"/>
                      <a:pt x="142" y="111"/>
                    </a:cubicBezTo>
                    <a:cubicBezTo>
                      <a:pt x="138" y="111"/>
                      <a:pt x="134" y="109"/>
                      <a:pt x="132" y="106"/>
                    </a:cubicBezTo>
                    <a:cubicBezTo>
                      <a:pt x="129" y="103"/>
                      <a:pt x="128" y="99"/>
                      <a:pt x="128" y="94"/>
                    </a:cubicBezTo>
                    <a:cubicBezTo>
                      <a:pt x="128" y="90"/>
                      <a:pt x="129" y="86"/>
                      <a:pt x="132" y="83"/>
                    </a:cubicBezTo>
                    <a:cubicBezTo>
                      <a:pt x="134" y="80"/>
                      <a:pt x="138" y="78"/>
                      <a:pt x="144" y="78"/>
                    </a:cubicBezTo>
                    <a:cubicBezTo>
                      <a:pt x="169" y="76"/>
                      <a:pt x="169" y="76"/>
                      <a:pt x="169" y="76"/>
                    </a:cubicBezTo>
                    <a:lnTo>
                      <a:pt x="169" y="107"/>
                    </a:lnTo>
                    <a:close/>
                    <a:moveTo>
                      <a:pt x="125" y="45"/>
                    </a:moveTo>
                    <a:cubicBezTo>
                      <a:pt x="130" y="45"/>
                      <a:pt x="134" y="44"/>
                      <a:pt x="139" y="44"/>
                    </a:cubicBezTo>
                    <a:cubicBezTo>
                      <a:pt x="144" y="43"/>
                      <a:pt x="148" y="43"/>
                      <a:pt x="152" y="43"/>
                    </a:cubicBezTo>
                    <a:cubicBezTo>
                      <a:pt x="158" y="43"/>
                      <a:pt x="162" y="45"/>
                      <a:pt x="165" y="47"/>
                    </a:cubicBezTo>
                    <a:cubicBezTo>
                      <a:pt x="168" y="50"/>
                      <a:pt x="169" y="54"/>
                      <a:pt x="169" y="61"/>
                    </a:cubicBezTo>
                    <a:cubicBezTo>
                      <a:pt x="169" y="69"/>
                      <a:pt x="169" y="69"/>
                      <a:pt x="169" y="69"/>
                    </a:cubicBezTo>
                    <a:cubicBezTo>
                      <a:pt x="143" y="71"/>
                      <a:pt x="143" y="71"/>
                      <a:pt x="143" y="71"/>
                    </a:cubicBezTo>
                    <a:cubicBezTo>
                      <a:pt x="134" y="72"/>
                      <a:pt x="127" y="74"/>
                      <a:pt x="123" y="78"/>
                    </a:cubicBezTo>
                    <a:cubicBezTo>
                      <a:pt x="119" y="82"/>
                      <a:pt x="117" y="88"/>
                      <a:pt x="117" y="94"/>
                    </a:cubicBezTo>
                    <a:cubicBezTo>
                      <a:pt x="117" y="102"/>
                      <a:pt x="120" y="108"/>
                      <a:pt x="124" y="112"/>
                    </a:cubicBezTo>
                    <a:cubicBezTo>
                      <a:pt x="128" y="116"/>
                      <a:pt x="134" y="118"/>
                      <a:pt x="142" y="118"/>
                    </a:cubicBezTo>
                    <a:cubicBezTo>
                      <a:pt x="150" y="118"/>
                      <a:pt x="157" y="117"/>
                      <a:pt x="163" y="116"/>
                    </a:cubicBezTo>
                    <a:cubicBezTo>
                      <a:pt x="169" y="114"/>
                      <a:pt x="175" y="113"/>
                      <a:pt x="180" y="111"/>
                    </a:cubicBezTo>
                    <a:cubicBezTo>
                      <a:pt x="180" y="61"/>
                      <a:pt x="180" y="61"/>
                      <a:pt x="180" y="61"/>
                    </a:cubicBezTo>
                    <a:cubicBezTo>
                      <a:pt x="180" y="53"/>
                      <a:pt x="177" y="46"/>
                      <a:pt x="173" y="42"/>
                    </a:cubicBezTo>
                    <a:cubicBezTo>
                      <a:pt x="169" y="38"/>
                      <a:pt x="162" y="36"/>
                      <a:pt x="152" y="36"/>
                    </a:cubicBezTo>
                    <a:cubicBezTo>
                      <a:pt x="147" y="36"/>
                      <a:pt x="143" y="36"/>
                      <a:pt x="138" y="36"/>
                    </a:cubicBezTo>
                    <a:cubicBezTo>
                      <a:pt x="133" y="37"/>
                      <a:pt x="128" y="37"/>
                      <a:pt x="123" y="38"/>
                    </a:cubicBezTo>
                    <a:lnTo>
                      <a:pt x="125" y="45"/>
                    </a:lnTo>
                    <a:close/>
                    <a:moveTo>
                      <a:pt x="81" y="34"/>
                    </a:moveTo>
                    <a:cubicBezTo>
                      <a:pt x="91" y="34"/>
                      <a:pt x="91" y="34"/>
                      <a:pt x="91" y="34"/>
                    </a:cubicBezTo>
                    <a:cubicBezTo>
                      <a:pt x="100" y="0"/>
                      <a:pt x="100" y="0"/>
                      <a:pt x="100" y="0"/>
                    </a:cubicBezTo>
                    <a:cubicBezTo>
                      <a:pt x="89" y="0"/>
                      <a:pt x="89" y="0"/>
                      <a:pt x="89" y="0"/>
                    </a:cubicBezTo>
                    <a:lnTo>
                      <a:pt x="81" y="34"/>
                    </a:lnTo>
                    <a:close/>
                    <a:moveTo>
                      <a:pt x="70" y="117"/>
                    </a:moveTo>
                    <a:cubicBezTo>
                      <a:pt x="70" y="109"/>
                      <a:pt x="70" y="109"/>
                      <a:pt x="70" y="109"/>
                    </a:cubicBezTo>
                    <a:cubicBezTo>
                      <a:pt x="11" y="109"/>
                      <a:pt x="11" y="109"/>
                      <a:pt x="11" y="109"/>
                    </a:cubicBezTo>
                    <a:cubicBezTo>
                      <a:pt x="11" y="5"/>
                      <a:pt x="11" y="5"/>
                      <a:pt x="11" y="5"/>
                    </a:cubicBezTo>
                    <a:cubicBezTo>
                      <a:pt x="0" y="5"/>
                      <a:pt x="0" y="5"/>
                      <a:pt x="0" y="5"/>
                    </a:cubicBezTo>
                    <a:cubicBezTo>
                      <a:pt x="0" y="117"/>
                      <a:pt x="0" y="117"/>
                      <a:pt x="0" y="117"/>
                    </a:cubicBezTo>
                    <a:lnTo>
                      <a:pt x="70" y="117"/>
                    </a:lnTo>
                    <a:close/>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14" name="Freeform 22"/>
              <p:cNvSpPr>
                <a:spLocks noEditPoints="1"/>
              </p:cNvSpPr>
              <p:nvPr userDrawn="1"/>
            </p:nvSpPr>
            <p:spPr bwMode="auto">
              <a:xfrm>
                <a:off x="3825875" y="2044700"/>
                <a:ext cx="1347788" cy="114300"/>
              </a:xfrm>
              <a:custGeom>
                <a:avLst/>
                <a:gdLst/>
                <a:ahLst/>
                <a:cxnLst>
                  <a:cxn ang="0">
                    <a:pos x="1726" y="117"/>
                  </a:cxn>
                  <a:cxn ang="0">
                    <a:pos x="1670" y="43"/>
                  </a:cxn>
                  <a:cxn ang="0">
                    <a:pos x="1648" y="17"/>
                  </a:cxn>
                  <a:cxn ang="0">
                    <a:pos x="1557" y="60"/>
                  </a:cxn>
                  <a:cxn ang="0">
                    <a:pos x="1605" y="92"/>
                  </a:cxn>
                  <a:cxn ang="0">
                    <a:pos x="1547" y="57"/>
                  </a:cxn>
                  <a:cxn ang="0">
                    <a:pos x="1615" y="95"/>
                  </a:cxn>
                  <a:cxn ang="0">
                    <a:pos x="1526" y="5"/>
                  </a:cxn>
                  <a:cxn ang="0">
                    <a:pos x="1448" y="114"/>
                  </a:cxn>
                  <a:cxn ang="0">
                    <a:pos x="1430" y="69"/>
                  </a:cxn>
                  <a:cxn ang="0">
                    <a:pos x="1456" y="44"/>
                  </a:cxn>
                  <a:cxn ang="0">
                    <a:pos x="1411" y="46"/>
                  </a:cxn>
                  <a:cxn ang="0">
                    <a:pos x="1435" y="83"/>
                  </a:cxn>
                  <a:cxn ang="0">
                    <a:pos x="1431" y="111"/>
                  </a:cxn>
                  <a:cxn ang="0">
                    <a:pos x="1369" y="110"/>
                  </a:cxn>
                  <a:cxn ang="0">
                    <a:pos x="1332" y="109"/>
                  </a:cxn>
                  <a:cxn ang="0">
                    <a:pos x="1304" y="5"/>
                  </a:cxn>
                  <a:cxn ang="0">
                    <a:pos x="1261" y="63"/>
                  </a:cxn>
                  <a:cxn ang="0">
                    <a:pos x="1218" y="44"/>
                  </a:cxn>
                  <a:cxn ang="0">
                    <a:pos x="1271" y="60"/>
                  </a:cxn>
                  <a:cxn ang="0">
                    <a:pos x="1218" y="114"/>
                  </a:cxn>
                  <a:cxn ang="0">
                    <a:pos x="1155" y="36"/>
                  </a:cxn>
                  <a:cxn ang="0">
                    <a:pos x="1059" y="43"/>
                  </a:cxn>
                  <a:cxn ang="0">
                    <a:pos x="1060" y="111"/>
                  </a:cxn>
                  <a:cxn ang="0">
                    <a:pos x="1059" y="36"/>
                  </a:cxn>
                  <a:cxn ang="0">
                    <a:pos x="1060" y="118"/>
                  </a:cxn>
                  <a:cxn ang="0">
                    <a:pos x="1007" y="5"/>
                  </a:cxn>
                  <a:cxn ang="0">
                    <a:pos x="930" y="107"/>
                  </a:cxn>
                  <a:cxn ang="0">
                    <a:pos x="930" y="107"/>
                  </a:cxn>
                  <a:cxn ang="0">
                    <a:pos x="885" y="78"/>
                  </a:cxn>
                  <a:cxn ang="0">
                    <a:pos x="913" y="36"/>
                  </a:cxn>
                  <a:cxn ang="0">
                    <a:pos x="842" y="34"/>
                  </a:cxn>
                  <a:cxn ang="0">
                    <a:pos x="768" y="61"/>
                  </a:cxn>
                  <a:cxn ang="0">
                    <a:pos x="801" y="37"/>
                  </a:cxn>
                  <a:cxn ang="0">
                    <a:pos x="778" y="116"/>
                  </a:cxn>
                  <a:cxn ang="0">
                    <a:pos x="643" y="117"/>
                  </a:cxn>
                  <a:cxn ang="0">
                    <a:pos x="700" y="75"/>
                  </a:cxn>
                  <a:cxn ang="0">
                    <a:pos x="564" y="109"/>
                  </a:cxn>
                  <a:cxn ang="0">
                    <a:pos x="588" y="45"/>
                  </a:cxn>
                  <a:cxn ang="0">
                    <a:pos x="564" y="109"/>
                  </a:cxn>
                  <a:cxn ang="0">
                    <a:pos x="559" y="116"/>
                  </a:cxn>
                  <a:cxn ang="0">
                    <a:pos x="592" y="38"/>
                  </a:cxn>
                  <a:cxn ang="0">
                    <a:pos x="522" y="17"/>
                  </a:cxn>
                  <a:cxn ang="0">
                    <a:pos x="467" y="45"/>
                  </a:cxn>
                  <a:cxn ang="0">
                    <a:pos x="496" y="110"/>
                  </a:cxn>
                  <a:cxn ang="0">
                    <a:pos x="477" y="45"/>
                  </a:cxn>
                  <a:cxn ang="0">
                    <a:pos x="440" y="37"/>
                  </a:cxn>
                  <a:cxn ang="0">
                    <a:pos x="353" y="47"/>
                  </a:cxn>
                  <a:cxn ang="0">
                    <a:pos x="392" y="102"/>
                  </a:cxn>
                  <a:cxn ang="0">
                    <a:pos x="354" y="118"/>
                  </a:cxn>
                  <a:cxn ang="0">
                    <a:pos x="392" y="38"/>
                  </a:cxn>
                  <a:cxn ang="0">
                    <a:pos x="212" y="47"/>
                  </a:cxn>
                  <a:cxn ang="0">
                    <a:pos x="267" y="117"/>
                  </a:cxn>
                  <a:cxn ang="0">
                    <a:pos x="309" y="60"/>
                  </a:cxn>
                  <a:cxn ang="0">
                    <a:pos x="289" y="36"/>
                  </a:cxn>
                  <a:cxn ang="0">
                    <a:pos x="201" y="117"/>
                  </a:cxn>
                  <a:cxn ang="0">
                    <a:pos x="169" y="76"/>
                  </a:cxn>
                  <a:cxn ang="0">
                    <a:pos x="143" y="71"/>
                  </a:cxn>
                  <a:cxn ang="0">
                    <a:pos x="173" y="42"/>
                  </a:cxn>
                  <a:cxn ang="0">
                    <a:pos x="89" y="0"/>
                  </a:cxn>
                  <a:cxn ang="0">
                    <a:pos x="70" y="117"/>
                  </a:cxn>
                </a:cxnLst>
                <a:rect l="0" t="0" r="r" b="b"/>
                <a:pathLst>
                  <a:path w="1737" h="148">
                    <a:moveTo>
                      <a:pt x="1670" y="117"/>
                    </a:moveTo>
                    <a:cubicBezTo>
                      <a:pt x="1680" y="117"/>
                      <a:pt x="1680" y="117"/>
                      <a:pt x="1680" y="117"/>
                    </a:cubicBezTo>
                    <a:cubicBezTo>
                      <a:pt x="1680" y="47"/>
                      <a:pt x="1680" y="47"/>
                      <a:pt x="1680" y="47"/>
                    </a:cubicBezTo>
                    <a:cubicBezTo>
                      <a:pt x="1683" y="46"/>
                      <a:pt x="1686" y="45"/>
                      <a:pt x="1690" y="44"/>
                    </a:cubicBezTo>
                    <a:cubicBezTo>
                      <a:pt x="1694" y="43"/>
                      <a:pt x="1698" y="43"/>
                      <a:pt x="1703" y="43"/>
                    </a:cubicBezTo>
                    <a:cubicBezTo>
                      <a:pt x="1712" y="43"/>
                      <a:pt x="1718" y="45"/>
                      <a:pt x="1721" y="51"/>
                    </a:cubicBezTo>
                    <a:cubicBezTo>
                      <a:pt x="1725" y="56"/>
                      <a:pt x="1726" y="64"/>
                      <a:pt x="1726" y="75"/>
                    </a:cubicBezTo>
                    <a:cubicBezTo>
                      <a:pt x="1726" y="117"/>
                      <a:pt x="1726" y="117"/>
                      <a:pt x="1726" y="117"/>
                    </a:cubicBezTo>
                    <a:cubicBezTo>
                      <a:pt x="1737" y="117"/>
                      <a:pt x="1737" y="117"/>
                      <a:pt x="1737" y="117"/>
                    </a:cubicBezTo>
                    <a:cubicBezTo>
                      <a:pt x="1737" y="75"/>
                      <a:pt x="1737" y="75"/>
                      <a:pt x="1737" y="75"/>
                    </a:cubicBezTo>
                    <a:cubicBezTo>
                      <a:pt x="1737" y="69"/>
                      <a:pt x="1737" y="63"/>
                      <a:pt x="1736" y="58"/>
                    </a:cubicBezTo>
                    <a:cubicBezTo>
                      <a:pt x="1734" y="53"/>
                      <a:pt x="1732" y="49"/>
                      <a:pt x="1730" y="45"/>
                    </a:cubicBezTo>
                    <a:cubicBezTo>
                      <a:pt x="1727" y="42"/>
                      <a:pt x="1723" y="40"/>
                      <a:pt x="1719" y="38"/>
                    </a:cubicBezTo>
                    <a:cubicBezTo>
                      <a:pt x="1715" y="37"/>
                      <a:pt x="1709" y="36"/>
                      <a:pt x="1703" y="36"/>
                    </a:cubicBezTo>
                    <a:cubicBezTo>
                      <a:pt x="1697" y="36"/>
                      <a:pt x="1692" y="36"/>
                      <a:pt x="1686" y="37"/>
                    </a:cubicBezTo>
                    <a:cubicBezTo>
                      <a:pt x="1681" y="39"/>
                      <a:pt x="1676" y="40"/>
                      <a:pt x="1670" y="43"/>
                    </a:cubicBezTo>
                    <a:lnTo>
                      <a:pt x="1670" y="117"/>
                    </a:lnTo>
                    <a:close/>
                    <a:moveTo>
                      <a:pt x="1637" y="117"/>
                    </a:moveTo>
                    <a:cubicBezTo>
                      <a:pt x="1648" y="117"/>
                      <a:pt x="1648" y="117"/>
                      <a:pt x="1648" y="117"/>
                    </a:cubicBezTo>
                    <a:cubicBezTo>
                      <a:pt x="1648" y="37"/>
                      <a:pt x="1648" y="37"/>
                      <a:pt x="1648" y="37"/>
                    </a:cubicBezTo>
                    <a:cubicBezTo>
                      <a:pt x="1637" y="37"/>
                      <a:pt x="1637" y="37"/>
                      <a:pt x="1637" y="37"/>
                    </a:cubicBezTo>
                    <a:lnTo>
                      <a:pt x="1637" y="117"/>
                    </a:lnTo>
                    <a:close/>
                    <a:moveTo>
                      <a:pt x="1637" y="17"/>
                    </a:moveTo>
                    <a:cubicBezTo>
                      <a:pt x="1648" y="17"/>
                      <a:pt x="1648" y="17"/>
                      <a:pt x="1648" y="17"/>
                    </a:cubicBezTo>
                    <a:cubicBezTo>
                      <a:pt x="1648" y="6"/>
                      <a:pt x="1648" y="6"/>
                      <a:pt x="1648" y="6"/>
                    </a:cubicBezTo>
                    <a:cubicBezTo>
                      <a:pt x="1637" y="6"/>
                      <a:pt x="1637" y="6"/>
                      <a:pt x="1637" y="6"/>
                    </a:cubicBezTo>
                    <a:lnTo>
                      <a:pt x="1637" y="17"/>
                    </a:lnTo>
                    <a:close/>
                    <a:moveTo>
                      <a:pt x="1568" y="109"/>
                    </a:moveTo>
                    <a:cubicBezTo>
                      <a:pt x="1565" y="108"/>
                      <a:pt x="1562" y="106"/>
                      <a:pt x="1560" y="103"/>
                    </a:cubicBezTo>
                    <a:cubicBezTo>
                      <a:pt x="1558" y="100"/>
                      <a:pt x="1557" y="97"/>
                      <a:pt x="1556" y="92"/>
                    </a:cubicBezTo>
                    <a:cubicBezTo>
                      <a:pt x="1556" y="88"/>
                      <a:pt x="1556" y="82"/>
                      <a:pt x="1556" y="76"/>
                    </a:cubicBezTo>
                    <a:cubicBezTo>
                      <a:pt x="1556" y="69"/>
                      <a:pt x="1556" y="64"/>
                      <a:pt x="1557" y="60"/>
                    </a:cubicBezTo>
                    <a:cubicBezTo>
                      <a:pt x="1558" y="56"/>
                      <a:pt x="1559" y="52"/>
                      <a:pt x="1561" y="50"/>
                    </a:cubicBezTo>
                    <a:cubicBezTo>
                      <a:pt x="1563" y="47"/>
                      <a:pt x="1566" y="46"/>
                      <a:pt x="1569" y="45"/>
                    </a:cubicBezTo>
                    <a:cubicBezTo>
                      <a:pt x="1572" y="44"/>
                      <a:pt x="1576" y="43"/>
                      <a:pt x="1581" y="43"/>
                    </a:cubicBezTo>
                    <a:cubicBezTo>
                      <a:pt x="1585" y="43"/>
                      <a:pt x="1588" y="44"/>
                      <a:pt x="1592" y="45"/>
                    </a:cubicBezTo>
                    <a:cubicBezTo>
                      <a:pt x="1595" y="46"/>
                      <a:pt x="1597" y="48"/>
                      <a:pt x="1599" y="50"/>
                    </a:cubicBezTo>
                    <a:cubicBezTo>
                      <a:pt x="1602" y="53"/>
                      <a:pt x="1603" y="56"/>
                      <a:pt x="1604" y="61"/>
                    </a:cubicBezTo>
                    <a:cubicBezTo>
                      <a:pt x="1605" y="65"/>
                      <a:pt x="1606" y="70"/>
                      <a:pt x="1606" y="76"/>
                    </a:cubicBezTo>
                    <a:cubicBezTo>
                      <a:pt x="1606" y="82"/>
                      <a:pt x="1606" y="87"/>
                      <a:pt x="1605" y="92"/>
                    </a:cubicBezTo>
                    <a:cubicBezTo>
                      <a:pt x="1605" y="96"/>
                      <a:pt x="1603" y="100"/>
                      <a:pt x="1602" y="103"/>
                    </a:cubicBezTo>
                    <a:cubicBezTo>
                      <a:pt x="1600" y="106"/>
                      <a:pt x="1597" y="108"/>
                      <a:pt x="1594" y="109"/>
                    </a:cubicBezTo>
                    <a:cubicBezTo>
                      <a:pt x="1591" y="110"/>
                      <a:pt x="1587" y="111"/>
                      <a:pt x="1581" y="111"/>
                    </a:cubicBezTo>
                    <a:cubicBezTo>
                      <a:pt x="1576" y="111"/>
                      <a:pt x="1571" y="111"/>
                      <a:pt x="1568" y="109"/>
                    </a:cubicBezTo>
                    <a:close/>
                    <a:moveTo>
                      <a:pt x="1581" y="36"/>
                    </a:moveTo>
                    <a:cubicBezTo>
                      <a:pt x="1575" y="36"/>
                      <a:pt x="1569" y="36"/>
                      <a:pt x="1565" y="38"/>
                    </a:cubicBezTo>
                    <a:cubicBezTo>
                      <a:pt x="1560" y="39"/>
                      <a:pt x="1557" y="41"/>
                      <a:pt x="1554" y="45"/>
                    </a:cubicBezTo>
                    <a:cubicBezTo>
                      <a:pt x="1551" y="48"/>
                      <a:pt x="1548" y="52"/>
                      <a:pt x="1547" y="57"/>
                    </a:cubicBezTo>
                    <a:cubicBezTo>
                      <a:pt x="1546" y="62"/>
                      <a:pt x="1545" y="68"/>
                      <a:pt x="1545" y="75"/>
                    </a:cubicBezTo>
                    <a:cubicBezTo>
                      <a:pt x="1545" y="83"/>
                      <a:pt x="1545" y="90"/>
                      <a:pt x="1547" y="95"/>
                    </a:cubicBezTo>
                    <a:cubicBezTo>
                      <a:pt x="1548" y="101"/>
                      <a:pt x="1550" y="105"/>
                      <a:pt x="1552" y="109"/>
                    </a:cubicBezTo>
                    <a:cubicBezTo>
                      <a:pt x="1555" y="112"/>
                      <a:pt x="1559" y="114"/>
                      <a:pt x="1563" y="116"/>
                    </a:cubicBezTo>
                    <a:cubicBezTo>
                      <a:pt x="1568" y="118"/>
                      <a:pt x="1574" y="118"/>
                      <a:pt x="1581" y="118"/>
                    </a:cubicBezTo>
                    <a:cubicBezTo>
                      <a:pt x="1588" y="118"/>
                      <a:pt x="1594" y="117"/>
                      <a:pt x="1599" y="116"/>
                    </a:cubicBezTo>
                    <a:cubicBezTo>
                      <a:pt x="1603" y="114"/>
                      <a:pt x="1607" y="111"/>
                      <a:pt x="1610" y="108"/>
                    </a:cubicBezTo>
                    <a:cubicBezTo>
                      <a:pt x="1612" y="104"/>
                      <a:pt x="1614" y="100"/>
                      <a:pt x="1615" y="95"/>
                    </a:cubicBezTo>
                    <a:cubicBezTo>
                      <a:pt x="1616" y="89"/>
                      <a:pt x="1617" y="83"/>
                      <a:pt x="1617" y="76"/>
                    </a:cubicBezTo>
                    <a:cubicBezTo>
                      <a:pt x="1617" y="69"/>
                      <a:pt x="1616" y="63"/>
                      <a:pt x="1614" y="57"/>
                    </a:cubicBezTo>
                    <a:cubicBezTo>
                      <a:pt x="1613" y="52"/>
                      <a:pt x="1610" y="48"/>
                      <a:pt x="1607" y="45"/>
                    </a:cubicBezTo>
                    <a:cubicBezTo>
                      <a:pt x="1604" y="42"/>
                      <a:pt x="1601" y="40"/>
                      <a:pt x="1596" y="38"/>
                    </a:cubicBezTo>
                    <a:cubicBezTo>
                      <a:pt x="1592" y="37"/>
                      <a:pt x="1587" y="36"/>
                      <a:pt x="1581" y="36"/>
                    </a:cubicBezTo>
                    <a:close/>
                    <a:moveTo>
                      <a:pt x="1516" y="117"/>
                    </a:moveTo>
                    <a:cubicBezTo>
                      <a:pt x="1526" y="117"/>
                      <a:pt x="1526" y="117"/>
                      <a:pt x="1526" y="117"/>
                    </a:cubicBezTo>
                    <a:cubicBezTo>
                      <a:pt x="1526" y="5"/>
                      <a:pt x="1526" y="5"/>
                      <a:pt x="1526" y="5"/>
                    </a:cubicBezTo>
                    <a:cubicBezTo>
                      <a:pt x="1516" y="5"/>
                      <a:pt x="1516" y="5"/>
                      <a:pt x="1516" y="5"/>
                    </a:cubicBezTo>
                    <a:lnTo>
                      <a:pt x="1516" y="117"/>
                    </a:lnTo>
                    <a:close/>
                    <a:moveTo>
                      <a:pt x="1408" y="115"/>
                    </a:moveTo>
                    <a:cubicBezTo>
                      <a:pt x="1412" y="116"/>
                      <a:pt x="1415" y="116"/>
                      <a:pt x="1419" y="117"/>
                    </a:cubicBezTo>
                    <a:cubicBezTo>
                      <a:pt x="1422" y="117"/>
                      <a:pt x="1426" y="117"/>
                      <a:pt x="1429" y="117"/>
                    </a:cubicBezTo>
                    <a:cubicBezTo>
                      <a:pt x="1432" y="117"/>
                      <a:pt x="1432" y="117"/>
                      <a:pt x="1432" y="117"/>
                    </a:cubicBezTo>
                    <a:cubicBezTo>
                      <a:pt x="1434" y="117"/>
                      <a:pt x="1437" y="117"/>
                      <a:pt x="1440" y="117"/>
                    </a:cubicBezTo>
                    <a:cubicBezTo>
                      <a:pt x="1443" y="116"/>
                      <a:pt x="1446" y="115"/>
                      <a:pt x="1448" y="114"/>
                    </a:cubicBezTo>
                    <a:cubicBezTo>
                      <a:pt x="1451" y="113"/>
                      <a:pt x="1453" y="111"/>
                      <a:pt x="1455" y="108"/>
                    </a:cubicBezTo>
                    <a:cubicBezTo>
                      <a:pt x="1457" y="106"/>
                      <a:pt x="1457" y="102"/>
                      <a:pt x="1457" y="98"/>
                    </a:cubicBezTo>
                    <a:cubicBezTo>
                      <a:pt x="1457" y="96"/>
                      <a:pt x="1457" y="94"/>
                      <a:pt x="1456" y="91"/>
                    </a:cubicBezTo>
                    <a:cubicBezTo>
                      <a:pt x="1455" y="88"/>
                      <a:pt x="1453" y="85"/>
                      <a:pt x="1450" y="83"/>
                    </a:cubicBezTo>
                    <a:cubicBezTo>
                      <a:pt x="1449" y="82"/>
                      <a:pt x="1448" y="81"/>
                      <a:pt x="1447" y="80"/>
                    </a:cubicBezTo>
                    <a:cubicBezTo>
                      <a:pt x="1445" y="79"/>
                      <a:pt x="1444" y="78"/>
                      <a:pt x="1442" y="77"/>
                    </a:cubicBezTo>
                    <a:cubicBezTo>
                      <a:pt x="1440" y="76"/>
                      <a:pt x="1438" y="74"/>
                      <a:pt x="1436" y="73"/>
                    </a:cubicBezTo>
                    <a:cubicBezTo>
                      <a:pt x="1434" y="72"/>
                      <a:pt x="1432" y="70"/>
                      <a:pt x="1430" y="69"/>
                    </a:cubicBezTo>
                    <a:cubicBezTo>
                      <a:pt x="1426" y="67"/>
                      <a:pt x="1424" y="64"/>
                      <a:pt x="1422" y="62"/>
                    </a:cubicBezTo>
                    <a:cubicBezTo>
                      <a:pt x="1421" y="61"/>
                      <a:pt x="1420" y="58"/>
                      <a:pt x="1420" y="55"/>
                    </a:cubicBezTo>
                    <a:cubicBezTo>
                      <a:pt x="1420" y="53"/>
                      <a:pt x="1420" y="53"/>
                      <a:pt x="1420" y="53"/>
                    </a:cubicBezTo>
                    <a:cubicBezTo>
                      <a:pt x="1420" y="50"/>
                      <a:pt x="1422" y="48"/>
                      <a:pt x="1424" y="46"/>
                    </a:cubicBezTo>
                    <a:cubicBezTo>
                      <a:pt x="1426" y="44"/>
                      <a:pt x="1430" y="43"/>
                      <a:pt x="1435" y="43"/>
                    </a:cubicBezTo>
                    <a:cubicBezTo>
                      <a:pt x="1438" y="43"/>
                      <a:pt x="1438" y="43"/>
                      <a:pt x="1438" y="43"/>
                    </a:cubicBezTo>
                    <a:cubicBezTo>
                      <a:pt x="1441" y="43"/>
                      <a:pt x="1444" y="43"/>
                      <a:pt x="1446" y="43"/>
                    </a:cubicBezTo>
                    <a:cubicBezTo>
                      <a:pt x="1449" y="43"/>
                      <a:pt x="1452" y="44"/>
                      <a:pt x="1456" y="44"/>
                    </a:cubicBezTo>
                    <a:cubicBezTo>
                      <a:pt x="1457" y="37"/>
                      <a:pt x="1457" y="37"/>
                      <a:pt x="1457" y="37"/>
                    </a:cubicBezTo>
                    <a:cubicBezTo>
                      <a:pt x="1455" y="37"/>
                      <a:pt x="1453" y="37"/>
                      <a:pt x="1451" y="37"/>
                    </a:cubicBezTo>
                    <a:cubicBezTo>
                      <a:pt x="1449" y="36"/>
                      <a:pt x="1448" y="36"/>
                      <a:pt x="1446" y="36"/>
                    </a:cubicBezTo>
                    <a:cubicBezTo>
                      <a:pt x="1444" y="36"/>
                      <a:pt x="1443" y="36"/>
                      <a:pt x="1441" y="36"/>
                    </a:cubicBezTo>
                    <a:cubicBezTo>
                      <a:pt x="1439" y="36"/>
                      <a:pt x="1437" y="36"/>
                      <a:pt x="1435" y="36"/>
                    </a:cubicBezTo>
                    <a:cubicBezTo>
                      <a:pt x="1431" y="36"/>
                      <a:pt x="1427" y="36"/>
                      <a:pt x="1424" y="37"/>
                    </a:cubicBezTo>
                    <a:cubicBezTo>
                      <a:pt x="1421" y="38"/>
                      <a:pt x="1418" y="39"/>
                      <a:pt x="1416" y="41"/>
                    </a:cubicBezTo>
                    <a:cubicBezTo>
                      <a:pt x="1414" y="42"/>
                      <a:pt x="1412" y="44"/>
                      <a:pt x="1411" y="46"/>
                    </a:cubicBezTo>
                    <a:cubicBezTo>
                      <a:pt x="1410" y="48"/>
                      <a:pt x="1410" y="50"/>
                      <a:pt x="1410" y="52"/>
                    </a:cubicBezTo>
                    <a:cubicBezTo>
                      <a:pt x="1410" y="55"/>
                      <a:pt x="1410" y="55"/>
                      <a:pt x="1410" y="55"/>
                    </a:cubicBezTo>
                    <a:cubicBezTo>
                      <a:pt x="1410" y="57"/>
                      <a:pt x="1410" y="59"/>
                      <a:pt x="1410" y="61"/>
                    </a:cubicBezTo>
                    <a:cubicBezTo>
                      <a:pt x="1411" y="63"/>
                      <a:pt x="1412" y="65"/>
                      <a:pt x="1413" y="66"/>
                    </a:cubicBezTo>
                    <a:cubicBezTo>
                      <a:pt x="1414" y="68"/>
                      <a:pt x="1416" y="70"/>
                      <a:pt x="1417" y="71"/>
                    </a:cubicBezTo>
                    <a:cubicBezTo>
                      <a:pt x="1419" y="72"/>
                      <a:pt x="1421" y="74"/>
                      <a:pt x="1424" y="75"/>
                    </a:cubicBezTo>
                    <a:cubicBezTo>
                      <a:pt x="1425" y="77"/>
                      <a:pt x="1427" y="78"/>
                      <a:pt x="1429" y="79"/>
                    </a:cubicBezTo>
                    <a:cubicBezTo>
                      <a:pt x="1431" y="80"/>
                      <a:pt x="1433" y="82"/>
                      <a:pt x="1435" y="83"/>
                    </a:cubicBezTo>
                    <a:cubicBezTo>
                      <a:pt x="1436" y="84"/>
                      <a:pt x="1438" y="85"/>
                      <a:pt x="1439" y="86"/>
                    </a:cubicBezTo>
                    <a:cubicBezTo>
                      <a:pt x="1440" y="87"/>
                      <a:pt x="1441" y="88"/>
                      <a:pt x="1442" y="89"/>
                    </a:cubicBezTo>
                    <a:cubicBezTo>
                      <a:pt x="1444" y="90"/>
                      <a:pt x="1445" y="92"/>
                      <a:pt x="1446" y="94"/>
                    </a:cubicBezTo>
                    <a:cubicBezTo>
                      <a:pt x="1446" y="95"/>
                      <a:pt x="1447" y="97"/>
                      <a:pt x="1447" y="99"/>
                    </a:cubicBezTo>
                    <a:cubicBezTo>
                      <a:pt x="1447" y="101"/>
                      <a:pt x="1446" y="103"/>
                      <a:pt x="1446" y="105"/>
                    </a:cubicBezTo>
                    <a:cubicBezTo>
                      <a:pt x="1445" y="107"/>
                      <a:pt x="1444" y="108"/>
                      <a:pt x="1442" y="109"/>
                    </a:cubicBezTo>
                    <a:cubicBezTo>
                      <a:pt x="1441" y="109"/>
                      <a:pt x="1439" y="110"/>
                      <a:pt x="1437" y="110"/>
                    </a:cubicBezTo>
                    <a:cubicBezTo>
                      <a:pt x="1435" y="111"/>
                      <a:pt x="1433" y="111"/>
                      <a:pt x="1431" y="111"/>
                    </a:cubicBezTo>
                    <a:cubicBezTo>
                      <a:pt x="1428" y="111"/>
                      <a:pt x="1428" y="111"/>
                      <a:pt x="1428" y="111"/>
                    </a:cubicBezTo>
                    <a:cubicBezTo>
                      <a:pt x="1426" y="111"/>
                      <a:pt x="1423" y="111"/>
                      <a:pt x="1420" y="110"/>
                    </a:cubicBezTo>
                    <a:cubicBezTo>
                      <a:pt x="1417" y="110"/>
                      <a:pt x="1413" y="109"/>
                      <a:pt x="1409" y="109"/>
                    </a:cubicBezTo>
                    <a:lnTo>
                      <a:pt x="1408" y="115"/>
                    </a:lnTo>
                    <a:close/>
                    <a:moveTo>
                      <a:pt x="1390" y="37"/>
                    </a:moveTo>
                    <a:cubicBezTo>
                      <a:pt x="1379" y="37"/>
                      <a:pt x="1379" y="37"/>
                      <a:pt x="1379" y="37"/>
                    </a:cubicBezTo>
                    <a:cubicBezTo>
                      <a:pt x="1379" y="107"/>
                      <a:pt x="1379" y="107"/>
                      <a:pt x="1379" y="107"/>
                    </a:cubicBezTo>
                    <a:cubicBezTo>
                      <a:pt x="1376" y="108"/>
                      <a:pt x="1373" y="109"/>
                      <a:pt x="1369" y="110"/>
                    </a:cubicBezTo>
                    <a:cubicBezTo>
                      <a:pt x="1366" y="111"/>
                      <a:pt x="1362" y="111"/>
                      <a:pt x="1359" y="111"/>
                    </a:cubicBezTo>
                    <a:cubicBezTo>
                      <a:pt x="1350" y="111"/>
                      <a:pt x="1344" y="109"/>
                      <a:pt x="1340" y="104"/>
                    </a:cubicBezTo>
                    <a:cubicBezTo>
                      <a:pt x="1337" y="99"/>
                      <a:pt x="1335" y="90"/>
                      <a:pt x="1335" y="79"/>
                    </a:cubicBezTo>
                    <a:cubicBezTo>
                      <a:pt x="1335" y="38"/>
                      <a:pt x="1335" y="38"/>
                      <a:pt x="1335" y="38"/>
                    </a:cubicBezTo>
                    <a:cubicBezTo>
                      <a:pt x="1324" y="38"/>
                      <a:pt x="1324" y="38"/>
                      <a:pt x="1324" y="38"/>
                    </a:cubicBezTo>
                    <a:cubicBezTo>
                      <a:pt x="1324" y="79"/>
                      <a:pt x="1324" y="79"/>
                      <a:pt x="1324" y="79"/>
                    </a:cubicBezTo>
                    <a:cubicBezTo>
                      <a:pt x="1324" y="86"/>
                      <a:pt x="1325" y="92"/>
                      <a:pt x="1326" y="97"/>
                    </a:cubicBezTo>
                    <a:cubicBezTo>
                      <a:pt x="1327" y="102"/>
                      <a:pt x="1329" y="106"/>
                      <a:pt x="1332" y="109"/>
                    </a:cubicBezTo>
                    <a:cubicBezTo>
                      <a:pt x="1335" y="112"/>
                      <a:pt x="1338" y="114"/>
                      <a:pt x="1343" y="116"/>
                    </a:cubicBezTo>
                    <a:cubicBezTo>
                      <a:pt x="1347" y="118"/>
                      <a:pt x="1352" y="118"/>
                      <a:pt x="1359" y="118"/>
                    </a:cubicBezTo>
                    <a:cubicBezTo>
                      <a:pt x="1363" y="118"/>
                      <a:pt x="1368" y="118"/>
                      <a:pt x="1373" y="117"/>
                    </a:cubicBezTo>
                    <a:cubicBezTo>
                      <a:pt x="1378" y="116"/>
                      <a:pt x="1384" y="114"/>
                      <a:pt x="1390" y="112"/>
                    </a:cubicBezTo>
                    <a:lnTo>
                      <a:pt x="1390" y="37"/>
                    </a:lnTo>
                    <a:close/>
                    <a:moveTo>
                      <a:pt x="1293" y="117"/>
                    </a:moveTo>
                    <a:cubicBezTo>
                      <a:pt x="1304" y="117"/>
                      <a:pt x="1304" y="117"/>
                      <a:pt x="1304" y="117"/>
                    </a:cubicBezTo>
                    <a:cubicBezTo>
                      <a:pt x="1304" y="5"/>
                      <a:pt x="1304" y="5"/>
                      <a:pt x="1304" y="5"/>
                    </a:cubicBezTo>
                    <a:cubicBezTo>
                      <a:pt x="1293" y="5"/>
                      <a:pt x="1293" y="5"/>
                      <a:pt x="1293" y="5"/>
                    </a:cubicBezTo>
                    <a:lnTo>
                      <a:pt x="1293" y="117"/>
                    </a:lnTo>
                    <a:close/>
                    <a:moveTo>
                      <a:pt x="1218" y="44"/>
                    </a:moveTo>
                    <a:cubicBezTo>
                      <a:pt x="1220" y="43"/>
                      <a:pt x="1222" y="43"/>
                      <a:pt x="1225" y="43"/>
                    </a:cubicBezTo>
                    <a:cubicBezTo>
                      <a:pt x="1228" y="43"/>
                      <a:pt x="1230" y="43"/>
                      <a:pt x="1232" y="43"/>
                    </a:cubicBezTo>
                    <a:cubicBezTo>
                      <a:pt x="1238" y="43"/>
                      <a:pt x="1243" y="44"/>
                      <a:pt x="1247" y="45"/>
                    </a:cubicBezTo>
                    <a:cubicBezTo>
                      <a:pt x="1251" y="47"/>
                      <a:pt x="1254" y="49"/>
                      <a:pt x="1257" y="52"/>
                    </a:cubicBezTo>
                    <a:cubicBezTo>
                      <a:pt x="1259" y="55"/>
                      <a:pt x="1260" y="58"/>
                      <a:pt x="1261" y="63"/>
                    </a:cubicBezTo>
                    <a:cubicBezTo>
                      <a:pt x="1262" y="67"/>
                      <a:pt x="1262" y="72"/>
                      <a:pt x="1262" y="78"/>
                    </a:cubicBezTo>
                    <a:cubicBezTo>
                      <a:pt x="1262" y="84"/>
                      <a:pt x="1262" y="89"/>
                      <a:pt x="1261" y="93"/>
                    </a:cubicBezTo>
                    <a:cubicBezTo>
                      <a:pt x="1260" y="97"/>
                      <a:pt x="1259" y="101"/>
                      <a:pt x="1258" y="103"/>
                    </a:cubicBezTo>
                    <a:cubicBezTo>
                      <a:pt x="1256" y="106"/>
                      <a:pt x="1254" y="108"/>
                      <a:pt x="1251" y="109"/>
                    </a:cubicBezTo>
                    <a:cubicBezTo>
                      <a:pt x="1249" y="110"/>
                      <a:pt x="1245" y="111"/>
                      <a:pt x="1241" y="111"/>
                    </a:cubicBezTo>
                    <a:cubicBezTo>
                      <a:pt x="1236" y="111"/>
                      <a:pt x="1232" y="111"/>
                      <a:pt x="1228" y="110"/>
                    </a:cubicBezTo>
                    <a:cubicBezTo>
                      <a:pt x="1224" y="109"/>
                      <a:pt x="1220" y="108"/>
                      <a:pt x="1218" y="107"/>
                    </a:cubicBezTo>
                    <a:lnTo>
                      <a:pt x="1218" y="44"/>
                    </a:lnTo>
                    <a:close/>
                    <a:moveTo>
                      <a:pt x="1218" y="114"/>
                    </a:moveTo>
                    <a:cubicBezTo>
                      <a:pt x="1220" y="115"/>
                      <a:pt x="1224" y="116"/>
                      <a:pt x="1228" y="117"/>
                    </a:cubicBezTo>
                    <a:cubicBezTo>
                      <a:pt x="1232" y="118"/>
                      <a:pt x="1236" y="118"/>
                      <a:pt x="1241" y="118"/>
                    </a:cubicBezTo>
                    <a:cubicBezTo>
                      <a:pt x="1247" y="118"/>
                      <a:pt x="1252" y="117"/>
                      <a:pt x="1256" y="116"/>
                    </a:cubicBezTo>
                    <a:cubicBezTo>
                      <a:pt x="1260" y="114"/>
                      <a:pt x="1264" y="112"/>
                      <a:pt x="1266" y="108"/>
                    </a:cubicBezTo>
                    <a:cubicBezTo>
                      <a:pt x="1268" y="105"/>
                      <a:pt x="1270" y="101"/>
                      <a:pt x="1271" y="96"/>
                    </a:cubicBezTo>
                    <a:cubicBezTo>
                      <a:pt x="1272" y="91"/>
                      <a:pt x="1273" y="85"/>
                      <a:pt x="1273" y="79"/>
                    </a:cubicBezTo>
                    <a:cubicBezTo>
                      <a:pt x="1273" y="71"/>
                      <a:pt x="1272" y="65"/>
                      <a:pt x="1271" y="60"/>
                    </a:cubicBezTo>
                    <a:cubicBezTo>
                      <a:pt x="1270" y="54"/>
                      <a:pt x="1267" y="50"/>
                      <a:pt x="1264" y="46"/>
                    </a:cubicBezTo>
                    <a:cubicBezTo>
                      <a:pt x="1261" y="43"/>
                      <a:pt x="1257" y="40"/>
                      <a:pt x="1251" y="38"/>
                    </a:cubicBezTo>
                    <a:cubicBezTo>
                      <a:pt x="1246" y="37"/>
                      <a:pt x="1239" y="36"/>
                      <a:pt x="1230" y="36"/>
                    </a:cubicBezTo>
                    <a:cubicBezTo>
                      <a:pt x="1226" y="36"/>
                      <a:pt x="1222" y="36"/>
                      <a:pt x="1219" y="36"/>
                    </a:cubicBezTo>
                    <a:cubicBezTo>
                      <a:pt x="1215" y="36"/>
                      <a:pt x="1211" y="37"/>
                      <a:pt x="1207" y="37"/>
                    </a:cubicBezTo>
                    <a:cubicBezTo>
                      <a:pt x="1207" y="148"/>
                      <a:pt x="1207" y="148"/>
                      <a:pt x="1207" y="148"/>
                    </a:cubicBezTo>
                    <a:cubicBezTo>
                      <a:pt x="1218" y="148"/>
                      <a:pt x="1218" y="148"/>
                      <a:pt x="1218" y="148"/>
                    </a:cubicBezTo>
                    <a:lnTo>
                      <a:pt x="1218" y="114"/>
                    </a:lnTo>
                    <a:close/>
                    <a:moveTo>
                      <a:pt x="1113" y="117"/>
                    </a:moveTo>
                    <a:cubicBezTo>
                      <a:pt x="1124" y="117"/>
                      <a:pt x="1124" y="117"/>
                      <a:pt x="1124" y="117"/>
                    </a:cubicBezTo>
                    <a:cubicBezTo>
                      <a:pt x="1124" y="47"/>
                      <a:pt x="1124" y="47"/>
                      <a:pt x="1124" y="47"/>
                    </a:cubicBezTo>
                    <a:cubicBezTo>
                      <a:pt x="1126" y="46"/>
                      <a:pt x="1130" y="45"/>
                      <a:pt x="1134" y="44"/>
                    </a:cubicBezTo>
                    <a:cubicBezTo>
                      <a:pt x="1138" y="43"/>
                      <a:pt x="1142" y="43"/>
                      <a:pt x="1146" y="43"/>
                    </a:cubicBezTo>
                    <a:cubicBezTo>
                      <a:pt x="1147" y="43"/>
                      <a:pt x="1149" y="43"/>
                      <a:pt x="1150" y="43"/>
                    </a:cubicBezTo>
                    <a:cubicBezTo>
                      <a:pt x="1151" y="43"/>
                      <a:pt x="1152" y="43"/>
                      <a:pt x="1154" y="44"/>
                    </a:cubicBezTo>
                    <a:cubicBezTo>
                      <a:pt x="1155" y="36"/>
                      <a:pt x="1155" y="36"/>
                      <a:pt x="1155" y="36"/>
                    </a:cubicBezTo>
                    <a:cubicBezTo>
                      <a:pt x="1153" y="36"/>
                      <a:pt x="1151" y="36"/>
                      <a:pt x="1150" y="36"/>
                    </a:cubicBezTo>
                    <a:cubicBezTo>
                      <a:pt x="1149" y="36"/>
                      <a:pt x="1148" y="36"/>
                      <a:pt x="1146" y="36"/>
                    </a:cubicBezTo>
                    <a:cubicBezTo>
                      <a:pt x="1141" y="36"/>
                      <a:pt x="1135" y="36"/>
                      <a:pt x="1130" y="38"/>
                    </a:cubicBezTo>
                    <a:cubicBezTo>
                      <a:pt x="1125" y="39"/>
                      <a:pt x="1119" y="40"/>
                      <a:pt x="1113" y="43"/>
                    </a:cubicBezTo>
                    <a:lnTo>
                      <a:pt x="1113" y="117"/>
                    </a:lnTo>
                    <a:close/>
                    <a:moveTo>
                      <a:pt x="1036" y="73"/>
                    </a:moveTo>
                    <a:cubicBezTo>
                      <a:pt x="1036" y="62"/>
                      <a:pt x="1038" y="54"/>
                      <a:pt x="1042" y="50"/>
                    </a:cubicBezTo>
                    <a:cubicBezTo>
                      <a:pt x="1046" y="45"/>
                      <a:pt x="1051" y="43"/>
                      <a:pt x="1059" y="43"/>
                    </a:cubicBezTo>
                    <a:cubicBezTo>
                      <a:pt x="1068" y="43"/>
                      <a:pt x="1074" y="45"/>
                      <a:pt x="1077" y="50"/>
                    </a:cubicBezTo>
                    <a:cubicBezTo>
                      <a:pt x="1081" y="54"/>
                      <a:pt x="1083" y="62"/>
                      <a:pt x="1083" y="73"/>
                    </a:cubicBezTo>
                    <a:lnTo>
                      <a:pt x="1036" y="73"/>
                    </a:lnTo>
                    <a:close/>
                    <a:moveTo>
                      <a:pt x="1090" y="107"/>
                    </a:moveTo>
                    <a:cubicBezTo>
                      <a:pt x="1088" y="107"/>
                      <a:pt x="1086" y="107"/>
                      <a:pt x="1084" y="108"/>
                    </a:cubicBezTo>
                    <a:cubicBezTo>
                      <a:pt x="1081" y="108"/>
                      <a:pt x="1079" y="109"/>
                      <a:pt x="1076" y="109"/>
                    </a:cubicBezTo>
                    <a:cubicBezTo>
                      <a:pt x="1073" y="110"/>
                      <a:pt x="1071" y="110"/>
                      <a:pt x="1068" y="111"/>
                    </a:cubicBezTo>
                    <a:cubicBezTo>
                      <a:pt x="1065" y="111"/>
                      <a:pt x="1063" y="111"/>
                      <a:pt x="1060" y="111"/>
                    </a:cubicBezTo>
                    <a:cubicBezTo>
                      <a:pt x="1056" y="111"/>
                      <a:pt x="1052" y="110"/>
                      <a:pt x="1049" y="109"/>
                    </a:cubicBezTo>
                    <a:cubicBezTo>
                      <a:pt x="1046" y="108"/>
                      <a:pt x="1043" y="106"/>
                      <a:pt x="1041" y="103"/>
                    </a:cubicBezTo>
                    <a:cubicBezTo>
                      <a:pt x="1040" y="101"/>
                      <a:pt x="1038" y="97"/>
                      <a:pt x="1037" y="93"/>
                    </a:cubicBezTo>
                    <a:cubicBezTo>
                      <a:pt x="1037" y="90"/>
                      <a:pt x="1036" y="85"/>
                      <a:pt x="1036" y="80"/>
                    </a:cubicBezTo>
                    <a:cubicBezTo>
                      <a:pt x="1094" y="80"/>
                      <a:pt x="1094" y="80"/>
                      <a:pt x="1094" y="80"/>
                    </a:cubicBezTo>
                    <a:cubicBezTo>
                      <a:pt x="1094" y="74"/>
                      <a:pt x="1094" y="74"/>
                      <a:pt x="1094" y="74"/>
                    </a:cubicBezTo>
                    <a:cubicBezTo>
                      <a:pt x="1094" y="60"/>
                      <a:pt x="1091" y="51"/>
                      <a:pt x="1085" y="45"/>
                    </a:cubicBezTo>
                    <a:cubicBezTo>
                      <a:pt x="1079" y="39"/>
                      <a:pt x="1071" y="36"/>
                      <a:pt x="1059" y="36"/>
                    </a:cubicBezTo>
                    <a:cubicBezTo>
                      <a:pt x="1054" y="36"/>
                      <a:pt x="1049" y="36"/>
                      <a:pt x="1045" y="38"/>
                    </a:cubicBezTo>
                    <a:cubicBezTo>
                      <a:pt x="1041" y="39"/>
                      <a:pt x="1037" y="41"/>
                      <a:pt x="1034" y="45"/>
                    </a:cubicBezTo>
                    <a:cubicBezTo>
                      <a:pt x="1031" y="48"/>
                      <a:pt x="1029" y="52"/>
                      <a:pt x="1028" y="57"/>
                    </a:cubicBezTo>
                    <a:cubicBezTo>
                      <a:pt x="1026" y="63"/>
                      <a:pt x="1025" y="69"/>
                      <a:pt x="1025" y="77"/>
                    </a:cubicBezTo>
                    <a:cubicBezTo>
                      <a:pt x="1025" y="83"/>
                      <a:pt x="1026" y="89"/>
                      <a:pt x="1027" y="94"/>
                    </a:cubicBezTo>
                    <a:cubicBezTo>
                      <a:pt x="1028" y="99"/>
                      <a:pt x="1030" y="104"/>
                      <a:pt x="1032" y="107"/>
                    </a:cubicBezTo>
                    <a:cubicBezTo>
                      <a:pt x="1035" y="111"/>
                      <a:pt x="1039" y="113"/>
                      <a:pt x="1043" y="115"/>
                    </a:cubicBezTo>
                    <a:cubicBezTo>
                      <a:pt x="1048" y="117"/>
                      <a:pt x="1053" y="118"/>
                      <a:pt x="1060" y="118"/>
                    </a:cubicBezTo>
                    <a:cubicBezTo>
                      <a:pt x="1063" y="118"/>
                      <a:pt x="1066" y="118"/>
                      <a:pt x="1068" y="118"/>
                    </a:cubicBezTo>
                    <a:cubicBezTo>
                      <a:pt x="1071" y="117"/>
                      <a:pt x="1074" y="117"/>
                      <a:pt x="1077" y="116"/>
                    </a:cubicBezTo>
                    <a:cubicBezTo>
                      <a:pt x="1080" y="116"/>
                      <a:pt x="1082" y="116"/>
                      <a:pt x="1085" y="115"/>
                    </a:cubicBezTo>
                    <a:cubicBezTo>
                      <a:pt x="1087" y="115"/>
                      <a:pt x="1089" y="114"/>
                      <a:pt x="1091" y="114"/>
                    </a:cubicBezTo>
                    <a:lnTo>
                      <a:pt x="1090" y="107"/>
                    </a:lnTo>
                    <a:close/>
                    <a:moveTo>
                      <a:pt x="996" y="117"/>
                    </a:moveTo>
                    <a:cubicBezTo>
                      <a:pt x="1007" y="117"/>
                      <a:pt x="1007" y="117"/>
                      <a:pt x="1007" y="117"/>
                    </a:cubicBezTo>
                    <a:cubicBezTo>
                      <a:pt x="1007" y="5"/>
                      <a:pt x="1007" y="5"/>
                      <a:pt x="1007" y="5"/>
                    </a:cubicBezTo>
                    <a:cubicBezTo>
                      <a:pt x="996" y="5"/>
                      <a:pt x="996" y="5"/>
                      <a:pt x="996" y="5"/>
                    </a:cubicBezTo>
                    <a:lnTo>
                      <a:pt x="996" y="117"/>
                    </a:lnTo>
                    <a:close/>
                    <a:moveTo>
                      <a:pt x="963" y="117"/>
                    </a:moveTo>
                    <a:cubicBezTo>
                      <a:pt x="974" y="117"/>
                      <a:pt x="974" y="117"/>
                      <a:pt x="974" y="117"/>
                    </a:cubicBezTo>
                    <a:cubicBezTo>
                      <a:pt x="974" y="5"/>
                      <a:pt x="974" y="5"/>
                      <a:pt x="974" y="5"/>
                    </a:cubicBezTo>
                    <a:cubicBezTo>
                      <a:pt x="963" y="5"/>
                      <a:pt x="963" y="5"/>
                      <a:pt x="963" y="5"/>
                    </a:cubicBezTo>
                    <a:lnTo>
                      <a:pt x="963" y="117"/>
                    </a:lnTo>
                    <a:close/>
                    <a:moveTo>
                      <a:pt x="930" y="107"/>
                    </a:moveTo>
                    <a:cubicBezTo>
                      <a:pt x="927" y="108"/>
                      <a:pt x="923" y="108"/>
                      <a:pt x="918" y="109"/>
                    </a:cubicBezTo>
                    <a:cubicBezTo>
                      <a:pt x="913" y="110"/>
                      <a:pt x="908" y="111"/>
                      <a:pt x="903" y="111"/>
                    </a:cubicBezTo>
                    <a:cubicBezTo>
                      <a:pt x="899" y="111"/>
                      <a:pt x="895" y="109"/>
                      <a:pt x="893" y="106"/>
                    </a:cubicBezTo>
                    <a:cubicBezTo>
                      <a:pt x="890" y="103"/>
                      <a:pt x="889" y="99"/>
                      <a:pt x="889" y="94"/>
                    </a:cubicBezTo>
                    <a:cubicBezTo>
                      <a:pt x="889" y="90"/>
                      <a:pt x="890" y="86"/>
                      <a:pt x="893" y="83"/>
                    </a:cubicBezTo>
                    <a:cubicBezTo>
                      <a:pt x="895" y="80"/>
                      <a:pt x="899" y="78"/>
                      <a:pt x="906" y="78"/>
                    </a:cubicBezTo>
                    <a:cubicBezTo>
                      <a:pt x="930" y="76"/>
                      <a:pt x="930" y="76"/>
                      <a:pt x="930" y="76"/>
                    </a:cubicBezTo>
                    <a:lnTo>
                      <a:pt x="930" y="107"/>
                    </a:lnTo>
                    <a:close/>
                    <a:moveTo>
                      <a:pt x="886" y="45"/>
                    </a:moveTo>
                    <a:cubicBezTo>
                      <a:pt x="891" y="45"/>
                      <a:pt x="896" y="44"/>
                      <a:pt x="900" y="44"/>
                    </a:cubicBezTo>
                    <a:cubicBezTo>
                      <a:pt x="905" y="43"/>
                      <a:pt x="909" y="43"/>
                      <a:pt x="913" y="43"/>
                    </a:cubicBezTo>
                    <a:cubicBezTo>
                      <a:pt x="919" y="43"/>
                      <a:pt x="923" y="45"/>
                      <a:pt x="926" y="47"/>
                    </a:cubicBezTo>
                    <a:cubicBezTo>
                      <a:pt x="929" y="50"/>
                      <a:pt x="930" y="54"/>
                      <a:pt x="930" y="61"/>
                    </a:cubicBezTo>
                    <a:cubicBezTo>
                      <a:pt x="930" y="69"/>
                      <a:pt x="930" y="69"/>
                      <a:pt x="930" y="69"/>
                    </a:cubicBezTo>
                    <a:cubicBezTo>
                      <a:pt x="905" y="71"/>
                      <a:pt x="905" y="71"/>
                      <a:pt x="905" y="71"/>
                    </a:cubicBezTo>
                    <a:cubicBezTo>
                      <a:pt x="895" y="72"/>
                      <a:pt x="889" y="74"/>
                      <a:pt x="885" y="78"/>
                    </a:cubicBezTo>
                    <a:cubicBezTo>
                      <a:pt x="881" y="82"/>
                      <a:pt x="879" y="88"/>
                      <a:pt x="879" y="94"/>
                    </a:cubicBezTo>
                    <a:cubicBezTo>
                      <a:pt x="879" y="102"/>
                      <a:pt x="881" y="108"/>
                      <a:pt x="885" y="112"/>
                    </a:cubicBezTo>
                    <a:cubicBezTo>
                      <a:pt x="889" y="116"/>
                      <a:pt x="895" y="118"/>
                      <a:pt x="903" y="118"/>
                    </a:cubicBezTo>
                    <a:cubicBezTo>
                      <a:pt x="911" y="118"/>
                      <a:pt x="918" y="117"/>
                      <a:pt x="924" y="116"/>
                    </a:cubicBezTo>
                    <a:cubicBezTo>
                      <a:pt x="931" y="114"/>
                      <a:pt x="936" y="113"/>
                      <a:pt x="941" y="111"/>
                    </a:cubicBezTo>
                    <a:cubicBezTo>
                      <a:pt x="941" y="61"/>
                      <a:pt x="941" y="61"/>
                      <a:pt x="941" y="61"/>
                    </a:cubicBezTo>
                    <a:cubicBezTo>
                      <a:pt x="941" y="53"/>
                      <a:pt x="939" y="46"/>
                      <a:pt x="934" y="42"/>
                    </a:cubicBezTo>
                    <a:cubicBezTo>
                      <a:pt x="930" y="38"/>
                      <a:pt x="923" y="36"/>
                      <a:pt x="913" y="36"/>
                    </a:cubicBezTo>
                    <a:cubicBezTo>
                      <a:pt x="909" y="36"/>
                      <a:pt x="904" y="36"/>
                      <a:pt x="899" y="36"/>
                    </a:cubicBezTo>
                    <a:cubicBezTo>
                      <a:pt x="894" y="37"/>
                      <a:pt x="889" y="37"/>
                      <a:pt x="884" y="38"/>
                    </a:cubicBezTo>
                    <a:lnTo>
                      <a:pt x="886" y="45"/>
                    </a:lnTo>
                    <a:close/>
                    <a:moveTo>
                      <a:pt x="842" y="34"/>
                    </a:moveTo>
                    <a:cubicBezTo>
                      <a:pt x="852" y="34"/>
                      <a:pt x="852" y="34"/>
                      <a:pt x="852" y="34"/>
                    </a:cubicBezTo>
                    <a:cubicBezTo>
                      <a:pt x="861" y="0"/>
                      <a:pt x="861" y="0"/>
                      <a:pt x="861" y="0"/>
                    </a:cubicBezTo>
                    <a:cubicBezTo>
                      <a:pt x="850" y="0"/>
                      <a:pt x="850" y="0"/>
                      <a:pt x="850" y="0"/>
                    </a:cubicBezTo>
                    <a:lnTo>
                      <a:pt x="842" y="34"/>
                    </a:lnTo>
                    <a:close/>
                    <a:moveTo>
                      <a:pt x="811" y="110"/>
                    </a:moveTo>
                    <a:cubicBezTo>
                      <a:pt x="809" y="110"/>
                      <a:pt x="807" y="111"/>
                      <a:pt x="804" y="111"/>
                    </a:cubicBezTo>
                    <a:cubicBezTo>
                      <a:pt x="802" y="111"/>
                      <a:pt x="799" y="111"/>
                      <a:pt x="798" y="111"/>
                    </a:cubicBezTo>
                    <a:cubicBezTo>
                      <a:pt x="791" y="111"/>
                      <a:pt x="786" y="110"/>
                      <a:pt x="782" y="109"/>
                    </a:cubicBezTo>
                    <a:cubicBezTo>
                      <a:pt x="778" y="107"/>
                      <a:pt x="775" y="105"/>
                      <a:pt x="773" y="102"/>
                    </a:cubicBezTo>
                    <a:cubicBezTo>
                      <a:pt x="771" y="99"/>
                      <a:pt x="769" y="95"/>
                      <a:pt x="768" y="91"/>
                    </a:cubicBezTo>
                    <a:cubicBezTo>
                      <a:pt x="768" y="87"/>
                      <a:pt x="767" y="81"/>
                      <a:pt x="767" y="76"/>
                    </a:cubicBezTo>
                    <a:cubicBezTo>
                      <a:pt x="767" y="70"/>
                      <a:pt x="768" y="65"/>
                      <a:pt x="768" y="61"/>
                    </a:cubicBezTo>
                    <a:cubicBezTo>
                      <a:pt x="769" y="57"/>
                      <a:pt x="770" y="53"/>
                      <a:pt x="771" y="51"/>
                    </a:cubicBezTo>
                    <a:cubicBezTo>
                      <a:pt x="773" y="48"/>
                      <a:pt x="775" y="46"/>
                      <a:pt x="778" y="45"/>
                    </a:cubicBezTo>
                    <a:cubicBezTo>
                      <a:pt x="781" y="44"/>
                      <a:pt x="784" y="43"/>
                      <a:pt x="789" y="43"/>
                    </a:cubicBezTo>
                    <a:cubicBezTo>
                      <a:pt x="793" y="43"/>
                      <a:pt x="797" y="43"/>
                      <a:pt x="801" y="44"/>
                    </a:cubicBezTo>
                    <a:cubicBezTo>
                      <a:pt x="805" y="45"/>
                      <a:pt x="809" y="46"/>
                      <a:pt x="811" y="47"/>
                    </a:cubicBezTo>
                    <a:lnTo>
                      <a:pt x="811" y="110"/>
                    </a:lnTo>
                    <a:close/>
                    <a:moveTo>
                      <a:pt x="811" y="40"/>
                    </a:moveTo>
                    <a:cubicBezTo>
                      <a:pt x="809" y="39"/>
                      <a:pt x="805" y="38"/>
                      <a:pt x="801" y="37"/>
                    </a:cubicBezTo>
                    <a:cubicBezTo>
                      <a:pt x="797" y="36"/>
                      <a:pt x="793" y="36"/>
                      <a:pt x="789" y="36"/>
                    </a:cubicBezTo>
                    <a:cubicBezTo>
                      <a:pt x="782" y="36"/>
                      <a:pt x="777" y="37"/>
                      <a:pt x="773" y="38"/>
                    </a:cubicBezTo>
                    <a:cubicBezTo>
                      <a:pt x="769" y="40"/>
                      <a:pt x="766" y="42"/>
                      <a:pt x="763" y="45"/>
                    </a:cubicBezTo>
                    <a:cubicBezTo>
                      <a:pt x="761" y="49"/>
                      <a:pt x="759" y="53"/>
                      <a:pt x="758" y="58"/>
                    </a:cubicBezTo>
                    <a:cubicBezTo>
                      <a:pt x="757" y="63"/>
                      <a:pt x="757" y="69"/>
                      <a:pt x="757" y="75"/>
                    </a:cubicBezTo>
                    <a:cubicBezTo>
                      <a:pt x="757" y="83"/>
                      <a:pt x="757" y="89"/>
                      <a:pt x="758" y="94"/>
                    </a:cubicBezTo>
                    <a:cubicBezTo>
                      <a:pt x="760" y="100"/>
                      <a:pt x="762" y="104"/>
                      <a:pt x="765" y="108"/>
                    </a:cubicBezTo>
                    <a:cubicBezTo>
                      <a:pt x="768" y="111"/>
                      <a:pt x="772" y="114"/>
                      <a:pt x="778" y="116"/>
                    </a:cubicBezTo>
                    <a:cubicBezTo>
                      <a:pt x="783" y="117"/>
                      <a:pt x="790" y="118"/>
                      <a:pt x="799" y="118"/>
                    </a:cubicBezTo>
                    <a:cubicBezTo>
                      <a:pt x="803" y="118"/>
                      <a:pt x="807" y="118"/>
                      <a:pt x="811" y="118"/>
                    </a:cubicBezTo>
                    <a:cubicBezTo>
                      <a:pt x="814" y="117"/>
                      <a:pt x="818" y="117"/>
                      <a:pt x="822" y="117"/>
                    </a:cubicBezTo>
                    <a:cubicBezTo>
                      <a:pt x="822" y="5"/>
                      <a:pt x="822" y="5"/>
                      <a:pt x="822" y="5"/>
                    </a:cubicBezTo>
                    <a:cubicBezTo>
                      <a:pt x="811" y="5"/>
                      <a:pt x="811" y="5"/>
                      <a:pt x="811" y="5"/>
                    </a:cubicBezTo>
                    <a:lnTo>
                      <a:pt x="811" y="40"/>
                    </a:lnTo>
                    <a:close/>
                    <a:moveTo>
                      <a:pt x="633" y="117"/>
                    </a:moveTo>
                    <a:cubicBezTo>
                      <a:pt x="643" y="117"/>
                      <a:pt x="643" y="117"/>
                      <a:pt x="643" y="117"/>
                    </a:cubicBezTo>
                    <a:cubicBezTo>
                      <a:pt x="643" y="47"/>
                      <a:pt x="643" y="47"/>
                      <a:pt x="643" y="47"/>
                    </a:cubicBezTo>
                    <a:cubicBezTo>
                      <a:pt x="646" y="46"/>
                      <a:pt x="649" y="45"/>
                      <a:pt x="653" y="44"/>
                    </a:cubicBezTo>
                    <a:cubicBezTo>
                      <a:pt x="657" y="43"/>
                      <a:pt x="661" y="43"/>
                      <a:pt x="666" y="43"/>
                    </a:cubicBezTo>
                    <a:cubicBezTo>
                      <a:pt x="675" y="43"/>
                      <a:pt x="681" y="45"/>
                      <a:pt x="684" y="51"/>
                    </a:cubicBezTo>
                    <a:cubicBezTo>
                      <a:pt x="688" y="56"/>
                      <a:pt x="689" y="64"/>
                      <a:pt x="689" y="75"/>
                    </a:cubicBezTo>
                    <a:cubicBezTo>
                      <a:pt x="689" y="117"/>
                      <a:pt x="689" y="117"/>
                      <a:pt x="689" y="117"/>
                    </a:cubicBezTo>
                    <a:cubicBezTo>
                      <a:pt x="700" y="117"/>
                      <a:pt x="700" y="117"/>
                      <a:pt x="700" y="117"/>
                    </a:cubicBezTo>
                    <a:cubicBezTo>
                      <a:pt x="700" y="75"/>
                      <a:pt x="700" y="75"/>
                      <a:pt x="700" y="75"/>
                    </a:cubicBezTo>
                    <a:cubicBezTo>
                      <a:pt x="700" y="69"/>
                      <a:pt x="700" y="63"/>
                      <a:pt x="698" y="58"/>
                    </a:cubicBezTo>
                    <a:cubicBezTo>
                      <a:pt x="697" y="53"/>
                      <a:pt x="695" y="49"/>
                      <a:pt x="693" y="45"/>
                    </a:cubicBezTo>
                    <a:cubicBezTo>
                      <a:pt x="690" y="42"/>
                      <a:pt x="686" y="40"/>
                      <a:pt x="682" y="38"/>
                    </a:cubicBezTo>
                    <a:cubicBezTo>
                      <a:pt x="677" y="37"/>
                      <a:pt x="672" y="36"/>
                      <a:pt x="666" y="36"/>
                    </a:cubicBezTo>
                    <a:cubicBezTo>
                      <a:pt x="660" y="36"/>
                      <a:pt x="654" y="36"/>
                      <a:pt x="649" y="37"/>
                    </a:cubicBezTo>
                    <a:cubicBezTo>
                      <a:pt x="644" y="39"/>
                      <a:pt x="639" y="40"/>
                      <a:pt x="632" y="43"/>
                    </a:cubicBezTo>
                    <a:lnTo>
                      <a:pt x="633" y="117"/>
                    </a:lnTo>
                    <a:close/>
                    <a:moveTo>
                      <a:pt x="564" y="109"/>
                    </a:moveTo>
                    <a:cubicBezTo>
                      <a:pt x="561" y="108"/>
                      <a:pt x="558" y="106"/>
                      <a:pt x="556" y="103"/>
                    </a:cubicBezTo>
                    <a:cubicBezTo>
                      <a:pt x="554" y="100"/>
                      <a:pt x="553" y="97"/>
                      <a:pt x="552" y="92"/>
                    </a:cubicBezTo>
                    <a:cubicBezTo>
                      <a:pt x="552" y="88"/>
                      <a:pt x="551" y="82"/>
                      <a:pt x="551" y="76"/>
                    </a:cubicBezTo>
                    <a:cubicBezTo>
                      <a:pt x="551" y="69"/>
                      <a:pt x="552" y="64"/>
                      <a:pt x="553" y="60"/>
                    </a:cubicBezTo>
                    <a:cubicBezTo>
                      <a:pt x="554" y="56"/>
                      <a:pt x="555" y="52"/>
                      <a:pt x="557" y="50"/>
                    </a:cubicBezTo>
                    <a:cubicBezTo>
                      <a:pt x="559" y="47"/>
                      <a:pt x="562" y="46"/>
                      <a:pt x="565" y="45"/>
                    </a:cubicBezTo>
                    <a:cubicBezTo>
                      <a:pt x="568" y="44"/>
                      <a:pt x="572" y="43"/>
                      <a:pt x="577" y="43"/>
                    </a:cubicBezTo>
                    <a:cubicBezTo>
                      <a:pt x="581" y="43"/>
                      <a:pt x="584" y="44"/>
                      <a:pt x="588" y="45"/>
                    </a:cubicBezTo>
                    <a:cubicBezTo>
                      <a:pt x="591" y="46"/>
                      <a:pt x="593" y="48"/>
                      <a:pt x="595" y="50"/>
                    </a:cubicBezTo>
                    <a:cubicBezTo>
                      <a:pt x="597" y="53"/>
                      <a:pt x="599" y="56"/>
                      <a:pt x="600" y="61"/>
                    </a:cubicBezTo>
                    <a:cubicBezTo>
                      <a:pt x="601" y="65"/>
                      <a:pt x="602" y="70"/>
                      <a:pt x="602" y="76"/>
                    </a:cubicBezTo>
                    <a:cubicBezTo>
                      <a:pt x="602" y="82"/>
                      <a:pt x="602" y="87"/>
                      <a:pt x="601" y="92"/>
                    </a:cubicBezTo>
                    <a:cubicBezTo>
                      <a:pt x="601" y="96"/>
                      <a:pt x="599" y="100"/>
                      <a:pt x="598" y="103"/>
                    </a:cubicBezTo>
                    <a:cubicBezTo>
                      <a:pt x="596" y="106"/>
                      <a:pt x="593" y="108"/>
                      <a:pt x="590" y="109"/>
                    </a:cubicBezTo>
                    <a:cubicBezTo>
                      <a:pt x="587" y="110"/>
                      <a:pt x="582" y="111"/>
                      <a:pt x="577" y="111"/>
                    </a:cubicBezTo>
                    <a:cubicBezTo>
                      <a:pt x="572" y="111"/>
                      <a:pt x="567" y="111"/>
                      <a:pt x="564" y="109"/>
                    </a:cubicBezTo>
                    <a:close/>
                    <a:moveTo>
                      <a:pt x="577" y="36"/>
                    </a:moveTo>
                    <a:cubicBezTo>
                      <a:pt x="571" y="36"/>
                      <a:pt x="565" y="36"/>
                      <a:pt x="561" y="38"/>
                    </a:cubicBezTo>
                    <a:cubicBezTo>
                      <a:pt x="556" y="39"/>
                      <a:pt x="553" y="41"/>
                      <a:pt x="550" y="45"/>
                    </a:cubicBezTo>
                    <a:cubicBezTo>
                      <a:pt x="547" y="48"/>
                      <a:pt x="544" y="52"/>
                      <a:pt x="543" y="57"/>
                    </a:cubicBezTo>
                    <a:cubicBezTo>
                      <a:pt x="542" y="62"/>
                      <a:pt x="541" y="68"/>
                      <a:pt x="541" y="75"/>
                    </a:cubicBezTo>
                    <a:cubicBezTo>
                      <a:pt x="541" y="83"/>
                      <a:pt x="541" y="90"/>
                      <a:pt x="542" y="95"/>
                    </a:cubicBezTo>
                    <a:cubicBezTo>
                      <a:pt x="544" y="101"/>
                      <a:pt x="546" y="105"/>
                      <a:pt x="548" y="109"/>
                    </a:cubicBezTo>
                    <a:cubicBezTo>
                      <a:pt x="551" y="112"/>
                      <a:pt x="555" y="114"/>
                      <a:pt x="559" y="116"/>
                    </a:cubicBezTo>
                    <a:cubicBezTo>
                      <a:pt x="564" y="118"/>
                      <a:pt x="570" y="118"/>
                      <a:pt x="577" y="118"/>
                    </a:cubicBezTo>
                    <a:cubicBezTo>
                      <a:pt x="584" y="118"/>
                      <a:pt x="590" y="117"/>
                      <a:pt x="595" y="116"/>
                    </a:cubicBezTo>
                    <a:cubicBezTo>
                      <a:pt x="599" y="114"/>
                      <a:pt x="603" y="111"/>
                      <a:pt x="605" y="108"/>
                    </a:cubicBezTo>
                    <a:cubicBezTo>
                      <a:pt x="608" y="104"/>
                      <a:pt x="610" y="100"/>
                      <a:pt x="611" y="95"/>
                    </a:cubicBezTo>
                    <a:cubicBezTo>
                      <a:pt x="612" y="89"/>
                      <a:pt x="613" y="83"/>
                      <a:pt x="613" y="76"/>
                    </a:cubicBezTo>
                    <a:cubicBezTo>
                      <a:pt x="613" y="69"/>
                      <a:pt x="612" y="63"/>
                      <a:pt x="610" y="57"/>
                    </a:cubicBezTo>
                    <a:cubicBezTo>
                      <a:pt x="609" y="52"/>
                      <a:pt x="606" y="48"/>
                      <a:pt x="603" y="45"/>
                    </a:cubicBezTo>
                    <a:cubicBezTo>
                      <a:pt x="600" y="42"/>
                      <a:pt x="597" y="40"/>
                      <a:pt x="592" y="38"/>
                    </a:cubicBezTo>
                    <a:cubicBezTo>
                      <a:pt x="588" y="37"/>
                      <a:pt x="583" y="36"/>
                      <a:pt x="577" y="36"/>
                    </a:cubicBezTo>
                    <a:close/>
                    <a:moveTo>
                      <a:pt x="512" y="117"/>
                    </a:moveTo>
                    <a:cubicBezTo>
                      <a:pt x="522" y="117"/>
                      <a:pt x="522" y="117"/>
                      <a:pt x="522" y="117"/>
                    </a:cubicBezTo>
                    <a:cubicBezTo>
                      <a:pt x="522" y="37"/>
                      <a:pt x="522" y="37"/>
                      <a:pt x="522" y="37"/>
                    </a:cubicBezTo>
                    <a:cubicBezTo>
                      <a:pt x="512" y="37"/>
                      <a:pt x="512" y="37"/>
                      <a:pt x="512" y="37"/>
                    </a:cubicBezTo>
                    <a:lnTo>
                      <a:pt x="512" y="117"/>
                    </a:lnTo>
                    <a:close/>
                    <a:moveTo>
                      <a:pt x="512" y="17"/>
                    </a:moveTo>
                    <a:cubicBezTo>
                      <a:pt x="522" y="17"/>
                      <a:pt x="522" y="17"/>
                      <a:pt x="522" y="17"/>
                    </a:cubicBezTo>
                    <a:cubicBezTo>
                      <a:pt x="522" y="6"/>
                      <a:pt x="522" y="6"/>
                      <a:pt x="522" y="6"/>
                    </a:cubicBezTo>
                    <a:cubicBezTo>
                      <a:pt x="512" y="6"/>
                      <a:pt x="512" y="6"/>
                      <a:pt x="512" y="6"/>
                    </a:cubicBezTo>
                    <a:lnTo>
                      <a:pt x="512" y="17"/>
                    </a:lnTo>
                    <a:close/>
                    <a:moveTo>
                      <a:pt x="467" y="17"/>
                    </a:moveTo>
                    <a:cubicBezTo>
                      <a:pt x="467" y="37"/>
                      <a:pt x="467" y="37"/>
                      <a:pt x="467" y="37"/>
                    </a:cubicBezTo>
                    <a:cubicBezTo>
                      <a:pt x="450" y="37"/>
                      <a:pt x="450" y="37"/>
                      <a:pt x="450" y="37"/>
                    </a:cubicBezTo>
                    <a:cubicBezTo>
                      <a:pt x="450" y="45"/>
                      <a:pt x="450" y="45"/>
                      <a:pt x="450" y="45"/>
                    </a:cubicBezTo>
                    <a:cubicBezTo>
                      <a:pt x="467" y="45"/>
                      <a:pt x="467" y="45"/>
                      <a:pt x="467" y="45"/>
                    </a:cubicBezTo>
                    <a:cubicBezTo>
                      <a:pt x="467" y="92"/>
                      <a:pt x="467" y="92"/>
                      <a:pt x="467" y="92"/>
                    </a:cubicBezTo>
                    <a:cubicBezTo>
                      <a:pt x="467" y="96"/>
                      <a:pt x="467" y="101"/>
                      <a:pt x="468" y="104"/>
                    </a:cubicBezTo>
                    <a:cubicBezTo>
                      <a:pt x="468" y="107"/>
                      <a:pt x="469" y="110"/>
                      <a:pt x="470" y="112"/>
                    </a:cubicBezTo>
                    <a:cubicBezTo>
                      <a:pt x="471" y="114"/>
                      <a:pt x="473" y="116"/>
                      <a:pt x="475" y="117"/>
                    </a:cubicBezTo>
                    <a:cubicBezTo>
                      <a:pt x="478" y="118"/>
                      <a:pt x="481" y="118"/>
                      <a:pt x="484" y="118"/>
                    </a:cubicBezTo>
                    <a:cubicBezTo>
                      <a:pt x="486" y="118"/>
                      <a:pt x="487" y="118"/>
                      <a:pt x="488" y="118"/>
                    </a:cubicBezTo>
                    <a:cubicBezTo>
                      <a:pt x="490" y="118"/>
                      <a:pt x="492" y="117"/>
                      <a:pt x="495" y="117"/>
                    </a:cubicBezTo>
                    <a:cubicBezTo>
                      <a:pt x="496" y="110"/>
                      <a:pt x="496" y="110"/>
                      <a:pt x="496" y="110"/>
                    </a:cubicBezTo>
                    <a:cubicBezTo>
                      <a:pt x="494" y="110"/>
                      <a:pt x="492" y="110"/>
                      <a:pt x="490" y="111"/>
                    </a:cubicBezTo>
                    <a:cubicBezTo>
                      <a:pt x="489" y="111"/>
                      <a:pt x="487" y="111"/>
                      <a:pt x="486" y="111"/>
                    </a:cubicBezTo>
                    <a:cubicBezTo>
                      <a:pt x="485" y="111"/>
                      <a:pt x="485" y="111"/>
                      <a:pt x="485" y="111"/>
                    </a:cubicBezTo>
                    <a:cubicBezTo>
                      <a:pt x="484" y="111"/>
                      <a:pt x="482" y="111"/>
                      <a:pt x="481" y="110"/>
                    </a:cubicBezTo>
                    <a:cubicBezTo>
                      <a:pt x="480" y="110"/>
                      <a:pt x="479" y="109"/>
                      <a:pt x="479" y="107"/>
                    </a:cubicBezTo>
                    <a:cubicBezTo>
                      <a:pt x="478" y="106"/>
                      <a:pt x="478" y="104"/>
                      <a:pt x="478" y="101"/>
                    </a:cubicBezTo>
                    <a:cubicBezTo>
                      <a:pt x="477" y="99"/>
                      <a:pt x="477" y="96"/>
                      <a:pt x="477" y="92"/>
                    </a:cubicBezTo>
                    <a:cubicBezTo>
                      <a:pt x="477" y="45"/>
                      <a:pt x="477" y="45"/>
                      <a:pt x="477" y="45"/>
                    </a:cubicBezTo>
                    <a:cubicBezTo>
                      <a:pt x="496" y="45"/>
                      <a:pt x="496" y="45"/>
                      <a:pt x="496" y="45"/>
                    </a:cubicBezTo>
                    <a:cubicBezTo>
                      <a:pt x="496" y="37"/>
                      <a:pt x="496" y="37"/>
                      <a:pt x="496" y="37"/>
                    </a:cubicBezTo>
                    <a:cubicBezTo>
                      <a:pt x="477" y="37"/>
                      <a:pt x="477" y="37"/>
                      <a:pt x="477" y="37"/>
                    </a:cubicBezTo>
                    <a:cubicBezTo>
                      <a:pt x="477" y="17"/>
                      <a:pt x="477" y="17"/>
                      <a:pt x="477" y="17"/>
                    </a:cubicBezTo>
                    <a:lnTo>
                      <a:pt x="467" y="17"/>
                    </a:lnTo>
                    <a:close/>
                    <a:moveTo>
                      <a:pt x="429" y="117"/>
                    </a:moveTo>
                    <a:cubicBezTo>
                      <a:pt x="440" y="117"/>
                      <a:pt x="440" y="117"/>
                      <a:pt x="440" y="117"/>
                    </a:cubicBezTo>
                    <a:cubicBezTo>
                      <a:pt x="440" y="37"/>
                      <a:pt x="440" y="37"/>
                      <a:pt x="440" y="37"/>
                    </a:cubicBezTo>
                    <a:cubicBezTo>
                      <a:pt x="429" y="37"/>
                      <a:pt x="429" y="37"/>
                      <a:pt x="429" y="37"/>
                    </a:cubicBezTo>
                    <a:lnTo>
                      <a:pt x="429" y="117"/>
                    </a:lnTo>
                    <a:close/>
                    <a:moveTo>
                      <a:pt x="429" y="17"/>
                    </a:moveTo>
                    <a:cubicBezTo>
                      <a:pt x="440" y="17"/>
                      <a:pt x="440" y="17"/>
                      <a:pt x="440" y="17"/>
                    </a:cubicBezTo>
                    <a:cubicBezTo>
                      <a:pt x="440" y="6"/>
                      <a:pt x="440" y="6"/>
                      <a:pt x="440" y="6"/>
                    </a:cubicBezTo>
                    <a:cubicBezTo>
                      <a:pt x="429" y="6"/>
                      <a:pt x="429" y="6"/>
                      <a:pt x="429" y="6"/>
                    </a:cubicBezTo>
                    <a:lnTo>
                      <a:pt x="429" y="17"/>
                    </a:lnTo>
                    <a:close/>
                    <a:moveTo>
                      <a:pt x="353" y="47"/>
                    </a:moveTo>
                    <a:cubicBezTo>
                      <a:pt x="356" y="46"/>
                      <a:pt x="359" y="45"/>
                      <a:pt x="363" y="44"/>
                    </a:cubicBezTo>
                    <a:cubicBezTo>
                      <a:pt x="367" y="43"/>
                      <a:pt x="372" y="43"/>
                      <a:pt x="376" y="43"/>
                    </a:cubicBezTo>
                    <a:cubicBezTo>
                      <a:pt x="380" y="43"/>
                      <a:pt x="384" y="43"/>
                      <a:pt x="387" y="45"/>
                    </a:cubicBezTo>
                    <a:cubicBezTo>
                      <a:pt x="390" y="46"/>
                      <a:pt x="392" y="48"/>
                      <a:pt x="393" y="50"/>
                    </a:cubicBezTo>
                    <a:cubicBezTo>
                      <a:pt x="395" y="53"/>
                      <a:pt x="396" y="56"/>
                      <a:pt x="396" y="61"/>
                    </a:cubicBezTo>
                    <a:cubicBezTo>
                      <a:pt x="397" y="65"/>
                      <a:pt x="397" y="70"/>
                      <a:pt x="397" y="75"/>
                    </a:cubicBezTo>
                    <a:cubicBezTo>
                      <a:pt x="397" y="81"/>
                      <a:pt x="397" y="86"/>
                      <a:pt x="396" y="91"/>
                    </a:cubicBezTo>
                    <a:cubicBezTo>
                      <a:pt x="396" y="95"/>
                      <a:pt x="394" y="99"/>
                      <a:pt x="392" y="102"/>
                    </a:cubicBezTo>
                    <a:cubicBezTo>
                      <a:pt x="390" y="105"/>
                      <a:pt x="387" y="107"/>
                      <a:pt x="383" y="108"/>
                    </a:cubicBezTo>
                    <a:cubicBezTo>
                      <a:pt x="379" y="110"/>
                      <a:pt x="374" y="111"/>
                      <a:pt x="367" y="111"/>
                    </a:cubicBezTo>
                    <a:cubicBezTo>
                      <a:pt x="365" y="111"/>
                      <a:pt x="363" y="111"/>
                      <a:pt x="361" y="111"/>
                    </a:cubicBezTo>
                    <a:cubicBezTo>
                      <a:pt x="358" y="110"/>
                      <a:pt x="356" y="110"/>
                      <a:pt x="353" y="110"/>
                    </a:cubicBezTo>
                    <a:lnTo>
                      <a:pt x="353" y="47"/>
                    </a:lnTo>
                    <a:close/>
                    <a:moveTo>
                      <a:pt x="343" y="5"/>
                    </a:moveTo>
                    <a:cubicBezTo>
                      <a:pt x="343" y="117"/>
                      <a:pt x="343" y="117"/>
                      <a:pt x="343" y="117"/>
                    </a:cubicBezTo>
                    <a:cubicBezTo>
                      <a:pt x="346" y="117"/>
                      <a:pt x="350" y="117"/>
                      <a:pt x="354" y="118"/>
                    </a:cubicBezTo>
                    <a:cubicBezTo>
                      <a:pt x="358" y="118"/>
                      <a:pt x="362" y="118"/>
                      <a:pt x="366" y="118"/>
                    </a:cubicBezTo>
                    <a:cubicBezTo>
                      <a:pt x="374" y="118"/>
                      <a:pt x="381" y="117"/>
                      <a:pt x="387" y="116"/>
                    </a:cubicBezTo>
                    <a:cubicBezTo>
                      <a:pt x="392" y="114"/>
                      <a:pt x="397" y="111"/>
                      <a:pt x="400" y="108"/>
                    </a:cubicBezTo>
                    <a:cubicBezTo>
                      <a:pt x="403" y="104"/>
                      <a:pt x="405" y="100"/>
                      <a:pt x="406" y="94"/>
                    </a:cubicBezTo>
                    <a:cubicBezTo>
                      <a:pt x="407" y="89"/>
                      <a:pt x="408" y="83"/>
                      <a:pt x="408" y="75"/>
                    </a:cubicBezTo>
                    <a:cubicBezTo>
                      <a:pt x="408" y="69"/>
                      <a:pt x="407" y="63"/>
                      <a:pt x="406" y="58"/>
                    </a:cubicBezTo>
                    <a:cubicBezTo>
                      <a:pt x="405" y="53"/>
                      <a:pt x="404" y="49"/>
                      <a:pt x="401" y="45"/>
                    </a:cubicBezTo>
                    <a:cubicBezTo>
                      <a:pt x="399" y="42"/>
                      <a:pt x="396" y="40"/>
                      <a:pt x="392" y="38"/>
                    </a:cubicBezTo>
                    <a:cubicBezTo>
                      <a:pt x="388" y="37"/>
                      <a:pt x="382" y="36"/>
                      <a:pt x="376" y="36"/>
                    </a:cubicBezTo>
                    <a:cubicBezTo>
                      <a:pt x="372" y="36"/>
                      <a:pt x="367" y="36"/>
                      <a:pt x="363" y="37"/>
                    </a:cubicBezTo>
                    <a:cubicBezTo>
                      <a:pt x="359" y="38"/>
                      <a:pt x="356" y="39"/>
                      <a:pt x="353" y="40"/>
                    </a:cubicBezTo>
                    <a:cubicBezTo>
                      <a:pt x="353" y="5"/>
                      <a:pt x="353" y="5"/>
                      <a:pt x="353" y="5"/>
                    </a:cubicBezTo>
                    <a:lnTo>
                      <a:pt x="343" y="5"/>
                    </a:lnTo>
                    <a:close/>
                    <a:moveTo>
                      <a:pt x="201" y="117"/>
                    </a:moveTo>
                    <a:cubicBezTo>
                      <a:pt x="212" y="117"/>
                      <a:pt x="212" y="117"/>
                      <a:pt x="212" y="117"/>
                    </a:cubicBezTo>
                    <a:cubicBezTo>
                      <a:pt x="212" y="47"/>
                      <a:pt x="212" y="47"/>
                      <a:pt x="212" y="47"/>
                    </a:cubicBezTo>
                    <a:cubicBezTo>
                      <a:pt x="215" y="46"/>
                      <a:pt x="218" y="45"/>
                      <a:pt x="222" y="44"/>
                    </a:cubicBezTo>
                    <a:cubicBezTo>
                      <a:pt x="226" y="43"/>
                      <a:pt x="230" y="43"/>
                      <a:pt x="235" y="43"/>
                    </a:cubicBezTo>
                    <a:cubicBezTo>
                      <a:pt x="239" y="43"/>
                      <a:pt x="242" y="43"/>
                      <a:pt x="245" y="45"/>
                    </a:cubicBezTo>
                    <a:cubicBezTo>
                      <a:pt x="248" y="46"/>
                      <a:pt x="250" y="48"/>
                      <a:pt x="252" y="50"/>
                    </a:cubicBezTo>
                    <a:cubicBezTo>
                      <a:pt x="253" y="53"/>
                      <a:pt x="254" y="56"/>
                      <a:pt x="255" y="60"/>
                    </a:cubicBezTo>
                    <a:cubicBezTo>
                      <a:pt x="255" y="64"/>
                      <a:pt x="256" y="69"/>
                      <a:pt x="256" y="75"/>
                    </a:cubicBezTo>
                    <a:cubicBezTo>
                      <a:pt x="256" y="117"/>
                      <a:pt x="256" y="117"/>
                      <a:pt x="256" y="117"/>
                    </a:cubicBezTo>
                    <a:cubicBezTo>
                      <a:pt x="267" y="117"/>
                      <a:pt x="267" y="117"/>
                      <a:pt x="267" y="117"/>
                    </a:cubicBezTo>
                    <a:cubicBezTo>
                      <a:pt x="267" y="75"/>
                      <a:pt x="267" y="75"/>
                      <a:pt x="267" y="75"/>
                    </a:cubicBezTo>
                    <a:cubicBezTo>
                      <a:pt x="267" y="69"/>
                      <a:pt x="266" y="64"/>
                      <a:pt x="266" y="59"/>
                    </a:cubicBezTo>
                    <a:cubicBezTo>
                      <a:pt x="265" y="55"/>
                      <a:pt x="264" y="51"/>
                      <a:pt x="262" y="48"/>
                    </a:cubicBezTo>
                    <a:cubicBezTo>
                      <a:pt x="267" y="46"/>
                      <a:pt x="272" y="45"/>
                      <a:pt x="276" y="44"/>
                    </a:cubicBezTo>
                    <a:cubicBezTo>
                      <a:pt x="280" y="43"/>
                      <a:pt x="284" y="43"/>
                      <a:pt x="289" y="43"/>
                    </a:cubicBezTo>
                    <a:cubicBezTo>
                      <a:pt x="293" y="43"/>
                      <a:pt x="297" y="43"/>
                      <a:pt x="300" y="45"/>
                    </a:cubicBezTo>
                    <a:cubicBezTo>
                      <a:pt x="303" y="46"/>
                      <a:pt x="305" y="48"/>
                      <a:pt x="306" y="50"/>
                    </a:cubicBezTo>
                    <a:cubicBezTo>
                      <a:pt x="308" y="53"/>
                      <a:pt x="309" y="56"/>
                      <a:pt x="309" y="60"/>
                    </a:cubicBezTo>
                    <a:cubicBezTo>
                      <a:pt x="310" y="64"/>
                      <a:pt x="310" y="69"/>
                      <a:pt x="310" y="75"/>
                    </a:cubicBezTo>
                    <a:cubicBezTo>
                      <a:pt x="310" y="117"/>
                      <a:pt x="310" y="117"/>
                      <a:pt x="310" y="117"/>
                    </a:cubicBezTo>
                    <a:cubicBezTo>
                      <a:pt x="321" y="117"/>
                      <a:pt x="321" y="117"/>
                      <a:pt x="321" y="117"/>
                    </a:cubicBezTo>
                    <a:cubicBezTo>
                      <a:pt x="321" y="75"/>
                      <a:pt x="321" y="75"/>
                      <a:pt x="321" y="75"/>
                    </a:cubicBezTo>
                    <a:cubicBezTo>
                      <a:pt x="321" y="68"/>
                      <a:pt x="321" y="63"/>
                      <a:pt x="320" y="58"/>
                    </a:cubicBezTo>
                    <a:cubicBezTo>
                      <a:pt x="319" y="53"/>
                      <a:pt x="317" y="48"/>
                      <a:pt x="315" y="45"/>
                    </a:cubicBezTo>
                    <a:cubicBezTo>
                      <a:pt x="312" y="42"/>
                      <a:pt x="309" y="40"/>
                      <a:pt x="305" y="38"/>
                    </a:cubicBezTo>
                    <a:cubicBezTo>
                      <a:pt x="301" y="36"/>
                      <a:pt x="296" y="36"/>
                      <a:pt x="289" y="36"/>
                    </a:cubicBezTo>
                    <a:cubicBezTo>
                      <a:pt x="287" y="36"/>
                      <a:pt x="284" y="36"/>
                      <a:pt x="282" y="36"/>
                    </a:cubicBezTo>
                    <a:cubicBezTo>
                      <a:pt x="279" y="36"/>
                      <a:pt x="277" y="36"/>
                      <a:pt x="274" y="37"/>
                    </a:cubicBezTo>
                    <a:cubicBezTo>
                      <a:pt x="272" y="37"/>
                      <a:pt x="269" y="38"/>
                      <a:pt x="266" y="39"/>
                    </a:cubicBezTo>
                    <a:cubicBezTo>
                      <a:pt x="263" y="40"/>
                      <a:pt x="260" y="41"/>
                      <a:pt x="257" y="42"/>
                    </a:cubicBezTo>
                    <a:cubicBezTo>
                      <a:pt x="252" y="38"/>
                      <a:pt x="245" y="35"/>
                      <a:pt x="235" y="35"/>
                    </a:cubicBezTo>
                    <a:cubicBezTo>
                      <a:pt x="229" y="35"/>
                      <a:pt x="224" y="36"/>
                      <a:pt x="219" y="37"/>
                    </a:cubicBezTo>
                    <a:cubicBezTo>
                      <a:pt x="214" y="38"/>
                      <a:pt x="208" y="40"/>
                      <a:pt x="201" y="42"/>
                    </a:cubicBezTo>
                    <a:lnTo>
                      <a:pt x="201" y="117"/>
                    </a:lnTo>
                    <a:close/>
                    <a:moveTo>
                      <a:pt x="169" y="107"/>
                    </a:moveTo>
                    <a:cubicBezTo>
                      <a:pt x="166" y="108"/>
                      <a:pt x="162" y="108"/>
                      <a:pt x="157" y="109"/>
                    </a:cubicBezTo>
                    <a:cubicBezTo>
                      <a:pt x="152" y="110"/>
                      <a:pt x="147" y="111"/>
                      <a:pt x="142" y="111"/>
                    </a:cubicBezTo>
                    <a:cubicBezTo>
                      <a:pt x="138" y="111"/>
                      <a:pt x="134" y="109"/>
                      <a:pt x="132" y="106"/>
                    </a:cubicBezTo>
                    <a:cubicBezTo>
                      <a:pt x="129" y="103"/>
                      <a:pt x="128" y="99"/>
                      <a:pt x="128" y="94"/>
                    </a:cubicBezTo>
                    <a:cubicBezTo>
                      <a:pt x="128" y="90"/>
                      <a:pt x="129" y="86"/>
                      <a:pt x="132" y="83"/>
                    </a:cubicBezTo>
                    <a:cubicBezTo>
                      <a:pt x="134" y="80"/>
                      <a:pt x="138" y="78"/>
                      <a:pt x="144" y="78"/>
                    </a:cubicBezTo>
                    <a:cubicBezTo>
                      <a:pt x="169" y="76"/>
                      <a:pt x="169" y="76"/>
                      <a:pt x="169" y="76"/>
                    </a:cubicBezTo>
                    <a:lnTo>
                      <a:pt x="169" y="107"/>
                    </a:lnTo>
                    <a:close/>
                    <a:moveTo>
                      <a:pt x="125" y="45"/>
                    </a:moveTo>
                    <a:cubicBezTo>
                      <a:pt x="130" y="45"/>
                      <a:pt x="134" y="44"/>
                      <a:pt x="139" y="44"/>
                    </a:cubicBezTo>
                    <a:cubicBezTo>
                      <a:pt x="144" y="43"/>
                      <a:pt x="148" y="43"/>
                      <a:pt x="152" y="43"/>
                    </a:cubicBezTo>
                    <a:cubicBezTo>
                      <a:pt x="158" y="43"/>
                      <a:pt x="162" y="45"/>
                      <a:pt x="165" y="47"/>
                    </a:cubicBezTo>
                    <a:cubicBezTo>
                      <a:pt x="168" y="50"/>
                      <a:pt x="169" y="54"/>
                      <a:pt x="169" y="61"/>
                    </a:cubicBezTo>
                    <a:cubicBezTo>
                      <a:pt x="169" y="69"/>
                      <a:pt x="169" y="69"/>
                      <a:pt x="169" y="69"/>
                    </a:cubicBezTo>
                    <a:cubicBezTo>
                      <a:pt x="143" y="71"/>
                      <a:pt x="143" y="71"/>
                      <a:pt x="143" y="71"/>
                    </a:cubicBezTo>
                    <a:cubicBezTo>
                      <a:pt x="134" y="72"/>
                      <a:pt x="127" y="74"/>
                      <a:pt x="123" y="78"/>
                    </a:cubicBezTo>
                    <a:cubicBezTo>
                      <a:pt x="119" y="82"/>
                      <a:pt x="117" y="88"/>
                      <a:pt x="117" y="94"/>
                    </a:cubicBezTo>
                    <a:cubicBezTo>
                      <a:pt x="117" y="102"/>
                      <a:pt x="120" y="108"/>
                      <a:pt x="124" y="112"/>
                    </a:cubicBezTo>
                    <a:cubicBezTo>
                      <a:pt x="128" y="116"/>
                      <a:pt x="134" y="118"/>
                      <a:pt x="142" y="118"/>
                    </a:cubicBezTo>
                    <a:cubicBezTo>
                      <a:pt x="150" y="118"/>
                      <a:pt x="157" y="117"/>
                      <a:pt x="163" y="116"/>
                    </a:cubicBezTo>
                    <a:cubicBezTo>
                      <a:pt x="169" y="114"/>
                      <a:pt x="175" y="113"/>
                      <a:pt x="180" y="111"/>
                    </a:cubicBezTo>
                    <a:cubicBezTo>
                      <a:pt x="180" y="61"/>
                      <a:pt x="180" y="61"/>
                      <a:pt x="180" y="61"/>
                    </a:cubicBezTo>
                    <a:cubicBezTo>
                      <a:pt x="180" y="53"/>
                      <a:pt x="177" y="46"/>
                      <a:pt x="173" y="42"/>
                    </a:cubicBezTo>
                    <a:cubicBezTo>
                      <a:pt x="169" y="38"/>
                      <a:pt x="162" y="36"/>
                      <a:pt x="152" y="36"/>
                    </a:cubicBezTo>
                    <a:cubicBezTo>
                      <a:pt x="147" y="36"/>
                      <a:pt x="143" y="36"/>
                      <a:pt x="138" y="36"/>
                    </a:cubicBezTo>
                    <a:cubicBezTo>
                      <a:pt x="133" y="37"/>
                      <a:pt x="128" y="37"/>
                      <a:pt x="123" y="38"/>
                    </a:cubicBezTo>
                    <a:lnTo>
                      <a:pt x="125" y="45"/>
                    </a:lnTo>
                    <a:close/>
                    <a:moveTo>
                      <a:pt x="81" y="34"/>
                    </a:moveTo>
                    <a:cubicBezTo>
                      <a:pt x="91" y="34"/>
                      <a:pt x="91" y="34"/>
                      <a:pt x="91" y="34"/>
                    </a:cubicBezTo>
                    <a:cubicBezTo>
                      <a:pt x="100" y="0"/>
                      <a:pt x="100" y="0"/>
                      <a:pt x="100" y="0"/>
                    </a:cubicBezTo>
                    <a:cubicBezTo>
                      <a:pt x="89" y="0"/>
                      <a:pt x="89" y="0"/>
                      <a:pt x="89" y="0"/>
                    </a:cubicBezTo>
                    <a:lnTo>
                      <a:pt x="81" y="34"/>
                    </a:lnTo>
                    <a:close/>
                    <a:moveTo>
                      <a:pt x="70" y="117"/>
                    </a:moveTo>
                    <a:cubicBezTo>
                      <a:pt x="70" y="109"/>
                      <a:pt x="70" y="109"/>
                      <a:pt x="70" y="109"/>
                    </a:cubicBezTo>
                    <a:cubicBezTo>
                      <a:pt x="11" y="109"/>
                      <a:pt x="11" y="109"/>
                      <a:pt x="11" y="109"/>
                    </a:cubicBezTo>
                    <a:cubicBezTo>
                      <a:pt x="11" y="5"/>
                      <a:pt x="11" y="5"/>
                      <a:pt x="11" y="5"/>
                    </a:cubicBezTo>
                    <a:cubicBezTo>
                      <a:pt x="0" y="5"/>
                      <a:pt x="0" y="5"/>
                      <a:pt x="0" y="5"/>
                    </a:cubicBezTo>
                    <a:cubicBezTo>
                      <a:pt x="0" y="117"/>
                      <a:pt x="0" y="117"/>
                      <a:pt x="0" y="117"/>
                    </a:cubicBezTo>
                    <a:lnTo>
                      <a:pt x="70" y="117"/>
                    </a:lnTo>
                    <a:close/>
                  </a:path>
                </a:pathLst>
              </a:custGeom>
              <a:noFill/>
              <a:ln w="0" cap="flat">
                <a:solidFill>
                  <a:srgbClr val="225696"/>
                </a:solidFill>
                <a:prstDash val="solid"/>
                <a:miter lim="800000"/>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grpSp>
      <p:sp>
        <p:nvSpPr>
          <p:cNvPr id="34" name="Text Placeholder 33"/>
          <p:cNvSpPr>
            <a:spLocks noGrp="1"/>
          </p:cNvSpPr>
          <p:nvPr>
            <p:ph type="body" sz="quarter" idx="11" hasCustomPrompt="1"/>
          </p:nvPr>
        </p:nvSpPr>
        <p:spPr>
          <a:xfrm rot="16200000">
            <a:off x="5823582" y="3322463"/>
            <a:ext cx="6385557" cy="213076"/>
          </a:xfrm>
        </p:spPr>
        <p:txBody>
          <a:bodyPr anchor="ctr"/>
          <a:lstStyle>
            <a:lvl1pPr algn="ctr">
              <a:defRPr sz="900" b="0">
                <a:solidFill>
                  <a:srgbClr val="7F7F7F"/>
                </a:solidFill>
              </a:defRPr>
            </a:lvl1pPr>
          </a:lstStyle>
          <a:p>
            <a:pPr lvl="0"/>
            <a:r>
              <a:rPr lang="en-US"/>
              <a:t>Date | Version</a:t>
            </a:r>
            <a:endParaRPr lang="fr-FR"/>
          </a:p>
        </p:txBody>
      </p:sp>
    </p:spTree>
    <p:extLst>
      <p:ext uri="{BB962C8B-B14F-4D97-AF65-F5344CB8AC3E}">
        <p14:creationId xmlns:p14="http://schemas.microsoft.com/office/powerpoint/2010/main" val="167689949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ommaire, Titre Seul / Partie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2466" y="4984"/>
            <a:ext cx="6934759" cy="909416"/>
          </a:xfrm>
        </p:spPr>
        <p:txBody>
          <a:bodyPr/>
          <a:lstStyle/>
          <a:p>
            <a:r>
              <a:rPr lang="fr-FR" noProof="0"/>
              <a:t>Titre</a:t>
            </a:r>
            <a:endParaRPr lang="fr-FR"/>
          </a:p>
        </p:txBody>
      </p:sp>
      <p:cxnSp>
        <p:nvCxnSpPr>
          <p:cNvPr id="10" name="Connecteur droit 8"/>
          <p:cNvCxnSpPr/>
          <p:nvPr userDrawn="1"/>
        </p:nvCxnSpPr>
        <p:spPr>
          <a:xfrm>
            <a:off x="807480" y="6519411"/>
            <a:ext cx="0" cy="238496"/>
          </a:xfrm>
          <a:prstGeom prst="line">
            <a:avLst/>
          </a:prstGeom>
          <a:noFill/>
          <a:ln w="9525" cap="flat" cmpd="sng" algn="ctr">
            <a:solidFill>
              <a:srgbClr val="1F497D"/>
            </a:solidFill>
            <a:prstDash val="solid"/>
          </a:ln>
          <a:effectLst/>
        </p:spPr>
      </p:cxnSp>
      <p:cxnSp>
        <p:nvCxnSpPr>
          <p:cNvPr id="11" name="Connecteur droit 10"/>
          <p:cNvCxnSpPr/>
          <p:nvPr userDrawn="1"/>
        </p:nvCxnSpPr>
        <p:spPr>
          <a:xfrm>
            <a:off x="1612496" y="6519411"/>
            <a:ext cx="0" cy="238496"/>
          </a:xfrm>
          <a:prstGeom prst="line">
            <a:avLst/>
          </a:prstGeom>
          <a:noFill/>
          <a:ln w="9525" cap="flat" cmpd="sng" algn="ctr">
            <a:solidFill>
              <a:srgbClr val="1F497D"/>
            </a:solidFill>
            <a:prstDash val="solid"/>
          </a:ln>
          <a:effectLst/>
        </p:spPr>
      </p:cxnSp>
      <p:cxnSp>
        <p:nvCxnSpPr>
          <p:cNvPr id="13" name="Connecteur droit 12"/>
          <p:cNvCxnSpPr/>
          <p:nvPr userDrawn="1"/>
        </p:nvCxnSpPr>
        <p:spPr>
          <a:xfrm>
            <a:off x="8784581" y="6519411"/>
            <a:ext cx="0" cy="238496"/>
          </a:xfrm>
          <a:prstGeom prst="line">
            <a:avLst/>
          </a:prstGeom>
          <a:noFill/>
          <a:ln w="9525" cap="flat" cmpd="sng" algn="ctr">
            <a:solidFill>
              <a:srgbClr val="1F497D"/>
            </a:solidFill>
            <a:prstDash val="solid"/>
          </a:ln>
          <a:effectLst/>
        </p:spPr>
      </p:cxnSp>
      <p:sp>
        <p:nvSpPr>
          <p:cNvPr id="9" name="Text Placeholder 8"/>
          <p:cNvSpPr>
            <a:spLocks noGrp="1"/>
          </p:cNvSpPr>
          <p:nvPr>
            <p:ph type="body" sz="quarter" idx="10" hasCustomPrompt="1"/>
          </p:nvPr>
        </p:nvSpPr>
        <p:spPr>
          <a:xfrm>
            <a:off x="382466" y="1563286"/>
            <a:ext cx="8416880" cy="4525962"/>
          </a:xfrm>
        </p:spPr>
        <p:txBody>
          <a:bodyPr rIns="144000"/>
          <a:lstStyle>
            <a:lvl1pPr marL="276225" indent="-276225" defTabSz="8120063">
              <a:spcBef>
                <a:spcPts val="0"/>
              </a:spcBef>
              <a:spcAft>
                <a:spcPts val="1200"/>
              </a:spcAft>
              <a:buClr>
                <a:schemeClr val="bg2"/>
              </a:buClr>
              <a:buSzPct val="120000"/>
              <a:buFont typeface="Calibri" pitchFamily="34" charset="0"/>
              <a:buChar char="↗"/>
              <a:tabLst>
                <a:tab pos="9050338" algn="r"/>
              </a:tabLst>
              <a:defRPr sz="1400" baseline="0"/>
            </a:lvl1pPr>
            <a:lvl2pPr marL="463550" indent="-176213">
              <a:buClr>
                <a:schemeClr val="bg2"/>
              </a:buClr>
              <a:buFont typeface="Calibri" pitchFamily="34" charset="0"/>
              <a:buChar char="•"/>
              <a:tabLst>
                <a:tab pos="9043988" algn="r"/>
              </a:tabLst>
              <a:defRPr sz="1200" baseline="0">
                <a:solidFill>
                  <a:schemeClr val="bg2"/>
                </a:solidFill>
              </a:defRPr>
            </a:lvl2pPr>
            <a:lvl3pPr marL="627063" indent="-152400">
              <a:defRPr sz="1200">
                <a:solidFill>
                  <a:schemeClr val="bg2"/>
                </a:solidFill>
              </a:defRPr>
            </a:lvl3pPr>
            <a:lvl4pPr marL="1422400" indent="-228600">
              <a:defRPr sz="1200">
                <a:solidFill>
                  <a:schemeClr val="bg2"/>
                </a:solidFill>
              </a:defRPr>
            </a:lvl4pPr>
            <a:lvl5pPr marL="1727200" indent="-228600">
              <a:defRPr sz="1200">
                <a:solidFill>
                  <a:schemeClr val="bg2"/>
                </a:solidFill>
              </a:defRPr>
            </a:lvl5pPr>
          </a:lstStyle>
          <a:p>
            <a:pPr lvl="0"/>
            <a:r>
              <a:rPr lang="en-US" err="1"/>
              <a:t>Titre</a:t>
            </a:r>
            <a:r>
              <a:rPr lang="en-US"/>
              <a:t> de la </a:t>
            </a:r>
            <a:r>
              <a:rPr lang="en-US" err="1"/>
              <a:t>partie</a:t>
            </a:r>
            <a:r>
              <a:rPr lang="en-US"/>
              <a:t>	N° de page</a:t>
            </a:r>
          </a:p>
          <a:p>
            <a:pPr lvl="1"/>
            <a:r>
              <a:rPr lang="en-US" err="1"/>
              <a:t>Sous-titre</a:t>
            </a:r>
            <a:r>
              <a:rPr lang="en-US"/>
              <a:t>  de la </a:t>
            </a:r>
            <a:r>
              <a:rPr lang="en-US" err="1"/>
              <a:t>partie</a:t>
            </a:r>
            <a:r>
              <a:rPr lang="en-US"/>
              <a:t>	N° de page</a:t>
            </a:r>
          </a:p>
          <a:p>
            <a:pPr lvl="2"/>
            <a:r>
              <a:rPr lang="en-US"/>
              <a:t>Third level</a:t>
            </a:r>
          </a:p>
        </p:txBody>
      </p:sp>
      <p:grpSp>
        <p:nvGrpSpPr>
          <p:cNvPr id="7" name="Group 6"/>
          <p:cNvGrpSpPr/>
          <p:nvPr userDrawn="1"/>
        </p:nvGrpSpPr>
        <p:grpSpPr>
          <a:xfrm>
            <a:off x="8036169" y="170645"/>
            <a:ext cx="1023570" cy="586593"/>
            <a:chOff x="3813175" y="1435101"/>
            <a:chExt cx="1368425" cy="723899"/>
          </a:xfrm>
        </p:grpSpPr>
        <p:grpSp>
          <p:nvGrpSpPr>
            <p:cNvPr id="8" name="Group 32"/>
            <p:cNvGrpSpPr/>
            <p:nvPr userDrawn="1"/>
          </p:nvGrpSpPr>
          <p:grpSpPr>
            <a:xfrm>
              <a:off x="3813175" y="1801813"/>
              <a:ext cx="1358900" cy="138112"/>
              <a:chOff x="3813175" y="1801813"/>
              <a:chExt cx="1358900" cy="138112"/>
            </a:xfrm>
          </p:grpSpPr>
          <p:sp>
            <p:nvSpPr>
              <p:cNvPr id="22" name="Freeform 5"/>
              <p:cNvSpPr>
                <a:spLocks/>
              </p:cNvSpPr>
              <p:nvPr userDrawn="1"/>
            </p:nvSpPr>
            <p:spPr bwMode="auto">
              <a:xfrm>
                <a:off x="3813175" y="1801813"/>
                <a:ext cx="103188" cy="138112"/>
              </a:xfrm>
              <a:custGeom>
                <a:avLst/>
                <a:gdLst/>
                <a:ahLst/>
                <a:cxnLst>
                  <a:cxn ang="0">
                    <a:pos x="74" y="20"/>
                  </a:cxn>
                  <a:cxn ang="0">
                    <a:pos x="34" y="79"/>
                  </a:cxn>
                  <a:cxn ang="0">
                    <a:pos x="86" y="152"/>
                  </a:cxn>
                  <a:cxn ang="0">
                    <a:pos x="115" y="142"/>
                  </a:cxn>
                  <a:cxn ang="0">
                    <a:pos x="123" y="138"/>
                  </a:cxn>
                  <a:cxn ang="0">
                    <a:pos x="131" y="146"/>
                  </a:cxn>
                  <a:cxn ang="0">
                    <a:pos x="78" y="177"/>
                  </a:cxn>
                  <a:cxn ang="0">
                    <a:pos x="0" y="87"/>
                  </a:cxn>
                  <a:cxn ang="0">
                    <a:pos x="77" y="0"/>
                  </a:cxn>
                  <a:cxn ang="0">
                    <a:pos x="133" y="35"/>
                  </a:cxn>
                  <a:cxn ang="0">
                    <a:pos x="119" y="49"/>
                  </a:cxn>
                  <a:cxn ang="0">
                    <a:pos x="106" y="42"/>
                  </a:cxn>
                  <a:cxn ang="0">
                    <a:pos x="74" y="20"/>
                  </a:cxn>
                </a:cxnLst>
                <a:rect l="0" t="0" r="r" b="b"/>
                <a:pathLst>
                  <a:path w="133" h="177">
                    <a:moveTo>
                      <a:pt x="74" y="20"/>
                    </a:moveTo>
                    <a:cubicBezTo>
                      <a:pt x="52" y="20"/>
                      <a:pt x="34" y="41"/>
                      <a:pt x="34" y="79"/>
                    </a:cubicBezTo>
                    <a:cubicBezTo>
                      <a:pt x="34" y="126"/>
                      <a:pt x="58" y="152"/>
                      <a:pt x="86" y="152"/>
                    </a:cubicBezTo>
                    <a:cubicBezTo>
                      <a:pt x="101" y="152"/>
                      <a:pt x="111" y="145"/>
                      <a:pt x="115" y="142"/>
                    </a:cubicBezTo>
                    <a:cubicBezTo>
                      <a:pt x="119" y="139"/>
                      <a:pt x="121" y="138"/>
                      <a:pt x="123" y="138"/>
                    </a:cubicBezTo>
                    <a:cubicBezTo>
                      <a:pt x="128" y="138"/>
                      <a:pt x="131" y="141"/>
                      <a:pt x="131" y="146"/>
                    </a:cubicBezTo>
                    <a:cubicBezTo>
                      <a:pt x="131" y="156"/>
                      <a:pt x="112" y="177"/>
                      <a:pt x="78" y="177"/>
                    </a:cubicBezTo>
                    <a:cubicBezTo>
                      <a:pt x="24" y="177"/>
                      <a:pt x="0" y="133"/>
                      <a:pt x="0" y="87"/>
                    </a:cubicBezTo>
                    <a:cubicBezTo>
                      <a:pt x="0" y="39"/>
                      <a:pt x="28" y="0"/>
                      <a:pt x="77" y="0"/>
                    </a:cubicBezTo>
                    <a:cubicBezTo>
                      <a:pt x="112" y="0"/>
                      <a:pt x="133" y="21"/>
                      <a:pt x="133" y="35"/>
                    </a:cubicBezTo>
                    <a:cubicBezTo>
                      <a:pt x="133" y="43"/>
                      <a:pt x="127" y="49"/>
                      <a:pt x="119" y="49"/>
                    </a:cubicBezTo>
                    <a:cubicBezTo>
                      <a:pt x="113" y="49"/>
                      <a:pt x="109" y="46"/>
                      <a:pt x="106" y="42"/>
                    </a:cubicBezTo>
                    <a:cubicBezTo>
                      <a:pt x="99" y="31"/>
                      <a:pt x="92" y="20"/>
                      <a:pt x="74" y="20"/>
                    </a:cubicBezTo>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3" name="Freeform 6"/>
              <p:cNvSpPr>
                <a:spLocks noEditPoints="1"/>
              </p:cNvSpPr>
              <p:nvPr userDrawn="1"/>
            </p:nvSpPr>
            <p:spPr bwMode="auto">
              <a:xfrm>
                <a:off x="3948113" y="1801813"/>
                <a:ext cx="119063" cy="138112"/>
              </a:xfrm>
              <a:custGeom>
                <a:avLst/>
                <a:gdLst/>
                <a:ahLst/>
                <a:cxnLst>
                  <a:cxn ang="0">
                    <a:pos x="108" y="39"/>
                  </a:cxn>
                  <a:cxn ang="0">
                    <a:pos x="76" y="20"/>
                  </a:cxn>
                  <a:cxn ang="0">
                    <a:pos x="58" y="25"/>
                  </a:cxn>
                  <a:cxn ang="0">
                    <a:pos x="34" y="86"/>
                  </a:cxn>
                  <a:cxn ang="0">
                    <a:pos x="36" y="110"/>
                  </a:cxn>
                  <a:cxn ang="0">
                    <a:pos x="77" y="154"/>
                  </a:cxn>
                  <a:cxn ang="0">
                    <a:pos x="110" y="133"/>
                  </a:cxn>
                  <a:cxn ang="0">
                    <a:pos x="119" y="84"/>
                  </a:cxn>
                  <a:cxn ang="0">
                    <a:pos x="108" y="39"/>
                  </a:cxn>
                  <a:cxn ang="0">
                    <a:pos x="77" y="177"/>
                  </a:cxn>
                  <a:cxn ang="0">
                    <a:pos x="0" y="89"/>
                  </a:cxn>
                  <a:cxn ang="0">
                    <a:pos x="77" y="0"/>
                  </a:cxn>
                  <a:cxn ang="0">
                    <a:pos x="153" y="84"/>
                  </a:cxn>
                  <a:cxn ang="0">
                    <a:pos x="77" y="177"/>
                  </a:cxn>
                </a:cxnLst>
                <a:rect l="0" t="0" r="r" b="b"/>
                <a:pathLst>
                  <a:path w="155" h="177">
                    <a:moveTo>
                      <a:pt x="108" y="39"/>
                    </a:moveTo>
                    <a:cubicBezTo>
                      <a:pt x="96" y="21"/>
                      <a:pt x="81" y="20"/>
                      <a:pt x="76" y="20"/>
                    </a:cubicBezTo>
                    <a:cubicBezTo>
                      <a:pt x="70" y="20"/>
                      <a:pt x="64" y="22"/>
                      <a:pt x="58" y="25"/>
                    </a:cubicBezTo>
                    <a:cubicBezTo>
                      <a:pt x="35" y="39"/>
                      <a:pt x="34" y="73"/>
                      <a:pt x="34" y="86"/>
                    </a:cubicBezTo>
                    <a:cubicBezTo>
                      <a:pt x="34" y="96"/>
                      <a:pt x="35" y="103"/>
                      <a:pt x="36" y="110"/>
                    </a:cubicBezTo>
                    <a:cubicBezTo>
                      <a:pt x="43" y="149"/>
                      <a:pt x="67" y="154"/>
                      <a:pt x="77" y="154"/>
                    </a:cubicBezTo>
                    <a:cubicBezTo>
                      <a:pt x="88" y="154"/>
                      <a:pt x="101" y="149"/>
                      <a:pt x="110" y="133"/>
                    </a:cubicBezTo>
                    <a:cubicBezTo>
                      <a:pt x="117" y="119"/>
                      <a:pt x="119" y="101"/>
                      <a:pt x="119" y="84"/>
                    </a:cubicBezTo>
                    <a:cubicBezTo>
                      <a:pt x="119" y="72"/>
                      <a:pt x="117" y="54"/>
                      <a:pt x="108" y="39"/>
                    </a:cubicBezTo>
                    <a:moveTo>
                      <a:pt x="77" y="177"/>
                    </a:moveTo>
                    <a:cubicBezTo>
                      <a:pt x="36" y="177"/>
                      <a:pt x="0" y="147"/>
                      <a:pt x="0" y="89"/>
                    </a:cubicBezTo>
                    <a:cubicBezTo>
                      <a:pt x="0" y="39"/>
                      <a:pt x="28" y="0"/>
                      <a:pt x="77" y="0"/>
                    </a:cubicBezTo>
                    <a:cubicBezTo>
                      <a:pt x="125" y="0"/>
                      <a:pt x="151" y="39"/>
                      <a:pt x="153" y="84"/>
                    </a:cubicBezTo>
                    <a:cubicBezTo>
                      <a:pt x="155" y="138"/>
                      <a:pt x="123" y="177"/>
                      <a:pt x="77" y="177"/>
                    </a:cubicBezTo>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4" name="Freeform 7"/>
              <p:cNvSpPr>
                <a:spLocks/>
              </p:cNvSpPr>
              <p:nvPr userDrawn="1"/>
            </p:nvSpPr>
            <p:spPr bwMode="auto">
              <a:xfrm>
                <a:off x="4108450" y="1804988"/>
                <a:ext cx="103188" cy="131762"/>
              </a:xfrm>
              <a:custGeom>
                <a:avLst/>
                <a:gdLst/>
                <a:ahLst/>
                <a:cxnLst>
                  <a:cxn ang="0">
                    <a:pos x="108" y="111"/>
                  </a:cxn>
                  <a:cxn ang="0">
                    <a:pos x="108" y="5"/>
                  </a:cxn>
                  <a:cxn ang="0">
                    <a:pos x="113" y="0"/>
                  </a:cxn>
                  <a:cxn ang="0">
                    <a:pos x="128" y="0"/>
                  </a:cxn>
                  <a:cxn ang="0">
                    <a:pos x="133" y="5"/>
                  </a:cxn>
                  <a:cxn ang="0">
                    <a:pos x="133" y="164"/>
                  </a:cxn>
                  <a:cxn ang="0">
                    <a:pos x="128" y="169"/>
                  </a:cxn>
                  <a:cxn ang="0">
                    <a:pos x="114" y="169"/>
                  </a:cxn>
                  <a:cxn ang="0">
                    <a:pos x="108" y="164"/>
                  </a:cxn>
                  <a:cxn ang="0">
                    <a:pos x="26" y="48"/>
                  </a:cxn>
                  <a:cxn ang="0">
                    <a:pos x="26" y="164"/>
                  </a:cxn>
                  <a:cxn ang="0">
                    <a:pos x="21" y="169"/>
                  </a:cxn>
                  <a:cxn ang="0">
                    <a:pos x="6" y="169"/>
                  </a:cxn>
                  <a:cxn ang="0">
                    <a:pos x="0" y="164"/>
                  </a:cxn>
                  <a:cxn ang="0">
                    <a:pos x="0" y="5"/>
                  </a:cxn>
                  <a:cxn ang="0">
                    <a:pos x="6" y="0"/>
                  </a:cxn>
                  <a:cxn ang="0">
                    <a:pos x="24" y="0"/>
                  </a:cxn>
                  <a:cxn ang="0">
                    <a:pos x="32" y="4"/>
                  </a:cxn>
                  <a:cxn ang="0">
                    <a:pos x="108" y="111"/>
                  </a:cxn>
                </a:cxnLst>
                <a:rect l="0" t="0" r="r" b="b"/>
                <a:pathLst>
                  <a:path w="133" h="169">
                    <a:moveTo>
                      <a:pt x="108" y="111"/>
                    </a:moveTo>
                    <a:cubicBezTo>
                      <a:pt x="108" y="5"/>
                      <a:pt x="108" y="5"/>
                      <a:pt x="108" y="5"/>
                    </a:cubicBezTo>
                    <a:cubicBezTo>
                      <a:pt x="108" y="1"/>
                      <a:pt x="109" y="0"/>
                      <a:pt x="113" y="0"/>
                    </a:cubicBezTo>
                    <a:cubicBezTo>
                      <a:pt x="128" y="0"/>
                      <a:pt x="128" y="0"/>
                      <a:pt x="128" y="0"/>
                    </a:cubicBezTo>
                    <a:cubicBezTo>
                      <a:pt x="132" y="0"/>
                      <a:pt x="133" y="1"/>
                      <a:pt x="133" y="5"/>
                    </a:cubicBezTo>
                    <a:cubicBezTo>
                      <a:pt x="133" y="164"/>
                      <a:pt x="133" y="164"/>
                      <a:pt x="133" y="164"/>
                    </a:cubicBezTo>
                    <a:cubicBezTo>
                      <a:pt x="133" y="168"/>
                      <a:pt x="131" y="169"/>
                      <a:pt x="128" y="169"/>
                    </a:cubicBezTo>
                    <a:cubicBezTo>
                      <a:pt x="114" y="169"/>
                      <a:pt x="114" y="169"/>
                      <a:pt x="114" y="169"/>
                    </a:cubicBezTo>
                    <a:cubicBezTo>
                      <a:pt x="111" y="169"/>
                      <a:pt x="111" y="168"/>
                      <a:pt x="108" y="164"/>
                    </a:cubicBezTo>
                    <a:cubicBezTo>
                      <a:pt x="26" y="48"/>
                      <a:pt x="26" y="48"/>
                      <a:pt x="26" y="48"/>
                    </a:cubicBezTo>
                    <a:cubicBezTo>
                      <a:pt x="26" y="164"/>
                      <a:pt x="26" y="164"/>
                      <a:pt x="26" y="164"/>
                    </a:cubicBezTo>
                    <a:cubicBezTo>
                      <a:pt x="26" y="168"/>
                      <a:pt x="25" y="169"/>
                      <a:pt x="21" y="169"/>
                    </a:cubicBezTo>
                    <a:cubicBezTo>
                      <a:pt x="6" y="169"/>
                      <a:pt x="6" y="169"/>
                      <a:pt x="6" y="169"/>
                    </a:cubicBezTo>
                    <a:cubicBezTo>
                      <a:pt x="2" y="169"/>
                      <a:pt x="0" y="169"/>
                      <a:pt x="0" y="164"/>
                    </a:cubicBezTo>
                    <a:cubicBezTo>
                      <a:pt x="0" y="5"/>
                      <a:pt x="0" y="5"/>
                      <a:pt x="0" y="5"/>
                    </a:cubicBezTo>
                    <a:cubicBezTo>
                      <a:pt x="0" y="0"/>
                      <a:pt x="2" y="0"/>
                      <a:pt x="6" y="0"/>
                    </a:cubicBezTo>
                    <a:cubicBezTo>
                      <a:pt x="24" y="0"/>
                      <a:pt x="24" y="0"/>
                      <a:pt x="24" y="0"/>
                    </a:cubicBezTo>
                    <a:cubicBezTo>
                      <a:pt x="28" y="0"/>
                      <a:pt x="29" y="0"/>
                      <a:pt x="32" y="4"/>
                    </a:cubicBezTo>
                    <a:lnTo>
                      <a:pt x="108" y="11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5" name="Freeform 8"/>
              <p:cNvSpPr>
                <a:spLocks/>
              </p:cNvSpPr>
              <p:nvPr userDrawn="1"/>
            </p:nvSpPr>
            <p:spPr bwMode="auto">
              <a:xfrm>
                <a:off x="4254500" y="1801813"/>
                <a:ext cx="85725" cy="138112"/>
              </a:xfrm>
              <a:custGeom>
                <a:avLst/>
                <a:gdLst/>
                <a:ahLst/>
                <a:cxnLst>
                  <a:cxn ang="0">
                    <a:pos x="71" y="75"/>
                  </a:cxn>
                  <a:cxn ang="0">
                    <a:pos x="110" y="127"/>
                  </a:cxn>
                  <a:cxn ang="0">
                    <a:pos x="55" y="177"/>
                  </a:cxn>
                  <a:cxn ang="0">
                    <a:pos x="0" y="138"/>
                  </a:cxn>
                  <a:cxn ang="0">
                    <a:pos x="14" y="123"/>
                  </a:cxn>
                  <a:cxn ang="0">
                    <a:pos x="31" y="137"/>
                  </a:cxn>
                  <a:cxn ang="0">
                    <a:pos x="57" y="156"/>
                  </a:cxn>
                  <a:cxn ang="0">
                    <a:pos x="80" y="134"/>
                  </a:cxn>
                  <a:cxn ang="0">
                    <a:pos x="48" y="100"/>
                  </a:cxn>
                  <a:cxn ang="0">
                    <a:pos x="35" y="93"/>
                  </a:cxn>
                  <a:cxn ang="0">
                    <a:pos x="2" y="47"/>
                  </a:cxn>
                  <a:cxn ang="0">
                    <a:pos x="54" y="0"/>
                  </a:cxn>
                  <a:cxn ang="0">
                    <a:pos x="104" y="32"/>
                  </a:cxn>
                  <a:cxn ang="0">
                    <a:pos x="90" y="46"/>
                  </a:cxn>
                  <a:cxn ang="0">
                    <a:pos x="76" y="35"/>
                  </a:cxn>
                  <a:cxn ang="0">
                    <a:pos x="53" y="19"/>
                  </a:cxn>
                  <a:cxn ang="0">
                    <a:pos x="32" y="40"/>
                  </a:cxn>
                  <a:cxn ang="0">
                    <a:pos x="60" y="70"/>
                  </a:cxn>
                  <a:cxn ang="0">
                    <a:pos x="71" y="75"/>
                  </a:cxn>
                </a:cxnLst>
                <a:rect l="0" t="0" r="r" b="b"/>
                <a:pathLst>
                  <a:path w="110" h="177">
                    <a:moveTo>
                      <a:pt x="71" y="75"/>
                    </a:moveTo>
                    <a:cubicBezTo>
                      <a:pt x="87" y="83"/>
                      <a:pt x="110" y="96"/>
                      <a:pt x="110" y="127"/>
                    </a:cubicBezTo>
                    <a:cubicBezTo>
                      <a:pt x="110" y="159"/>
                      <a:pt x="86" y="177"/>
                      <a:pt x="55" y="177"/>
                    </a:cubicBezTo>
                    <a:cubicBezTo>
                      <a:pt x="16" y="177"/>
                      <a:pt x="0" y="151"/>
                      <a:pt x="0" y="138"/>
                    </a:cubicBezTo>
                    <a:cubicBezTo>
                      <a:pt x="0" y="127"/>
                      <a:pt x="8" y="123"/>
                      <a:pt x="14" y="123"/>
                    </a:cubicBezTo>
                    <a:cubicBezTo>
                      <a:pt x="24" y="123"/>
                      <a:pt x="28" y="130"/>
                      <a:pt x="31" y="137"/>
                    </a:cubicBezTo>
                    <a:cubicBezTo>
                      <a:pt x="34" y="143"/>
                      <a:pt x="41" y="156"/>
                      <a:pt x="57" y="156"/>
                    </a:cubicBezTo>
                    <a:cubicBezTo>
                      <a:pt x="70" y="156"/>
                      <a:pt x="80" y="147"/>
                      <a:pt x="80" y="134"/>
                    </a:cubicBezTo>
                    <a:cubicBezTo>
                      <a:pt x="80" y="117"/>
                      <a:pt x="67" y="110"/>
                      <a:pt x="48" y="100"/>
                    </a:cubicBezTo>
                    <a:cubicBezTo>
                      <a:pt x="35" y="93"/>
                      <a:pt x="35" y="93"/>
                      <a:pt x="35" y="93"/>
                    </a:cubicBezTo>
                    <a:cubicBezTo>
                      <a:pt x="26" y="88"/>
                      <a:pt x="2" y="76"/>
                      <a:pt x="2" y="47"/>
                    </a:cubicBezTo>
                    <a:cubicBezTo>
                      <a:pt x="2" y="18"/>
                      <a:pt x="24" y="0"/>
                      <a:pt x="54" y="0"/>
                    </a:cubicBezTo>
                    <a:cubicBezTo>
                      <a:pt x="85" y="0"/>
                      <a:pt x="104" y="18"/>
                      <a:pt x="104" y="32"/>
                    </a:cubicBezTo>
                    <a:cubicBezTo>
                      <a:pt x="104" y="40"/>
                      <a:pt x="98" y="46"/>
                      <a:pt x="90" y="46"/>
                    </a:cubicBezTo>
                    <a:cubicBezTo>
                      <a:pt x="82" y="46"/>
                      <a:pt x="79" y="40"/>
                      <a:pt x="76" y="35"/>
                    </a:cubicBezTo>
                    <a:cubicBezTo>
                      <a:pt x="72" y="29"/>
                      <a:pt x="65" y="19"/>
                      <a:pt x="53" y="19"/>
                    </a:cubicBezTo>
                    <a:cubicBezTo>
                      <a:pt x="40" y="19"/>
                      <a:pt x="32" y="28"/>
                      <a:pt x="32" y="40"/>
                    </a:cubicBezTo>
                    <a:cubicBezTo>
                      <a:pt x="32" y="56"/>
                      <a:pt x="44" y="62"/>
                      <a:pt x="60" y="70"/>
                    </a:cubicBezTo>
                    <a:lnTo>
                      <a:pt x="71" y="75"/>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6" name="Freeform 9"/>
              <p:cNvSpPr>
                <a:spLocks/>
              </p:cNvSpPr>
              <p:nvPr userDrawn="1"/>
            </p:nvSpPr>
            <p:spPr bwMode="auto">
              <a:xfrm>
                <a:off x="4383088" y="1804988"/>
                <a:ext cx="88900" cy="134937"/>
              </a:xfrm>
              <a:custGeom>
                <a:avLst/>
                <a:gdLst/>
                <a:ahLst/>
                <a:cxnLst>
                  <a:cxn ang="0">
                    <a:pos x="116" y="119"/>
                  </a:cxn>
                  <a:cxn ang="0">
                    <a:pos x="111" y="146"/>
                  </a:cxn>
                  <a:cxn ang="0">
                    <a:pos x="58" y="173"/>
                  </a:cxn>
                  <a:cxn ang="0">
                    <a:pos x="5" y="146"/>
                  </a:cxn>
                  <a:cxn ang="0">
                    <a:pos x="0" y="117"/>
                  </a:cxn>
                  <a:cxn ang="0">
                    <a:pos x="0" y="4"/>
                  </a:cxn>
                  <a:cxn ang="0">
                    <a:pos x="4" y="0"/>
                  </a:cxn>
                  <a:cxn ang="0">
                    <a:pos x="28" y="0"/>
                  </a:cxn>
                  <a:cxn ang="0">
                    <a:pos x="33" y="4"/>
                  </a:cxn>
                  <a:cxn ang="0">
                    <a:pos x="33" y="114"/>
                  </a:cxn>
                  <a:cxn ang="0">
                    <a:pos x="62" y="148"/>
                  </a:cxn>
                  <a:cxn ang="0">
                    <a:pos x="90" y="116"/>
                  </a:cxn>
                  <a:cxn ang="0">
                    <a:pos x="90" y="5"/>
                  </a:cxn>
                  <a:cxn ang="0">
                    <a:pos x="95" y="0"/>
                  </a:cxn>
                  <a:cxn ang="0">
                    <a:pos x="111" y="0"/>
                  </a:cxn>
                  <a:cxn ang="0">
                    <a:pos x="116" y="4"/>
                  </a:cxn>
                  <a:cxn ang="0">
                    <a:pos x="116" y="119"/>
                  </a:cxn>
                </a:cxnLst>
                <a:rect l="0" t="0" r="r" b="b"/>
                <a:pathLst>
                  <a:path w="116" h="173">
                    <a:moveTo>
                      <a:pt x="116" y="119"/>
                    </a:moveTo>
                    <a:cubicBezTo>
                      <a:pt x="115" y="127"/>
                      <a:pt x="115" y="136"/>
                      <a:pt x="111" y="146"/>
                    </a:cubicBezTo>
                    <a:cubicBezTo>
                      <a:pt x="109" y="151"/>
                      <a:pt x="98" y="173"/>
                      <a:pt x="58" y="173"/>
                    </a:cubicBezTo>
                    <a:cubicBezTo>
                      <a:pt x="36" y="173"/>
                      <a:pt x="14" y="166"/>
                      <a:pt x="5" y="146"/>
                    </a:cubicBezTo>
                    <a:cubicBezTo>
                      <a:pt x="1" y="137"/>
                      <a:pt x="0" y="127"/>
                      <a:pt x="0" y="117"/>
                    </a:cubicBezTo>
                    <a:cubicBezTo>
                      <a:pt x="0" y="4"/>
                      <a:pt x="0" y="4"/>
                      <a:pt x="0" y="4"/>
                    </a:cubicBezTo>
                    <a:cubicBezTo>
                      <a:pt x="0" y="0"/>
                      <a:pt x="1" y="0"/>
                      <a:pt x="4" y="0"/>
                    </a:cubicBezTo>
                    <a:cubicBezTo>
                      <a:pt x="28" y="0"/>
                      <a:pt x="28" y="0"/>
                      <a:pt x="28" y="0"/>
                    </a:cubicBezTo>
                    <a:cubicBezTo>
                      <a:pt x="32" y="0"/>
                      <a:pt x="33" y="0"/>
                      <a:pt x="33" y="4"/>
                    </a:cubicBezTo>
                    <a:cubicBezTo>
                      <a:pt x="33" y="114"/>
                      <a:pt x="33" y="114"/>
                      <a:pt x="33" y="114"/>
                    </a:cubicBezTo>
                    <a:cubicBezTo>
                      <a:pt x="33" y="124"/>
                      <a:pt x="34" y="148"/>
                      <a:pt x="62" y="148"/>
                    </a:cubicBezTo>
                    <a:cubicBezTo>
                      <a:pt x="90" y="148"/>
                      <a:pt x="90" y="123"/>
                      <a:pt x="90" y="116"/>
                    </a:cubicBezTo>
                    <a:cubicBezTo>
                      <a:pt x="90" y="5"/>
                      <a:pt x="90" y="5"/>
                      <a:pt x="90" y="5"/>
                    </a:cubicBezTo>
                    <a:cubicBezTo>
                      <a:pt x="90" y="1"/>
                      <a:pt x="91" y="0"/>
                      <a:pt x="95" y="0"/>
                    </a:cubicBezTo>
                    <a:cubicBezTo>
                      <a:pt x="111" y="0"/>
                      <a:pt x="111" y="0"/>
                      <a:pt x="111" y="0"/>
                    </a:cubicBezTo>
                    <a:cubicBezTo>
                      <a:pt x="114" y="0"/>
                      <a:pt x="116" y="0"/>
                      <a:pt x="116" y="4"/>
                    </a:cubicBezTo>
                    <a:lnTo>
                      <a:pt x="116" y="119"/>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7" name="Freeform 10"/>
              <p:cNvSpPr>
                <a:spLocks/>
              </p:cNvSpPr>
              <p:nvPr userDrawn="1"/>
            </p:nvSpPr>
            <p:spPr bwMode="auto">
              <a:xfrm>
                <a:off x="4521200" y="1804988"/>
                <a:ext cx="71438" cy="131762"/>
              </a:xfrm>
              <a:custGeom>
                <a:avLst/>
                <a:gdLst/>
                <a:ahLst/>
                <a:cxnLst>
                  <a:cxn ang="0">
                    <a:pos x="32" y="147"/>
                  </a:cxn>
                  <a:cxn ang="0">
                    <a:pos x="87" y="147"/>
                  </a:cxn>
                  <a:cxn ang="0">
                    <a:pos x="92" y="152"/>
                  </a:cxn>
                  <a:cxn ang="0">
                    <a:pos x="92" y="164"/>
                  </a:cxn>
                  <a:cxn ang="0">
                    <a:pos x="87" y="169"/>
                  </a:cxn>
                  <a:cxn ang="0">
                    <a:pos x="5" y="169"/>
                  </a:cxn>
                  <a:cxn ang="0">
                    <a:pos x="0" y="164"/>
                  </a:cxn>
                  <a:cxn ang="0">
                    <a:pos x="0" y="5"/>
                  </a:cxn>
                  <a:cxn ang="0">
                    <a:pos x="5" y="0"/>
                  </a:cxn>
                  <a:cxn ang="0">
                    <a:pos x="27" y="0"/>
                  </a:cxn>
                  <a:cxn ang="0">
                    <a:pos x="32" y="5"/>
                  </a:cxn>
                  <a:cxn ang="0">
                    <a:pos x="32" y="147"/>
                  </a:cxn>
                </a:cxnLst>
                <a:rect l="0" t="0" r="r" b="b"/>
                <a:pathLst>
                  <a:path w="92" h="169">
                    <a:moveTo>
                      <a:pt x="32" y="147"/>
                    </a:moveTo>
                    <a:cubicBezTo>
                      <a:pt x="87" y="147"/>
                      <a:pt x="87" y="147"/>
                      <a:pt x="87" y="147"/>
                    </a:cubicBezTo>
                    <a:cubicBezTo>
                      <a:pt x="91" y="147"/>
                      <a:pt x="92" y="148"/>
                      <a:pt x="92" y="152"/>
                    </a:cubicBezTo>
                    <a:cubicBezTo>
                      <a:pt x="92" y="164"/>
                      <a:pt x="92" y="164"/>
                      <a:pt x="92" y="164"/>
                    </a:cubicBezTo>
                    <a:cubicBezTo>
                      <a:pt x="92" y="168"/>
                      <a:pt x="91" y="169"/>
                      <a:pt x="87" y="169"/>
                    </a:cubicBezTo>
                    <a:cubicBezTo>
                      <a:pt x="5" y="169"/>
                      <a:pt x="5" y="169"/>
                      <a:pt x="5" y="169"/>
                    </a:cubicBezTo>
                    <a:cubicBezTo>
                      <a:pt x="2" y="169"/>
                      <a:pt x="0" y="169"/>
                      <a:pt x="0" y="164"/>
                    </a:cubicBezTo>
                    <a:cubicBezTo>
                      <a:pt x="0" y="5"/>
                      <a:pt x="0" y="5"/>
                      <a:pt x="0" y="5"/>
                    </a:cubicBezTo>
                    <a:cubicBezTo>
                      <a:pt x="0" y="1"/>
                      <a:pt x="1" y="0"/>
                      <a:pt x="5" y="0"/>
                    </a:cubicBezTo>
                    <a:cubicBezTo>
                      <a:pt x="27" y="0"/>
                      <a:pt x="27" y="0"/>
                      <a:pt x="27" y="0"/>
                    </a:cubicBezTo>
                    <a:cubicBezTo>
                      <a:pt x="31" y="0"/>
                      <a:pt x="32" y="1"/>
                      <a:pt x="32" y="5"/>
                    </a:cubicBezTo>
                    <a:lnTo>
                      <a:pt x="32" y="147"/>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8" name="Freeform 11"/>
              <p:cNvSpPr>
                <a:spLocks/>
              </p:cNvSpPr>
              <p:nvPr userDrawn="1"/>
            </p:nvSpPr>
            <p:spPr bwMode="auto">
              <a:xfrm>
                <a:off x="4595813" y="1804988"/>
                <a:ext cx="90488" cy="131762"/>
              </a:xfrm>
              <a:custGeom>
                <a:avLst/>
                <a:gdLst/>
                <a:ahLst/>
                <a:cxnLst>
                  <a:cxn ang="0">
                    <a:pos x="74" y="21"/>
                  </a:cxn>
                  <a:cxn ang="0">
                    <a:pos x="74" y="163"/>
                  </a:cxn>
                  <a:cxn ang="0">
                    <a:pos x="69" y="169"/>
                  </a:cxn>
                  <a:cxn ang="0">
                    <a:pos x="47" y="169"/>
                  </a:cxn>
                  <a:cxn ang="0">
                    <a:pos x="41" y="163"/>
                  </a:cxn>
                  <a:cxn ang="0">
                    <a:pos x="41" y="21"/>
                  </a:cxn>
                  <a:cxn ang="0">
                    <a:pos x="5" y="21"/>
                  </a:cxn>
                  <a:cxn ang="0">
                    <a:pos x="0" y="16"/>
                  </a:cxn>
                  <a:cxn ang="0">
                    <a:pos x="0" y="5"/>
                  </a:cxn>
                  <a:cxn ang="0">
                    <a:pos x="5" y="0"/>
                  </a:cxn>
                  <a:cxn ang="0">
                    <a:pos x="110" y="0"/>
                  </a:cxn>
                  <a:cxn ang="0">
                    <a:pos x="116" y="4"/>
                  </a:cxn>
                  <a:cxn ang="0">
                    <a:pos x="116" y="16"/>
                  </a:cxn>
                  <a:cxn ang="0">
                    <a:pos x="110" y="21"/>
                  </a:cxn>
                  <a:cxn ang="0">
                    <a:pos x="74" y="21"/>
                  </a:cxn>
                </a:cxnLst>
                <a:rect l="0" t="0" r="r" b="b"/>
                <a:pathLst>
                  <a:path w="116" h="169">
                    <a:moveTo>
                      <a:pt x="74" y="21"/>
                    </a:moveTo>
                    <a:cubicBezTo>
                      <a:pt x="74" y="163"/>
                      <a:pt x="74" y="163"/>
                      <a:pt x="74" y="163"/>
                    </a:cubicBezTo>
                    <a:cubicBezTo>
                      <a:pt x="74" y="167"/>
                      <a:pt x="73" y="169"/>
                      <a:pt x="69" y="169"/>
                    </a:cubicBezTo>
                    <a:cubicBezTo>
                      <a:pt x="47" y="169"/>
                      <a:pt x="47" y="169"/>
                      <a:pt x="47" y="169"/>
                    </a:cubicBezTo>
                    <a:cubicBezTo>
                      <a:pt x="43" y="169"/>
                      <a:pt x="41" y="168"/>
                      <a:pt x="41" y="163"/>
                    </a:cubicBezTo>
                    <a:cubicBezTo>
                      <a:pt x="41" y="21"/>
                      <a:pt x="41" y="21"/>
                      <a:pt x="41" y="21"/>
                    </a:cubicBezTo>
                    <a:cubicBezTo>
                      <a:pt x="5" y="21"/>
                      <a:pt x="5" y="21"/>
                      <a:pt x="5" y="21"/>
                    </a:cubicBezTo>
                    <a:cubicBezTo>
                      <a:pt x="1" y="21"/>
                      <a:pt x="0" y="20"/>
                      <a:pt x="0" y="16"/>
                    </a:cubicBezTo>
                    <a:cubicBezTo>
                      <a:pt x="0" y="5"/>
                      <a:pt x="0" y="5"/>
                      <a:pt x="0" y="5"/>
                    </a:cubicBezTo>
                    <a:cubicBezTo>
                      <a:pt x="0" y="0"/>
                      <a:pt x="2" y="0"/>
                      <a:pt x="5" y="0"/>
                    </a:cubicBezTo>
                    <a:cubicBezTo>
                      <a:pt x="110" y="0"/>
                      <a:pt x="110" y="0"/>
                      <a:pt x="110" y="0"/>
                    </a:cubicBezTo>
                    <a:cubicBezTo>
                      <a:pt x="114" y="0"/>
                      <a:pt x="116" y="0"/>
                      <a:pt x="116" y="4"/>
                    </a:cubicBezTo>
                    <a:cubicBezTo>
                      <a:pt x="116" y="16"/>
                      <a:pt x="116" y="16"/>
                      <a:pt x="116" y="16"/>
                    </a:cubicBezTo>
                    <a:cubicBezTo>
                      <a:pt x="116" y="20"/>
                      <a:pt x="115" y="21"/>
                      <a:pt x="110" y="21"/>
                    </a:cubicBezTo>
                    <a:lnTo>
                      <a:pt x="74" y="2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9" name="Freeform 12"/>
              <p:cNvSpPr>
                <a:spLocks noEditPoints="1"/>
              </p:cNvSpPr>
              <p:nvPr userDrawn="1"/>
            </p:nvSpPr>
            <p:spPr bwMode="auto">
              <a:xfrm>
                <a:off x="4689475" y="1804988"/>
                <a:ext cx="112713" cy="131762"/>
              </a:xfrm>
              <a:custGeom>
                <a:avLst/>
                <a:gdLst/>
                <a:ahLst/>
                <a:cxnLst>
                  <a:cxn ang="0">
                    <a:pos x="87" y="98"/>
                  </a:cxn>
                  <a:cxn ang="0">
                    <a:pos x="68" y="43"/>
                  </a:cxn>
                  <a:cxn ang="0">
                    <a:pos x="50" y="98"/>
                  </a:cxn>
                  <a:cxn ang="0">
                    <a:pos x="87" y="98"/>
                  </a:cxn>
                  <a:cxn ang="0">
                    <a:pos x="93" y="116"/>
                  </a:cxn>
                  <a:cxn ang="0">
                    <a:pos x="44" y="116"/>
                  </a:cxn>
                  <a:cxn ang="0">
                    <a:pos x="27" y="164"/>
                  </a:cxn>
                  <a:cxn ang="0">
                    <a:pos x="21" y="169"/>
                  </a:cxn>
                  <a:cxn ang="0">
                    <a:pos x="5" y="169"/>
                  </a:cxn>
                  <a:cxn ang="0">
                    <a:pos x="0" y="166"/>
                  </a:cxn>
                  <a:cxn ang="0">
                    <a:pos x="2" y="161"/>
                  </a:cxn>
                  <a:cxn ang="0">
                    <a:pos x="60" y="4"/>
                  </a:cxn>
                  <a:cxn ang="0">
                    <a:pos x="66" y="0"/>
                  </a:cxn>
                  <a:cxn ang="0">
                    <a:pos x="80" y="0"/>
                  </a:cxn>
                  <a:cxn ang="0">
                    <a:pos x="86" y="3"/>
                  </a:cxn>
                  <a:cxn ang="0">
                    <a:pos x="144" y="163"/>
                  </a:cxn>
                  <a:cxn ang="0">
                    <a:pos x="145" y="166"/>
                  </a:cxn>
                  <a:cxn ang="0">
                    <a:pos x="141" y="169"/>
                  </a:cxn>
                  <a:cxn ang="0">
                    <a:pos x="117" y="169"/>
                  </a:cxn>
                  <a:cxn ang="0">
                    <a:pos x="110" y="165"/>
                  </a:cxn>
                  <a:cxn ang="0">
                    <a:pos x="93" y="116"/>
                  </a:cxn>
                </a:cxnLst>
                <a:rect l="0" t="0" r="r" b="b"/>
                <a:pathLst>
                  <a:path w="145" h="169">
                    <a:moveTo>
                      <a:pt x="87" y="98"/>
                    </a:moveTo>
                    <a:cubicBezTo>
                      <a:pt x="68" y="43"/>
                      <a:pt x="68" y="43"/>
                      <a:pt x="68" y="43"/>
                    </a:cubicBezTo>
                    <a:cubicBezTo>
                      <a:pt x="50" y="98"/>
                      <a:pt x="50" y="98"/>
                      <a:pt x="50" y="98"/>
                    </a:cubicBezTo>
                    <a:lnTo>
                      <a:pt x="87" y="98"/>
                    </a:lnTo>
                    <a:close/>
                    <a:moveTo>
                      <a:pt x="93" y="116"/>
                    </a:moveTo>
                    <a:cubicBezTo>
                      <a:pt x="44" y="116"/>
                      <a:pt x="44" y="116"/>
                      <a:pt x="44" y="116"/>
                    </a:cubicBezTo>
                    <a:cubicBezTo>
                      <a:pt x="27" y="164"/>
                      <a:pt x="27" y="164"/>
                      <a:pt x="27" y="164"/>
                    </a:cubicBezTo>
                    <a:cubicBezTo>
                      <a:pt x="26" y="168"/>
                      <a:pt x="25" y="169"/>
                      <a:pt x="21" y="169"/>
                    </a:cubicBezTo>
                    <a:cubicBezTo>
                      <a:pt x="5" y="169"/>
                      <a:pt x="5" y="169"/>
                      <a:pt x="5" y="169"/>
                    </a:cubicBezTo>
                    <a:cubicBezTo>
                      <a:pt x="3" y="169"/>
                      <a:pt x="0" y="169"/>
                      <a:pt x="0" y="166"/>
                    </a:cubicBezTo>
                    <a:cubicBezTo>
                      <a:pt x="0" y="165"/>
                      <a:pt x="2" y="162"/>
                      <a:pt x="2" y="161"/>
                    </a:cubicBezTo>
                    <a:cubicBezTo>
                      <a:pt x="60" y="4"/>
                      <a:pt x="60" y="4"/>
                      <a:pt x="60" y="4"/>
                    </a:cubicBezTo>
                    <a:cubicBezTo>
                      <a:pt x="62" y="1"/>
                      <a:pt x="62" y="0"/>
                      <a:pt x="66" y="0"/>
                    </a:cubicBezTo>
                    <a:cubicBezTo>
                      <a:pt x="80" y="0"/>
                      <a:pt x="80" y="0"/>
                      <a:pt x="80" y="0"/>
                    </a:cubicBezTo>
                    <a:cubicBezTo>
                      <a:pt x="84" y="0"/>
                      <a:pt x="84" y="0"/>
                      <a:pt x="86" y="3"/>
                    </a:cubicBezTo>
                    <a:cubicBezTo>
                      <a:pt x="144" y="163"/>
                      <a:pt x="144" y="163"/>
                      <a:pt x="144" y="163"/>
                    </a:cubicBezTo>
                    <a:cubicBezTo>
                      <a:pt x="145" y="164"/>
                      <a:pt x="145" y="165"/>
                      <a:pt x="145" y="166"/>
                    </a:cubicBezTo>
                    <a:cubicBezTo>
                      <a:pt x="145" y="169"/>
                      <a:pt x="143" y="169"/>
                      <a:pt x="141" y="169"/>
                    </a:cubicBezTo>
                    <a:cubicBezTo>
                      <a:pt x="117" y="169"/>
                      <a:pt x="117" y="169"/>
                      <a:pt x="117" y="169"/>
                    </a:cubicBezTo>
                    <a:cubicBezTo>
                      <a:pt x="113" y="169"/>
                      <a:pt x="112" y="169"/>
                      <a:pt x="110" y="165"/>
                    </a:cubicBezTo>
                    <a:lnTo>
                      <a:pt x="93" y="116"/>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0" name="Freeform 13"/>
              <p:cNvSpPr>
                <a:spLocks/>
              </p:cNvSpPr>
              <p:nvPr userDrawn="1"/>
            </p:nvSpPr>
            <p:spPr bwMode="auto">
              <a:xfrm>
                <a:off x="4833938" y="1804988"/>
                <a:ext cx="103188" cy="131762"/>
              </a:xfrm>
              <a:custGeom>
                <a:avLst/>
                <a:gdLst/>
                <a:ahLst/>
                <a:cxnLst>
                  <a:cxn ang="0">
                    <a:pos x="108" y="111"/>
                  </a:cxn>
                  <a:cxn ang="0">
                    <a:pos x="108" y="5"/>
                  </a:cxn>
                  <a:cxn ang="0">
                    <a:pos x="113" y="0"/>
                  </a:cxn>
                  <a:cxn ang="0">
                    <a:pos x="128" y="0"/>
                  </a:cxn>
                  <a:cxn ang="0">
                    <a:pos x="133" y="5"/>
                  </a:cxn>
                  <a:cxn ang="0">
                    <a:pos x="133" y="164"/>
                  </a:cxn>
                  <a:cxn ang="0">
                    <a:pos x="128" y="169"/>
                  </a:cxn>
                  <a:cxn ang="0">
                    <a:pos x="114" y="169"/>
                  </a:cxn>
                  <a:cxn ang="0">
                    <a:pos x="108" y="164"/>
                  </a:cxn>
                  <a:cxn ang="0">
                    <a:pos x="26" y="48"/>
                  </a:cxn>
                  <a:cxn ang="0">
                    <a:pos x="26" y="164"/>
                  </a:cxn>
                  <a:cxn ang="0">
                    <a:pos x="21" y="169"/>
                  </a:cxn>
                  <a:cxn ang="0">
                    <a:pos x="6" y="169"/>
                  </a:cxn>
                  <a:cxn ang="0">
                    <a:pos x="0" y="164"/>
                  </a:cxn>
                  <a:cxn ang="0">
                    <a:pos x="0" y="5"/>
                  </a:cxn>
                  <a:cxn ang="0">
                    <a:pos x="6" y="0"/>
                  </a:cxn>
                  <a:cxn ang="0">
                    <a:pos x="24" y="0"/>
                  </a:cxn>
                  <a:cxn ang="0">
                    <a:pos x="32" y="4"/>
                  </a:cxn>
                  <a:cxn ang="0">
                    <a:pos x="108" y="111"/>
                  </a:cxn>
                </a:cxnLst>
                <a:rect l="0" t="0" r="r" b="b"/>
                <a:pathLst>
                  <a:path w="133" h="169">
                    <a:moveTo>
                      <a:pt x="108" y="111"/>
                    </a:moveTo>
                    <a:cubicBezTo>
                      <a:pt x="108" y="5"/>
                      <a:pt x="108" y="5"/>
                      <a:pt x="108" y="5"/>
                    </a:cubicBezTo>
                    <a:cubicBezTo>
                      <a:pt x="108" y="1"/>
                      <a:pt x="109" y="0"/>
                      <a:pt x="113" y="0"/>
                    </a:cubicBezTo>
                    <a:cubicBezTo>
                      <a:pt x="128" y="0"/>
                      <a:pt x="128" y="0"/>
                      <a:pt x="128" y="0"/>
                    </a:cubicBezTo>
                    <a:cubicBezTo>
                      <a:pt x="132" y="0"/>
                      <a:pt x="133" y="1"/>
                      <a:pt x="133" y="5"/>
                    </a:cubicBezTo>
                    <a:cubicBezTo>
                      <a:pt x="133" y="164"/>
                      <a:pt x="133" y="164"/>
                      <a:pt x="133" y="164"/>
                    </a:cubicBezTo>
                    <a:cubicBezTo>
                      <a:pt x="133" y="168"/>
                      <a:pt x="131" y="169"/>
                      <a:pt x="128" y="169"/>
                    </a:cubicBezTo>
                    <a:cubicBezTo>
                      <a:pt x="114" y="169"/>
                      <a:pt x="114" y="169"/>
                      <a:pt x="114" y="169"/>
                    </a:cubicBezTo>
                    <a:cubicBezTo>
                      <a:pt x="111" y="169"/>
                      <a:pt x="111" y="168"/>
                      <a:pt x="108" y="164"/>
                    </a:cubicBezTo>
                    <a:cubicBezTo>
                      <a:pt x="26" y="48"/>
                      <a:pt x="26" y="48"/>
                      <a:pt x="26" y="48"/>
                    </a:cubicBezTo>
                    <a:cubicBezTo>
                      <a:pt x="26" y="164"/>
                      <a:pt x="26" y="164"/>
                      <a:pt x="26" y="164"/>
                    </a:cubicBezTo>
                    <a:cubicBezTo>
                      <a:pt x="26" y="168"/>
                      <a:pt x="25" y="169"/>
                      <a:pt x="21" y="169"/>
                    </a:cubicBezTo>
                    <a:cubicBezTo>
                      <a:pt x="6" y="169"/>
                      <a:pt x="6" y="169"/>
                      <a:pt x="6" y="169"/>
                    </a:cubicBezTo>
                    <a:cubicBezTo>
                      <a:pt x="2" y="169"/>
                      <a:pt x="0" y="169"/>
                      <a:pt x="0" y="164"/>
                    </a:cubicBezTo>
                    <a:cubicBezTo>
                      <a:pt x="0" y="5"/>
                      <a:pt x="0" y="5"/>
                      <a:pt x="0" y="5"/>
                    </a:cubicBezTo>
                    <a:cubicBezTo>
                      <a:pt x="0" y="0"/>
                      <a:pt x="2" y="0"/>
                      <a:pt x="6" y="0"/>
                    </a:cubicBezTo>
                    <a:cubicBezTo>
                      <a:pt x="24" y="0"/>
                      <a:pt x="24" y="0"/>
                      <a:pt x="24" y="0"/>
                    </a:cubicBezTo>
                    <a:cubicBezTo>
                      <a:pt x="28" y="0"/>
                      <a:pt x="29" y="0"/>
                      <a:pt x="32" y="4"/>
                    </a:cubicBezTo>
                    <a:lnTo>
                      <a:pt x="108" y="11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1" name="Freeform 14"/>
              <p:cNvSpPr>
                <a:spLocks/>
              </p:cNvSpPr>
              <p:nvPr userDrawn="1"/>
            </p:nvSpPr>
            <p:spPr bwMode="auto">
              <a:xfrm>
                <a:off x="4970463" y="1804988"/>
                <a:ext cx="88900" cy="131762"/>
              </a:xfrm>
              <a:custGeom>
                <a:avLst/>
                <a:gdLst/>
                <a:ahLst/>
                <a:cxnLst>
                  <a:cxn ang="0">
                    <a:pos x="74" y="21"/>
                  </a:cxn>
                  <a:cxn ang="0">
                    <a:pos x="74" y="163"/>
                  </a:cxn>
                  <a:cxn ang="0">
                    <a:pos x="69" y="169"/>
                  </a:cxn>
                  <a:cxn ang="0">
                    <a:pos x="48" y="169"/>
                  </a:cxn>
                  <a:cxn ang="0">
                    <a:pos x="42" y="163"/>
                  </a:cxn>
                  <a:cxn ang="0">
                    <a:pos x="42" y="21"/>
                  </a:cxn>
                  <a:cxn ang="0">
                    <a:pos x="6" y="21"/>
                  </a:cxn>
                  <a:cxn ang="0">
                    <a:pos x="0" y="16"/>
                  </a:cxn>
                  <a:cxn ang="0">
                    <a:pos x="0" y="5"/>
                  </a:cxn>
                  <a:cxn ang="0">
                    <a:pos x="6" y="0"/>
                  </a:cxn>
                  <a:cxn ang="0">
                    <a:pos x="111" y="0"/>
                  </a:cxn>
                  <a:cxn ang="0">
                    <a:pos x="116" y="4"/>
                  </a:cxn>
                  <a:cxn ang="0">
                    <a:pos x="116" y="16"/>
                  </a:cxn>
                  <a:cxn ang="0">
                    <a:pos x="111" y="21"/>
                  </a:cxn>
                  <a:cxn ang="0">
                    <a:pos x="74" y="21"/>
                  </a:cxn>
                </a:cxnLst>
                <a:rect l="0" t="0" r="r" b="b"/>
                <a:pathLst>
                  <a:path w="116" h="169">
                    <a:moveTo>
                      <a:pt x="74" y="21"/>
                    </a:moveTo>
                    <a:cubicBezTo>
                      <a:pt x="74" y="163"/>
                      <a:pt x="74" y="163"/>
                      <a:pt x="74" y="163"/>
                    </a:cubicBezTo>
                    <a:cubicBezTo>
                      <a:pt x="74" y="167"/>
                      <a:pt x="74" y="169"/>
                      <a:pt x="69" y="169"/>
                    </a:cubicBezTo>
                    <a:cubicBezTo>
                      <a:pt x="48" y="169"/>
                      <a:pt x="48" y="169"/>
                      <a:pt x="48" y="169"/>
                    </a:cubicBezTo>
                    <a:cubicBezTo>
                      <a:pt x="43" y="169"/>
                      <a:pt x="42" y="168"/>
                      <a:pt x="42" y="163"/>
                    </a:cubicBezTo>
                    <a:cubicBezTo>
                      <a:pt x="42" y="21"/>
                      <a:pt x="42" y="21"/>
                      <a:pt x="42" y="21"/>
                    </a:cubicBezTo>
                    <a:cubicBezTo>
                      <a:pt x="6" y="21"/>
                      <a:pt x="6" y="21"/>
                      <a:pt x="6" y="21"/>
                    </a:cubicBezTo>
                    <a:cubicBezTo>
                      <a:pt x="1" y="21"/>
                      <a:pt x="0" y="20"/>
                      <a:pt x="0" y="16"/>
                    </a:cubicBezTo>
                    <a:cubicBezTo>
                      <a:pt x="0" y="5"/>
                      <a:pt x="0" y="5"/>
                      <a:pt x="0" y="5"/>
                    </a:cubicBezTo>
                    <a:cubicBezTo>
                      <a:pt x="0" y="0"/>
                      <a:pt x="2" y="0"/>
                      <a:pt x="6" y="0"/>
                    </a:cubicBezTo>
                    <a:cubicBezTo>
                      <a:pt x="111" y="0"/>
                      <a:pt x="111" y="0"/>
                      <a:pt x="111" y="0"/>
                    </a:cubicBezTo>
                    <a:cubicBezTo>
                      <a:pt x="114" y="0"/>
                      <a:pt x="116" y="0"/>
                      <a:pt x="116" y="4"/>
                    </a:cubicBezTo>
                    <a:cubicBezTo>
                      <a:pt x="116" y="16"/>
                      <a:pt x="116" y="16"/>
                      <a:pt x="116" y="16"/>
                    </a:cubicBezTo>
                    <a:cubicBezTo>
                      <a:pt x="116" y="20"/>
                      <a:pt x="115" y="21"/>
                      <a:pt x="111" y="21"/>
                    </a:cubicBezTo>
                    <a:lnTo>
                      <a:pt x="74" y="2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2" name="Freeform 15"/>
              <p:cNvSpPr>
                <a:spLocks/>
              </p:cNvSpPr>
              <p:nvPr userDrawn="1"/>
            </p:nvSpPr>
            <p:spPr bwMode="auto">
              <a:xfrm>
                <a:off x="5086350" y="1801813"/>
                <a:ext cx="85725" cy="138112"/>
              </a:xfrm>
              <a:custGeom>
                <a:avLst/>
                <a:gdLst/>
                <a:ahLst/>
                <a:cxnLst>
                  <a:cxn ang="0">
                    <a:pos x="71" y="75"/>
                  </a:cxn>
                  <a:cxn ang="0">
                    <a:pos x="110" y="127"/>
                  </a:cxn>
                  <a:cxn ang="0">
                    <a:pos x="55" y="177"/>
                  </a:cxn>
                  <a:cxn ang="0">
                    <a:pos x="0" y="138"/>
                  </a:cxn>
                  <a:cxn ang="0">
                    <a:pos x="14" y="123"/>
                  </a:cxn>
                  <a:cxn ang="0">
                    <a:pos x="31" y="137"/>
                  </a:cxn>
                  <a:cxn ang="0">
                    <a:pos x="57" y="156"/>
                  </a:cxn>
                  <a:cxn ang="0">
                    <a:pos x="79" y="134"/>
                  </a:cxn>
                  <a:cxn ang="0">
                    <a:pos x="48" y="100"/>
                  </a:cxn>
                  <a:cxn ang="0">
                    <a:pos x="34" y="93"/>
                  </a:cxn>
                  <a:cxn ang="0">
                    <a:pos x="2" y="47"/>
                  </a:cxn>
                  <a:cxn ang="0">
                    <a:pos x="53" y="0"/>
                  </a:cxn>
                  <a:cxn ang="0">
                    <a:pos x="104" y="32"/>
                  </a:cxn>
                  <a:cxn ang="0">
                    <a:pos x="90" y="46"/>
                  </a:cxn>
                  <a:cxn ang="0">
                    <a:pos x="75" y="35"/>
                  </a:cxn>
                  <a:cxn ang="0">
                    <a:pos x="52" y="19"/>
                  </a:cxn>
                  <a:cxn ang="0">
                    <a:pos x="31" y="40"/>
                  </a:cxn>
                  <a:cxn ang="0">
                    <a:pos x="60" y="70"/>
                  </a:cxn>
                  <a:cxn ang="0">
                    <a:pos x="71" y="75"/>
                  </a:cxn>
                </a:cxnLst>
                <a:rect l="0" t="0" r="r" b="b"/>
                <a:pathLst>
                  <a:path w="110" h="177">
                    <a:moveTo>
                      <a:pt x="71" y="75"/>
                    </a:moveTo>
                    <a:cubicBezTo>
                      <a:pt x="86" y="83"/>
                      <a:pt x="110" y="96"/>
                      <a:pt x="110" y="127"/>
                    </a:cubicBezTo>
                    <a:cubicBezTo>
                      <a:pt x="110" y="159"/>
                      <a:pt x="86" y="177"/>
                      <a:pt x="55" y="177"/>
                    </a:cubicBezTo>
                    <a:cubicBezTo>
                      <a:pt x="16" y="177"/>
                      <a:pt x="0" y="151"/>
                      <a:pt x="0" y="138"/>
                    </a:cubicBezTo>
                    <a:cubicBezTo>
                      <a:pt x="0" y="127"/>
                      <a:pt x="8" y="123"/>
                      <a:pt x="14" y="123"/>
                    </a:cubicBezTo>
                    <a:cubicBezTo>
                      <a:pt x="23" y="123"/>
                      <a:pt x="27" y="130"/>
                      <a:pt x="31" y="137"/>
                    </a:cubicBezTo>
                    <a:cubicBezTo>
                      <a:pt x="34" y="143"/>
                      <a:pt x="41" y="156"/>
                      <a:pt x="57" y="156"/>
                    </a:cubicBezTo>
                    <a:cubicBezTo>
                      <a:pt x="70" y="156"/>
                      <a:pt x="79" y="147"/>
                      <a:pt x="79" y="134"/>
                    </a:cubicBezTo>
                    <a:cubicBezTo>
                      <a:pt x="79" y="117"/>
                      <a:pt x="67" y="110"/>
                      <a:pt x="48" y="100"/>
                    </a:cubicBezTo>
                    <a:cubicBezTo>
                      <a:pt x="34" y="93"/>
                      <a:pt x="34" y="93"/>
                      <a:pt x="34" y="93"/>
                    </a:cubicBezTo>
                    <a:cubicBezTo>
                      <a:pt x="25" y="88"/>
                      <a:pt x="2" y="76"/>
                      <a:pt x="2" y="47"/>
                    </a:cubicBezTo>
                    <a:cubicBezTo>
                      <a:pt x="2" y="18"/>
                      <a:pt x="23" y="0"/>
                      <a:pt x="53" y="0"/>
                    </a:cubicBezTo>
                    <a:cubicBezTo>
                      <a:pt x="85" y="0"/>
                      <a:pt x="104" y="18"/>
                      <a:pt x="104" y="32"/>
                    </a:cubicBezTo>
                    <a:cubicBezTo>
                      <a:pt x="104" y="40"/>
                      <a:pt x="98" y="46"/>
                      <a:pt x="90" y="46"/>
                    </a:cubicBezTo>
                    <a:cubicBezTo>
                      <a:pt x="82" y="46"/>
                      <a:pt x="79" y="40"/>
                      <a:pt x="75" y="35"/>
                    </a:cubicBezTo>
                    <a:cubicBezTo>
                      <a:pt x="71" y="29"/>
                      <a:pt x="65" y="19"/>
                      <a:pt x="52" y="19"/>
                    </a:cubicBezTo>
                    <a:cubicBezTo>
                      <a:pt x="40" y="19"/>
                      <a:pt x="31" y="28"/>
                      <a:pt x="31" y="40"/>
                    </a:cubicBezTo>
                    <a:cubicBezTo>
                      <a:pt x="31" y="56"/>
                      <a:pt x="44" y="62"/>
                      <a:pt x="60" y="70"/>
                    </a:cubicBezTo>
                    <a:lnTo>
                      <a:pt x="71" y="75"/>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sp>
          <p:nvSpPr>
            <p:cNvPr id="12" name="Rectangle 16"/>
            <p:cNvSpPr>
              <a:spLocks noChangeArrowheads="1"/>
            </p:cNvSpPr>
            <p:nvPr userDrawn="1"/>
          </p:nvSpPr>
          <p:spPr bwMode="auto">
            <a:xfrm>
              <a:off x="3813175" y="1984375"/>
              <a:ext cx="1368425" cy="9525"/>
            </a:xfrm>
            <a:prstGeom prst="rect">
              <a:avLst/>
            </a:prstGeom>
            <a:solidFill>
              <a:srgbClr val="225696"/>
            </a:solidFill>
            <a:ln w="9525">
              <a:noFill/>
              <a:miter lim="800000"/>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nvGrpSpPr>
            <p:cNvPr id="14" name="Group 31"/>
            <p:cNvGrpSpPr/>
            <p:nvPr userDrawn="1"/>
          </p:nvGrpSpPr>
          <p:grpSpPr>
            <a:xfrm>
              <a:off x="3813175" y="1435101"/>
              <a:ext cx="1358901" cy="317499"/>
              <a:chOff x="3813175" y="1435101"/>
              <a:chExt cx="1358901" cy="317499"/>
            </a:xfrm>
          </p:grpSpPr>
          <p:sp>
            <p:nvSpPr>
              <p:cNvPr id="18" name="Freeform 17"/>
              <p:cNvSpPr>
                <a:spLocks/>
              </p:cNvSpPr>
              <p:nvPr userDrawn="1"/>
            </p:nvSpPr>
            <p:spPr bwMode="auto">
              <a:xfrm>
                <a:off x="4551363" y="1452563"/>
                <a:ext cx="285750" cy="300037"/>
              </a:xfrm>
              <a:custGeom>
                <a:avLst/>
                <a:gdLst/>
                <a:ahLst/>
                <a:cxnLst>
                  <a:cxn ang="0">
                    <a:pos x="54" y="0"/>
                  </a:cxn>
                  <a:cxn ang="0">
                    <a:pos x="201" y="207"/>
                  </a:cxn>
                  <a:cxn ang="0">
                    <a:pos x="330" y="0"/>
                  </a:cxn>
                  <a:cxn ang="0">
                    <a:pos x="368" y="38"/>
                  </a:cxn>
                  <a:cxn ang="0">
                    <a:pos x="228" y="314"/>
                  </a:cxn>
                  <a:cxn ang="0">
                    <a:pos x="51" y="387"/>
                  </a:cxn>
                  <a:cxn ang="0">
                    <a:pos x="0" y="357"/>
                  </a:cxn>
                  <a:cxn ang="0">
                    <a:pos x="55" y="325"/>
                  </a:cxn>
                  <a:cxn ang="0">
                    <a:pos x="170" y="272"/>
                  </a:cxn>
                  <a:cxn ang="0">
                    <a:pos x="20" y="50"/>
                  </a:cxn>
                  <a:cxn ang="0">
                    <a:pos x="54" y="0"/>
                  </a:cxn>
                </a:cxnLst>
                <a:rect l="0" t="0" r="r" b="b"/>
                <a:pathLst>
                  <a:path w="368" h="387">
                    <a:moveTo>
                      <a:pt x="54" y="0"/>
                    </a:moveTo>
                    <a:cubicBezTo>
                      <a:pt x="99" y="0"/>
                      <a:pt x="96" y="207"/>
                      <a:pt x="201" y="207"/>
                    </a:cubicBezTo>
                    <a:cubicBezTo>
                      <a:pt x="296" y="207"/>
                      <a:pt x="280" y="0"/>
                      <a:pt x="330" y="0"/>
                    </a:cubicBezTo>
                    <a:cubicBezTo>
                      <a:pt x="368" y="0"/>
                      <a:pt x="368" y="28"/>
                      <a:pt x="368" y="38"/>
                    </a:cubicBezTo>
                    <a:cubicBezTo>
                      <a:pt x="368" y="48"/>
                      <a:pt x="332" y="235"/>
                      <a:pt x="228" y="314"/>
                    </a:cubicBezTo>
                    <a:cubicBezTo>
                      <a:pt x="147" y="376"/>
                      <a:pt x="81" y="387"/>
                      <a:pt x="51" y="387"/>
                    </a:cubicBezTo>
                    <a:cubicBezTo>
                      <a:pt x="21" y="387"/>
                      <a:pt x="0" y="376"/>
                      <a:pt x="0" y="357"/>
                    </a:cubicBezTo>
                    <a:cubicBezTo>
                      <a:pt x="0" y="339"/>
                      <a:pt x="21" y="328"/>
                      <a:pt x="55" y="325"/>
                    </a:cubicBezTo>
                    <a:cubicBezTo>
                      <a:pt x="95" y="322"/>
                      <a:pt x="170" y="287"/>
                      <a:pt x="170" y="272"/>
                    </a:cubicBezTo>
                    <a:cubicBezTo>
                      <a:pt x="74" y="272"/>
                      <a:pt x="22" y="64"/>
                      <a:pt x="20" y="50"/>
                    </a:cubicBezTo>
                    <a:cubicBezTo>
                      <a:pt x="16" y="11"/>
                      <a:pt x="32" y="0"/>
                      <a:pt x="54" y="0"/>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19" name="Freeform 18"/>
              <p:cNvSpPr>
                <a:spLocks/>
              </p:cNvSpPr>
              <p:nvPr userDrawn="1"/>
            </p:nvSpPr>
            <p:spPr bwMode="auto">
              <a:xfrm>
                <a:off x="4189413" y="1444625"/>
                <a:ext cx="309563" cy="233362"/>
              </a:xfrm>
              <a:custGeom>
                <a:avLst/>
                <a:gdLst/>
                <a:ahLst/>
                <a:cxnLst>
                  <a:cxn ang="0">
                    <a:pos x="371" y="251"/>
                  </a:cxn>
                  <a:cxn ang="0">
                    <a:pos x="258" y="158"/>
                  </a:cxn>
                  <a:cxn ang="0">
                    <a:pos x="361" y="48"/>
                  </a:cxn>
                  <a:cxn ang="0">
                    <a:pos x="384" y="19"/>
                  </a:cxn>
                  <a:cxn ang="0">
                    <a:pos x="349" y="2"/>
                  </a:cxn>
                  <a:cxn ang="0">
                    <a:pos x="200" y="91"/>
                  </a:cxn>
                  <a:cxn ang="0">
                    <a:pos x="51" y="2"/>
                  </a:cxn>
                  <a:cxn ang="0">
                    <a:pos x="16" y="19"/>
                  </a:cxn>
                  <a:cxn ang="0">
                    <a:pos x="39" y="48"/>
                  </a:cxn>
                  <a:cxn ang="0">
                    <a:pos x="142" y="158"/>
                  </a:cxn>
                  <a:cxn ang="0">
                    <a:pos x="29" y="251"/>
                  </a:cxn>
                  <a:cxn ang="0">
                    <a:pos x="4" y="280"/>
                  </a:cxn>
                  <a:cxn ang="0">
                    <a:pos x="41" y="298"/>
                  </a:cxn>
                  <a:cxn ang="0">
                    <a:pos x="200" y="218"/>
                  </a:cxn>
                  <a:cxn ang="0">
                    <a:pos x="359" y="298"/>
                  </a:cxn>
                  <a:cxn ang="0">
                    <a:pos x="396" y="280"/>
                  </a:cxn>
                  <a:cxn ang="0">
                    <a:pos x="371" y="251"/>
                  </a:cxn>
                </a:cxnLst>
                <a:rect l="0" t="0" r="r" b="b"/>
                <a:pathLst>
                  <a:path w="399" h="300">
                    <a:moveTo>
                      <a:pt x="371" y="251"/>
                    </a:moveTo>
                    <a:cubicBezTo>
                      <a:pt x="370" y="251"/>
                      <a:pt x="258" y="225"/>
                      <a:pt x="258" y="158"/>
                    </a:cubicBezTo>
                    <a:cubicBezTo>
                      <a:pt x="258" y="79"/>
                      <a:pt x="360" y="48"/>
                      <a:pt x="361" y="48"/>
                    </a:cubicBezTo>
                    <a:cubicBezTo>
                      <a:pt x="373" y="44"/>
                      <a:pt x="387" y="31"/>
                      <a:pt x="384" y="19"/>
                    </a:cubicBezTo>
                    <a:cubicBezTo>
                      <a:pt x="379" y="2"/>
                      <a:pt x="365" y="0"/>
                      <a:pt x="349" y="2"/>
                    </a:cubicBezTo>
                    <a:cubicBezTo>
                      <a:pt x="345" y="2"/>
                      <a:pt x="247" y="26"/>
                      <a:pt x="200" y="91"/>
                    </a:cubicBezTo>
                    <a:cubicBezTo>
                      <a:pt x="152" y="26"/>
                      <a:pt x="55" y="3"/>
                      <a:pt x="51" y="2"/>
                    </a:cubicBezTo>
                    <a:cubicBezTo>
                      <a:pt x="39" y="0"/>
                      <a:pt x="19" y="6"/>
                      <a:pt x="16" y="19"/>
                    </a:cubicBezTo>
                    <a:cubicBezTo>
                      <a:pt x="12" y="31"/>
                      <a:pt x="27" y="44"/>
                      <a:pt x="39" y="48"/>
                    </a:cubicBezTo>
                    <a:cubicBezTo>
                      <a:pt x="40" y="48"/>
                      <a:pt x="142" y="79"/>
                      <a:pt x="142" y="158"/>
                    </a:cubicBezTo>
                    <a:cubicBezTo>
                      <a:pt x="142" y="225"/>
                      <a:pt x="30" y="251"/>
                      <a:pt x="29" y="251"/>
                    </a:cubicBezTo>
                    <a:cubicBezTo>
                      <a:pt x="16" y="254"/>
                      <a:pt x="0" y="267"/>
                      <a:pt x="4" y="280"/>
                    </a:cubicBezTo>
                    <a:cubicBezTo>
                      <a:pt x="7" y="293"/>
                      <a:pt x="26" y="300"/>
                      <a:pt x="41" y="298"/>
                    </a:cubicBezTo>
                    <a:cubicBezTo>
                      <a:pt x="45" y="297"/>
                      <a:pt x="152" y="277"/>
                      <a:pt x="200" y="218"/>
                    </a:cubicBezTo>
                    <a:cubicBezTo>
                      <a:pt x="248" y="277"/>
                      <a:pt x="355" y="297"/>
                      <a:pt x="359" y="298"/>
                    </a:cubicBezTo>
                    <a:cubicBezTo>
                      <a:pt x="374" y="300"/>
                      <a:pt x="392" y="297"/>
                      <a:pt x="396" y="280"/>
                    </a:cubicBezTo>
                    <a:cubicBezTo>
                      <a:pt x="399" y="267"/>
                      <a:pt x="384" y="254"/>
                      <a:pt x="371" y="251"/>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0" name="Freeform 19"/>
              <p:cNvSpPr>
                <a:spLocks/>
              </p:cNvSpPr>
              <p:nvPr userDrawn="1"/>
            </p:nvSpPr>
            <p:spPr bwMode="auto">
              <a:xfrm>
                <a:off x="4887913" y="1435101"/>
                <a:ext cx="284163" cy="265112"/>
              </a:xfrm>
              <a:custGeom>
                <a:avLst/>
                <a:gdLst/>
                <a:ahLst/>
                <a:cxnLst>
                  <a:cxn ang="0">
                    <a:pos x="208" y="143"/>
                  </a:cxn>
                  <a:cxn ang="0">
                    <a:pos x="200" y="142"/>
                  </a:cxn>
                  <a:cxn ang="0">
                    <a:pos x="105" y="105"/>
                  </a:cxn>
                  <a:cxn ang="0">
                    <a:pos x="115" y="84"/>
                  </a:cxn>
                  <a:cxn ang="0">
                    <a:pos x="295" y="87"/>
                  </a:cxn>
                  <a:cxn ang="0">
                    <a:pos x="333" y="70"/>
                  </a:cxn>
                  <a:cxn ang="0">
                    <a:pos x="305" y="35"/>
                  </a:cxn>
                  <a:cxn ang="0">
                    <a:pos x="62" y="46"/>
                  </a:cxn>
                  <a:cxn ang="0">
                    <a:pos x="34" y="104"/>
                  </a:cxn>
                  <a:cxn ang="0">
                    <a:pos x="170" y="194"/>
                  </a:cxn>
                  <a:cxn ang="0">
                    <a:pos x="296" y="231"/>
                  </a:cxn>
                  <a:cxn ang="0">
                    <a:pos x="285" y="249"/>
                  </a:cxn>
                  <a:cxn ang="0">
                    <a:pos x="45" y="236"/>
                  </a:cxn>
                  <a:cxn ang="0">
                    <a:pos x="2" y="248"/>
                  </a:cxn>
                  <a:cxn ang="0">
                    <a:pos x="2" y="265"/>
                  </a:cxn>
                  <a:cxn ang="0">
                    <a:pos x="23" y="287"/>
                  </a:cxn>
                  <a:cxn ang="0">
                    <a:pos x="331" y="294"/>
                  </a:cxn>
                  <a:cxn ang="0">
                    <a:pos x="367" y="231"/>
                  </a:cxn>
                  <a:cxn ang="0">
                    <a:pos x="208" y="143"/>
                  </a:cxn>
                </a:cxnLst>
                <a:rect l="0" t="0" r="r" b="b"/>
                <a:pathLst>
                  <a:path w="367" h="342">
                    <a:moveTo>
                      <a:pt x="208" y="143"/>
                    </a:moveTo>
                    <a:cubicBezTo>
                      <a:pt x="200" y="142"/>
                      <a:pt x="200" y="142"/>
                      <a:pt x="200" y="142"/>
                    </a:cubicBezTo>
                    <a:cubicBezTo>
                      <a:pt x="177" y="139"/>
                      <a:pt x="105" y="130"/>
                      <a:pt x="105" y="105"/>
                    </a:cubicBezTo>
                    <a:cubicBezTo>
                      <a:pt x="105" y="96"/>
                      <a:pt x="108" y="89"/>
                      <a:pt x="115" y="84"/>
                    </a:cubicBezTo>
                    <a:cubicBezTo>
                      <a:pt x="148" y="57"/>
                      <a:pt x="252" y="77"/>
                      <a:pt x="295" y="87"/>
                    </a:cubicBezTo>
                    <a:cubicBezTo>
                      <a:pt x="311" y="90"/>
                      <a:pt x="330" y="86"/>
                      <a:pt x="333" y="70"/>
                    </a:cubicBezTo>
                    <a:cubicBezTo>
                      <a:pt x="337" y="54"/>
                      <a:pt x="320" y="39"/>
                      <a:pt x="305" y="35"/>
                    </a:cubicBezTo>
                    <a:cubicBezTo>
                      <a:pt x="258" y="23"/>
                      <a:pt x="121" y="0"/>
                      <a:pt x="62" y="46"/>
                    </a:cubicBezTo>
                    <a:cubicBezTo>
                      <a:pt x="43" y="60"/>
                      <a:pt x="34" y="79"/>
                      <a:pt x="34" y="104"/>
                    </a:cubicBezTo>
                    <a:cubicBezTo>
                      <a:pt x="34" y="162"/>
                      <a:pt x="88" y="182"/>
                      <a:pt x="170" y="194"/>
                    </a:cubicBezTo>
                    <a:cubicBezTo>
                      <a:pt x="237" y="204"/>
                      <a:pt x="296" y="212"/>
                      <a:pt x="296" y="231"/>
                    </a:cubicBezTo>
                    <a:cubicBezTo>
                      <a:pt x="296" y="238"/>
                      <a:pt x="292" y="244"/>
                      <a:pt x="285" y="249"/>
                    </a:cubicBezTo>
                    <a:cubicBezTo>
                      <a:pt x="241" y="277"/>
                      <a:pt x="94" y="257"/>
                      <a:pt x="45" y="236"/>
                    </a:cubicBezTo>
                    <a:cubicBezTo>
                      <a:pt x="30" y="230"/>
                      <a:pt x="9" y="233"/>
                      <a:pt x="2" y="248"/>
                    </a:cubicBezTo>
                    <a:cubicBezTo>
                      <a:pt x="0" y="253"/>
                      <a:pt x="0" y="259"/>
                      <a:pt x="2" y="265"/>
                    </a:cubicBezTo>
                    <a:cubicBezTo>
                      <a:pt x="5" y="274"/>
                      <a:pt x="14" y="283"/>
                      <a:pt x="23" y="287"/>
                    </a:cubicBezTo>
                    <a:cubicBezTo>
                      <a:pt x="78" y="313"/>
                      <a:pt x="256" y="342"/>
                      <a:pt x="331" y="294"/>
                    </a:cubicBezTo>
                    <a:cubicBezTo>
                      <a:pt x="355" y="279"/>
                      <a:pt x="367" y="258"/>
                      <a:pt x="367" y="231"/>
                    </a:cubicBezTo>
                    <a:cubicBezTo>
                      <a:pt x="367" y="162"/>
                      <a:pt x="293" y="153"/>
                      <a:pt x="208" y="143"/>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1" name="Freeform 20"/>
              <p:cNvSpPr>
                <a:spLocks noEditPoints="1"/>
              </p:cNvSpPr>
              <p:nvPr userDrawn="1"/>
            </p:nvSpPr>
            <p:spPr bwMode="auto">
              <a:xfrm>
                <a:off x="3813175" y="1441451"/>
                <a:ext cx="341313" cy="234950"/>
              </a:xfrm>
              <a:custGeom>
                <a:avLst/>
                <a:gdLst/>
                <a:ahLst/>
                <a:cxnLst>
                  <a:cxn ang="0">
                    <a:pos x="286" y="219"/>
                  </a:cxn>
                  <a:cxn ang="0">
                    <a:pos x="222" y="258"/>
                  </a:cxn>
                  <a:cxn ang="0">
                    <a:pos x="103" y="208"/>
                  </a:cxn>
                  <a:cxn ang="0">
                    <a:pos x="163" y="165"/>
                  </a:cxn>
                  <a:cxn ang="0">
                    <a:pos x="163" y="165"/>
                  </a:cxn>
                  <a:cxn ang="0">
                    <a:pos x="287" y="155"/>
                  </a:cxn>
                  <a:cxn ang="0">
                    <a:pos x="286" y="219"/>
                  </a:cxn>
                  <a:cxn ang="0">
                    <a:pos x="282" y="112"/>
                  </a:cxn>
                  <a:cxn ang="0">
                    <a:pos x="143" y="117"/>
                  </a:cxn>
                  <a:cxn ang="0">
                    <a:pos x="0" y="211"/>
                  </a:cxn>
                  <a:cxn ang="0">
                    <a:pos x="35" y="270"/>
                  </a:cxn>
                  <a:cxn ang="0">
                    <a:pos x="186" y="304"/>
                  </a:cxn>
                  <a:cxn ang="0">
                    <a:pos x="287" y="290"/>
                  </a:cxn>
                  <a:cxn ang="0">
                    <a:pos x="335" y="275"/>
                  </a:cxn>
                  <a:cxn ang="0">
                    <a:pos x="398" y="304"/>
                  </a:cxn>
                  <a:cxn ang="0">
                    <a:pos x="395" y="246"/>
                  </a:cxn>
                  <a:cxn ang="0">
                    <a:pos x="388" y="157"/>
                  </a:cxn>
                  <a:cxn ang="0">
                    <a:pos x="312" y="21"/>
                  </a:cxn>
                  <a:cxn ang="0">
                    <a:pos x="186" y="1"/>
                  </a:cxn>
                  <a:cxn ang="0">
                    <a:pos x="34" y="42"/>
                  </a:cxn>
                  <a:cxn ang="0">
                    <a:pos x="55" y="79"/>
                  </a:cxn>
                  <a:cxn ang="0">
                    <a:pos x="195" y="47"/>
                  </a:cxn>
                  <a:cxn ang="0">
                    <a:pos x="282" y="112"/>
                  </a:cxn>
                </a:cxnLst>
                <a:rect l="0" t="0" r="r" b="b"/>
                <a:pathLst>
                  <a:path w="440" h="304">
                    <a:moveTo>
                      <a:pt x="286" y="219"/>
                    </a:moveTo>
                    <a:cubicBezTo>
                      <a:pt x="279" y="241"/>
                      <a:pt x="260" y="258"/>
                      <a:pt x="222" y="258"/>
                    </a:cubicBezTo>
                    <a:cubicBezTo>
                      <a:pt x="164" y="258"/>
                      <a:pt x="103" y="236"/>
                      <a:pt x="103" y="208"/>
                    </a:cubicBezTo>
                    <a:cubicBezTo>
                      <a:pt x="103" y="190"/>
                      <a:pt x="129" y="174"/>
                      <a:pt x="163" y="165"/>
                    </a:cubicBezTo>
                    <a:cubicBezTo>
                      <a:pt x="163" y="165"/>
                      <a:pt x="163" y="165"/>
                      <a:pt x="163" y="165"/>
                    </a:cubicBezTo>
                    <a:cubicBezTo>
                      <a:pt x="163" y="165"/>
                      <a:pt x="221" y="150"/>
                      <a:pt x="287" y="155"/>
                    </a:cubicBezTo>
                    <a:cubicBezTo>
                      <a:pt x="291" y="169"/>
                      <a:pt x="292" y="200"/>
                      <a:pt x="286" y="219"/>
                    </a:cubicBezTo>
                    <a:moveTo>
                      <a:pt x="282" y="112"/>
                    </a:moveTo>
                    <a:cubicBezTo>
                      <a:pt x="265" y="111"/>
                      <a:pt x="189" y="111"/>
                      <a:pt x="143" y="117"/>
                    </a:cubicBezTo>
                    <a:cubicBezTo>
                      <a:pt x="35" y="133"/>
                      <a:pt x="0" y="175"/>
                      <a:pt x="0" y="211"/>
                    </a:cubicBezTo>
                    <a:cubicBezTo>
                      <a:pt x="0" y="233"/>
                      <a:pt x="11" y="256"/>
                      <a:pt x="35" y="270"/>
                    </a:cubicBezTo>
                    <a:cubicBezTo>
                      <a:pt x="67" y="290"/>
                      <a:pt x="120" y="304"/>
                      <a:pt x="186" y="304"/>
                    </a:cubicBezTo>
                    <a:cubicBezTo>
                      <a:pt x="222" y="304"/>
                      <a:pt x="257" y="300"/>
                      <a:pt x="287" y="290"/>
                    </a:cubicBezTo>
                    <a:cubicBezTo>
                      <a:pt x="287" y="290"/>
                      <a:pt x="327" y="275"/>
                      <a:pt x="335" y="275"/>
                    </a:cubicBezTo>
                    <a:cubicBezTo>
                      <a:pt x="360" y="275"/>
                      <a:pt x="354" y="304"/>
                      <a:pt x="398" y="304"/>
                    </a:cubicBezTo>
                    <a:cubicBezTo>
                      <a:pt x="440" y="304"/>
                      <a:pt x="402" y="272"/>
                      <a:pt x="395" y="246"/>
                    </a:cubicBezTo>
                    <a:cubicBezTo>
                      <a:pt x="388" y="218"/>
                      <a:pt x="389" y="173"/>
                      <a:pt x="388" y="157"/>
                    </a:cubicBezTo>
                    <a:cubicBezTo>
                      <a:pt x="385" y="98"/>
                      <a:pt x="366" y="48"/>
                      <a:pt x="312" y="21"/>
                    </a:cubicBezTo>
                    <a:cubicBezTo>
                      <a:pt x="279" y="5"/>
                      <a:pt x="244" y="0"/>
                      <a:pt x="186" y="1"/>
                    </a:cubicBezTo>
                    <a:cubicBezTo>
                      <a:pt x="139" y="2"/>
                      <a:pt x="67" y="22"/>
                      <a:pt x="34" y="42"/>
                    </a:cubicBezTo>
                    <a:cubicBezTo>
                      <a:pt x="6" y="60"/>
                      <a:pt x="26" y="91"/>
                      <a:pt x="55" y="79"/>
                    </a:cubicBezTo>
                    <a:cubicBezTo>
                      <a:pt x="108" y="56"/>
                      <a:pt x="141" y="46"/>
                      <a:pt x="195" y="47"/>
                    </a:cubicBezTo>
                    <a:cubicBezTo>
                      <a:pt x="234" y="48"/>
                      <a:pt x="273" y="57"/>
                      <a:pt x="282" y="112"/>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grpSp>
          <p:nvGrpSpPr>
            <p:cNvPr id="15" name="Group 33"/>
            <p:cNvGrpSpPr/>
            <p:nvPr userDrawn="1"/>
          </p:nvGrpSpPr>
          <p:grpSpPr>
            <a:xfrm>
              <a:off x="3825875" y="2044700"/>
              <a:ext cx="1347788" cy="114300"/>
              <a:chOff x="3825875" y="2044700"/>
              <a:chExt cx="1347788" cy="114300"/>
            </a:xfrm>
          </p:grpSpPr>
          <p:sp>
            <p:nvSpPr>
              <p:cNvPr id="16" name="Freeform 21"/>
              <p:cNvSpPr>
                <a:spLocks noEditPoints="1"/>
              </p:cNvSpPr>
              <p:nvPr userDrawn="1"/>
            </p:nvSpPr>
            <p:spPr bwMode="auto">
              <a:xfrm>
                <a:off x="3825875" y="2044700"/>
                <a:ext cx="1347788" cy="114300"/>
              </a:xfrm>
              <a:custGeom>
                <a:avLst/>
                <a:gdLst/>
                <a:ahLst/>
                <a:cxnLst>
                  <a:cxn ang="0">
                    <a:pos x="1726" y="117"/>
                  </a:cxn>
                  <a:cxn ang="0">
                    <a:pos x="1670" y="43"/>
                  </a:cxn>
                  <a:cxn ang="0">
                    <a:pos x="1648" y="17"/>
                  </a:cxn>
                  <a:cxn ang="0">
                    <a:pos x="1557" y="60"/>
                  </a:cxn>
                  <a:cxn ang="0">
                    <a:pos x="1605" y="92"/>
                  </a:cxn>
                  <a:cxn ang="0">
                    <a:pos x="1547" y="57"/>
                  </a:cxn>
                  <a:cxn ang="0">
                    <a:pos x="1615" y="95"/>
                  </a:cxn>
                  <a:cxn ang="0">
                    <a:pos x="1526" y="5"/>
                  </a:cxn>
                  <a:cxn ang="0">
                    <a:pos x="1448" y="114"/>
                  </a:cxn>
                  <a:cxn ang="0">
                    <a:pos x="1430" y="69"/>
                  </a:cxn>
                  <a:cxn ang="0">
                    <a:pos x="1456" y="44"/>
                  </a:cxn>
                  <a:cxn ang="0">
                    <a:pos x="1411" y="46"/>
                  </a:cxn>
                  <a:cxn ang="0">
                    <a:pos x="1435" y="83"/>
                  </a:cxn>
                  <a:cxn ang="0">
                    <a:pos x="1431" y="111"/>
                  </a:cxn>
                  <a:cxn ang="0">
                    <a:pos x="1369" y="110"/>
                  </a:cxn>
                  <a:cxn ang="0">
                    <a:pos x="1332" y="109"/>
                  </a:cxn>
                  <a:cxn ang="0">
                    <a:pos x="1304" y="5"/>
                  </a:cxn>
                  <a:cxn ang="0">
                    <a:pos x="1261" y="63"/>
                  </a:cxn>
                  <a:cxn ang="0">
                    <a:pos x="1218" y="44"/>
                  </a:cxn>
                  <a:cxn ang="0">
                    <a:pos x="1271" y="60"/>
                  </a:cxn>
                  <a:cxn ang="0">
                    <a:pos x="1218" y="114"/>
                  </a:cxn>
                  <a:cxn ang="0">
                    <a:pos x="1155" y="36"/>
                  </a:cxn>
                  <a:cxn ang="0">
                    <a:pos x="1059" y="43"/>
                  </a:cxn>
                  <a:cxn ang="0">
                    <a:pos x="1060" y="111"/>
                  </a:cxn>
                  <a:cxn ang="0">
                    <a:pos x="1059" y="36"/>
                  </a:cxn>
                  <a:cxn ang="0">
                    <a:pos x="1060" y="118"/>
                  </a:cxn>
                  <a:cxn ang="0">
                    <a:pos x="1007" y="5"/>
                  </a:cxn>
                  <a:cxn ang="0">
                    <a:pos x="930" y="107"/>
                  </a:cxn>
                  <a:cxn ang="0">
                    <a:pos x="930" y="107"/>
                  </a:cxn>
                  <a:cxn ang="0">
                    <a:pos x="885" y="78"/>
                  </a:cxn>
                  <a:cxn ang="0">
                    <a:pos x="913" y="36"/>
                  </a:cxn>
                  <a:cxn ang="0">
                    <a:pos x="842" y="34"/>
                  </a:cxn>
                  <a:cxn ang="0">
                    <a:pos x="768" y="61"/>
                  </a:cxn>
                  <a:cxn ang="0">
                    <a:pos x="801" y="37"/>
                  </a:cxn>
                  <a:cxn ang="0">
                    <a:pos x="778" y="116"/>
                  </a:cxn>
                  <a:cxn ang="0">
                    <a:pos x="643" y="117"/>
                  </a:cxn>
                  <a:cxn ang="0">
                    <a:pos x="700" y="75"/>
                  </a:cxn>
                  <a:cxn ang="0">
                    <a:pos x="564" y="109"/>
                  </a:cxn>
                  <a:cxn ang="0">
                    <a:pos x="588" y="45"/>
                  </a:cxn>
                  <a:cxn ang="0">
                    <a:pos x="564" y="109"/>
                  </a:cxn>
                  <a:cxn ang="0">
                    <a:pos x="559" y="116"/>
                  </a:cxn>
                  <a:cxn ang="0">
                    <a:pos x="592" y="38"/>
                  </a:cxn>
                  <a:cxn ang="0">
                    <a:pos x="522" y="17"/>
                  </a:cxn>
                  <a:cxn ang="0">
                    <a:pos x="467" y="45"/>
                  </a:cxn>
                  <a:cxn ang="0">
                    <a:pos x="496" y="110"/>
                  </a:cxn>
                  <a:cxn ang="0">
                    <a:pos x="477" y="45"/>
                  </a:cxn>
                  <a:cxn ang="0">
                    <a:pos x="440" y="37"/>
                  </a:cxn>
                  <a:cxn ang="0">
                    <a:pos x="353" y="47"/>
                  </a:cxn>
                  <a:cxn ang="0">
                    <a:pos x="392" y="102"/>
                  </a:cxn>
                  <a:cxn ang="0">
                    <a:pos x="354" y="118"/>
                  </a:cxn>
                  <a:cxn ang="0">
                    <a:pos x="392" y="38"/>
                  </a:cxn>
                  <a:cxn ang="0">
                    <a:pos x="212" y="47"/>
                  </a:cxn>
                  <a:cxn ang="0">
                    <a:pos x="267" y="117"/>
                  </a:cxn>
                  <a:cxn ang="0">
                    <a:pos x="309" y="60"/>
                  </a:cxn>
                  <a:cxn ang="0">
                    <a:pos x="289" y="36"/>
                  </a:cxn>
                  <a:cxn ang="0">
                    <a:pos x="201" y="117"/>
                  </a:cxn>
                  <a:cxn ang="0">
                    <a:pos x="169" y="76"/>
                  </a:cxn>
                  <a:cxn ang="0">
                    <a:pos x="143" y="71"/>
                  </a:cxn>
                  <a:cxn ang="0">
                    <a:pos x="173" y="42"/>
                  </a:cxn>
                  <a:cxn ang="0">
                    <a:pos x="89" y="0"/>
                  </a:cxn>
                  <a:cxn ang="0">
                    <a:pos x="70" y="117"/>
                  </a:cxn>
                </a:cxnLst>
                <a:rect l="0" t="0" r="r" b="b"/>
                <a:pathLst>
                  <a:path w="1737" h="148">
                    <a:moveTo>
                      <a:pt x="1670" y="117"/>
                    </a:moveTo>
                    <a:cubicBezTo>
                      <a:pt x="1680" y="117"/>
                      <a:pt x="1680" y="117"/>
                      <a:pt x="1680" y="117"/>
                    </a:cubicBezTo>
                    <a:cubicBezTo>
                      <a:pt x="1680" y="47"/>
                      <a:pt x="1680" y="47"/>
                      <a:pt x="1680" y="47"/>
                    </a:cubicBezTo>
                    <a:cubicBezTo>
                      <a:pt x="1683" y="46"/>
                      <a:pt x="1686" y="45"/>
                      <a:pt x="1690" y="44"/>
                    </a:cubicBezTo>
                    <a:cubicBezTo>
                      <a:pt x="1694" y="43"/>
                      <a:pt x="1698" y="43"/>
                      <a:pt x="1703" y="43"/>
                    </a:cubicBezTo>
                    <a:cubicBezTo>
                      <a:pt x="1712" y="43"/>
                      <a:pt x="1718" y="45"/>
                      <a:pt x="1721" y="51"/>
                    </a:cubicBezTo>
                    <a:cubicBezTo>
                      <a:pt x="1725" y="56"/>
                      <a:pt x="1726" y="64"/>
                      <a:pt x="1726" y="75"/>
                    </a:cubicBezTo>
                    <a:cubicBezTo>
                      <a:pt x="1726" y="117"/>
                      <a:pt x="1726" y="117"/>
                      <a:pt x="1726" y="117"/>
                    </a:cubicBezTo>
                    <a:cubicBezTo>
                      <a:pt x="1737" y="117"/>
                      <a:pt x="1737" y="117"/>
                      <a:pt x="1737" y="117"/>
                    </a:cubicBezTo>
                    <a:cubicBezTo>
                      <a:pt x="1737" y="75"/>
                      <a:pt x="1737" y="75"/>
                      <a:pt x="1737" y="75"/>
                    </a:cubicBezTo>
                    <a:cubicBezTo>
                      <a:pt x="1737" y="69"/>
                      <a:pt x="1737" y="63"/>
                      <a:pt x="1736" y="58"/>
                    </a:cubicBezTo>
                    <a:cubicBezTo>
                      <a:pt x="1734" y="53"/>
                      <a:pt x="1732" y="49"/>
                      <a:pt x="1730" y="45"/>
                    </a:cubicBezTo>
                    <a:cubicBezTo>
                      <a:pt x="1727" y="42"/>
                      <a:pt x="1723" y="40"/>
                      <a:pt x="1719" y="38"/>
                    </a:cubicBezTo>
                    <a:cubicBezTo>
                      <a:pt x="1715" y="37"/>
                      <a:pt x="1709" y="36"/>
                      <a:pt x="1703" y="36"/>
                    </a:cubicBezTo>
                    <a:cubicBezTo>
                      <a:pt x="1697" y="36"/>
                      <a:pt x="1692" y="36"/>
                      <a:pt x="1686" y="37"/>
                    </a:cubicBezTo>
                    <a:cubicBezTo>
                      <a:pt x="1681" y="39"/>
                      <a:pt x="1676" y="40"/>
                      <a:pt x="1670" y="43"/>
                    </a:cubicBezTo>
                    <a:lnTo>
                      <a:pt x="1670" y="117"/>
                    </a:lnTo>
                    <a:close/>
                    <a:moveTo>
                      <a:pt x="1637" y="117"/>
                    </a:moveTo>
                    <a:cubicBezTo>
                      <a:pt x="1648" y="117"/>
                      <a:pt x="1648" y="117"/>
                      <a:pt x="1648" y="117"/>
                    </a:cubicBezTo>
                    <a:cubicBezTo>
                      <a:pt x="1648" y="37"/>
                      <a:pt x="1648" y="37"/>
                      <a:pt x="1648" y="37"/>
                    </a:cubicBezTo>
                    <a:cubicBezTo>
                      <a:pt x="1637" y="37"/>
                      <a:pt x="1637" y="37"/>
                      <a:pt x="1637" y="37"/>
                    </a:cubicBezTo>
                    <a:lnTo>
                      <a:pt x="1637" y="117"/>
                    </a:lnTo>
                    <a:close/>
                    <a:moveTo>
                      <a:pt x="1637" y="17"/>
                    </a:moveTo>
                    <a:cubicBezTo>
                      <a:pt x="1648" y="17"/>
                      <a:pt x="1648" y="17"/>
                      <a:pt x="1648" y="17"/>
                    </a:cubicBezTo>
                    <a:cubicBezTo>
                      <a:pt x="1648" y="6"/>
                      <a:pt x="1648" y="6"/>
                      <a:pt x="1648" y="6"/>
                    </a:cubicBezTo>
                    <a:cubicBezTo>
                      <a:pt x="1637" y="6"/>
                      <a:pt x="1637" y="6"/>
                      <a:pt x="1637" y="6"/>
                    </a:cubicBezTo>
                    <a:lnTo>
                      <a:pt x="1637" y="17"/>
                    </a:lnTo>
                    <a:close/>
                    <a:moveTo>
                      <a:pt x="1568" y="109"/>
                    </a:moveTo>
                    <a:cubicBezTo>
                      <a:pt x="1565" y="108"/>
                      <a:pt x="1562" y="106"/>
                      <a:pt x="1560" y="103"/>
                    </a:cubicBezTo>
                    <a:cubicBezTo>
                      <a:pt x="1558" y="100"/>
                      <a:pt x="1557" y="97"/>
                      <a:pt x="1556" y="92"/>
                    </a:cubicBezTo>
                    <a:cubicBezTo>
                      <a:pt x="1556" y="88"/>
                      <a:pt x="1556" y="82"/>
                      <a:pt x="1556" y="76"/>
                    </a:cubicBezTo>
                    <a:cubicBezTo>
                      <a:pt x="1556" y="69"/>
                      <a:pt x="1556" y="64"/>
                      <a:pt x="1557" y="60"/>
                    </a:cubicBezTo>
                    <a:cubicBezTo>
                      <a:pt x="1558" y="56"/>
                      <a:pt x="1559" y="52"/>
                      <a:pt x="1561" y="50"/>
                    </a:cubicBezTo>
                    <a:cubicBezTo>
                      <a:pt x="1563" y="47"/>
                      <a:pt x="1566" y="46"/>
                      <a:pt x="1569" y="45"/>
                    </a:cubicBezTo>
                    <a:cubicBezTo>
                      <a:pt x="1572" y="44"/>
                      <a:pt x="1576" y="43"/>
                      <a:pt x="1581" y="43"/>
                    </a:cubicBezTo>
                    <a:cubicBezTo>
                      <a:pt x="1585" y="43"/>
                      <a:pt x="1588" y="44"/>
                      <a:pt x="1592" y="45"/>
                    </a:cubicBezTo>
                    <a:cubicBezTo>
                      <a:pt x="1595" y="46"/>
                      <a:pt x="1597" y="48"/>
                      <a:pt x="1599" y="50"/>
                    </a:cubicBezTo>
                    <a:cubicBezTo>
                      <a:pt x="1602" y="53"/>
                      <a:pt x="1603" y="56"/>
                      <a:pt x="1604" y="61"/>
                    </a:cubicBezTo>
                    <a:cubicBezTo>
                      <a:pt x="1605" y="65"/>
                      <a:pt x="1606" y="70"/>
                      <a:pt x="1606" y="76"/>
                    </a:cubicBezTo>
                    <a:cubicBezTo>
                      <a:pt x="1606" y="82"/>
                      <a:pt x="1606" y="87"/>
                      <a:pt x="1605" y="92"/>
                    </a:cubicBezTo>
                    <a:cubicBezTo>
                      <a:pt x="1605" y="96"/>
                      <a:pt x="1603" y="100"/>
                      <a:pt x="1602" y="103"/>
                    </a:cubicBezTo>
                    <a:cubicBezTo>
                      <a:pt x="1600" y="106"/>
                      <a:pt x="1597" y="108"/>
                      <a:pt x="1594" y="109"/>
                    </a:cubicBezTo>
                    <a:cubicBezTo>
                      <a:pt x="1591" y="110"/>
                      <a:pt x="1587" y="111"/>
                      <a:pt x="1581" y="111"/>
                    </a:cubicBezTo>
                    <a:cubicBezTo>
                      <a:pt x="1576" y="111"/>
                      <a:pt x="1571" y="111"/>
                      <a:pt x="1568" y="109"/>
                    </a:cubicBezTo>
                    <a:moveTo>
                      <a:pt x="1581" y="36"/>
                    </a:moveTo>
                    <a:cubicBezTo>
                      <a:pt x="1575" y="36"/>
                      <a:pt x="1569" y="36"/>
                      <a:pt x="1565" y="38"/>
                    </a:cubicBezTo>
                    <a:cubicBezTo>
                      <a:pt x="1560" y="39"/>
                      <a:pt x="1557" y="41"/>
                      <a:pt x="1554" y="45"/>
                    </a:cubicBezTo>
                    <a:cubicBezTo>
                      <a:pt x="1551" y="48"/>
                      <a:pt x="1548" y="52"/>
                      <a:pt x="1547" y="57"/>
                    </a:cubicBezTo>
                    <a:cubicBezTo>
                      <a:pt x="1546" y="62"/>
                      <a:pt x="1545" y="68"/>
                      <a:pt x="1545" y="75"/>
                    </a:cubicBezTo>
                    <a:cubicBezTo>
                      <a:pt x="1545" y="83"/>
                      <a:pt x="1545" y="90"/>
                      <a:pt x="1547" y="95"/>
                    </a:cubicBezTo>
                    <a:cubicBezTo>
                      <a:pt x="1548" y="101"/>
                      <a:pt x="1550" y="105"/>
                      <a:pt x="1552" y="109"/>
                    </a:cubicBezTo>
                    <a:cubicBezTo>
                      <a:pt x="1555" y="112"/>
                      <a:pt x="1559" y="114"/>
                      <a:pt x="1563" y="116"/>
                    </a:cubicBezTo>
                    <a:cubicBezTo>
                      <a:pt x="1568" y="118"/>
                      <a:pt x="1574" y="118"/>
                      <a:pt x="1581" y="118"/>
                    </a:cubicBezTo>
                    <a:cubicBezTo>
                      <a:pt x="1588" y="118"/>
                      <a:pt x="1594" y="117"/>
                      <a:pt x="1599" y="116"/>
                    </a:cubicBezTo>
                    <a:cubicBezTo>
                      <a:pt x="1603" y="114"/>
                      <a:pt x="1607" y="111"/>
                      <a:pt x="1610" y="108"/>
                    </a:cubicBezTo>
                    <a:cubicBezTo>
                      <a:pt x="1612" y="104"/>
                      <a:pt x="1614" y="100"/>
                      <a:pt x="1615" y="95"/>
                    </a:cubicBezTo>
                    <a:cubicBezTo>
                      <a:pt x="1616" y="89"/>
                      <a:pt x="1617" y="83"/>
                      <a:pt x="1617" y="76"/>
                    </a:cubicBezTo>
                    <a:cubicBezTo>
                      <a:pt x="1617" y="69"/>
                      <a:pt x="1616" y="63"/>
                      <a:pt x="1614" y="57"/>
                    </a:cubicBezTo>
                    <a:cubicBezTo>
                      <a:pt x="1613" y="52"/>
                      <a:pt x="1610" y="48"/>
                      <a:pt x="1607" y="45"/>
                    </a:cubicBezTo>
                    <a:cubicBezTo>
                      <a:pt x="1604" y="42"/>
                      <a:pt x="1601" y="40"/>
                      <a:pt x="1596" y="38"/>
                    </a:cubicBezTo>
                    <a:cubicBezTo>
                      <a:pt x="1592" y="37"/>
                      <a:pt x="1587" y="36"/>
                      <a:pt x="1581" y="36"/>
                    </a:cubicBezTo>
                    <a:close/>
                    <a:moveTo>
                      <a:pt x="1516" y="117"/>
                    </a:moveTo>
                    <a:cubicBezTo>
                      <a:pt x="1526" y="117"/>
                      <a:pt x="1526" y="117"/>
                      <a:pt x="1526" y="117"/>
                    </a:cubicBezTo>
                    <a:cubicBezTo>
                      <a:pt x="1526" y="5"/>
                      <a:pt x="1526" y="5"/>
                      <a:pt x="1526" y="5"/>
                    </a:cubicBezTo>
                    <a:cubicBezTo>
                      <a:pt x="1516" y="5"/>
                      <a:pt x="1516" y="5"/>
                      <a:pt x="1516" y="5"/>
                    </a:cubicBezTo>
                    <a:lnTo>
                      <a:pt x="1516" y="117"/>
                    </a:lnTo>
                    <a:close/>
                    <a:moveTo>
                      <a:pt x="1408" y="115"/>
                    </a:moveTo>
                    <a:cubicBezTo>
                      <a:pt x="1412" y="116"/>
                      <a:pt x="1415" y="116"/>
                      <a:pt x="1419" y="117"/>
                    </a:cubicBezTo>
                    <a:cubicBezTo>
                      <a:pt x="1422" y="117"/>
                      <a:pt x="1426" y="117"/>
                      <a:pt x="1429" y="117"/>
                    </a:cubicBezTo>
                    <a:cubicBezTo>
                      <a:pt x="1432" y="117"/>
                      <a:pt x="1432" y="117"/>
                      <a:pt x="1432" y="117"/>
                    </a:cubicBezTo>
                    <a:cubicBezTo>
                      <a:pt x="1434" y="117"/>
                      <a:pt x="1437" y="117"/>
                      <a:pt x="1440" y="117"/>
                    </a:cubicBezTo>
                    <a:cubicBezTo>
                      <a:pt x="1443" y="116"/>
                      <a:pt x="1446" y="115"/>
                      <a:pt x="1448" y="114"/>
                    </a:cubicBezTo>
                    <a:cubicBezTo>
                      <a:pt x="1451" y="113"/>
                      <a:pt x="1453" y="111"/>
                      <a:pt x="1455" y="108"/>
                    </a:cubicBezTo>
                    <a:cubicBezTo>
                      <a:pt x="1457" y="106"/>
                      <a:pt x="1457" y="102"/>
                      <a:pt x="1457" y="98"/>
                    </a:cubicBezTo>
                    <a:cubicBezTo>
                      <a:pt x="1457" y="96"/>
                      <a:pt x="1457" y="94"/>
                      <a:pt x="1456" y="91"/>
                    </a:cubicBezTo>
                    <a:cubicBezTo>
                      <a:pt x="1455" y="88"/>
                      <a:pt x="1453" y="85"/>
                      <a:pt x="1450" y="83"/>
                    </a:cubicBezTo>
                    <a:cubicBezTo>
                      <a:pt x="1449" y="82"/>
                      <a:pt x="1448" y="81"/>
                      <a:pt x="1447" y="80"/>
                    </a:cubicBezTo>
                    <a:cubicBezTo>
                      <a:pt x="1445" y="79"/>
                      <a:pt x="1444" y="78"/>
                      <a:pt x="1442" y="77"/>
                    </a:cubicBezTo>
                    <a:cubicBezTo>
                      <a:pt x="1440" y="76"/>
                      <a:pt x="1438" y="74"/>
                      <a:pt x="1436" y="73"/>
                    </a:cubicBezTo>
                    <a:cubicBezTo>
                      <a:pt x="1434" y="72"/>
                      <a:pt x="1432" y="70"/>
                      <a:pt x="1430" y="69"/>
                    </a:cubicBezTo>
                    <a:cubicBezTo>
                      <a:pt x="1426" y="67"/>
                      <a:pt x="1424" y="64"/>
                      <a:pt x="1422" y="62"/>
                    </a:cubicBezTo>
                    <a:cubicBezTo>
                      <a:pt x="1421" y="61"/>
                      <a:pt x="1420" y="58"/>
                      <a:pt x="1420" y="55"/>
                    </a:cubicBezTo>
                    <a:cubicBezTo>
                      <a:pt x="1420" y="53"/>
                      <a:pt x="1420" y="53"/>
                      <a:pt x="1420" y="53"/>
                    </a:cubicBezTo>
                    <a:cubicBezTo>
                      <a:pt x="1420" y="50"/>
                      <a:pt x="1422" y="48"/>
                      <a:pt x="1424" y="46"/>
                    </a:cubicBezTo>
                    <a:cubicBezTo>
                      <a:pt x="1426" y="44"/>
                      <a:pt x="1430" y="43"/>
                      <a:pt x="1435" y="43"/>
                    </a:cubicBezTo>
                    <a:cubicBezTo>
                      <a:pt x="1438" y="43"/>
                      <a:pt x="1438" y="43"/>
                      <a:pt x="1438" y="43"/>
                    </a:cubicBezTo>
                    <a:cubicBezTo>
                      <a:pt x="1441" y="43"/>
                      <a:pt x="1444" y="43"/>
                      <a:pt x="1446" y="43"/>
                    </a:cubicBezTo>
                    <a:cubicBezTo>
                      <a:pt x="1449" y="43"/>
                      <a:pt x="1452" y="44"/>
                      <a:pt x="1456" y="44"/>
                    </a:cubicBezTo>
                    <a:cubicBezTo>
                      <a:pt x="1457" y="37"/>
                      <a:pt x="1457" y="37"/>
                      <a:pt x="1457" y="37"/>
                    </a:cubicBezTo>
                    <a:cubicBezTo>
                      <a:pt x="1455" y="37"/>
                      <a:pt x="1453" y="37"/>
                      <a:pt x="1451" y="37"/>
                    </a:cubicBezTo>
                    <a:cubicBezTo>
                      <a:pt x="1449" y="36"/>
                      <a:pt x="1448" y="36"/>
                      <a:pt x="1446" y="36"/>
                    </a:cubicBezTo>
                    <a:cubicBezTo>
                      <a:pt x="1444" y="36"/>
                      <a:pt x="1443" y="36"/>
                      <a:pt x="1441" y="36"/>
                    </a:cubicBezTo>
                    <a:cubicBezTo>
                      <a:pt x="1439" y="36"/>
                      <a:pt x="1437" y="36"/>
                      <a:pt x="1435" y="36"/>
                    </a:cubicBezTo>
                    <a:cubicBezTo>
                      <a:pt x="1431" y="36"/>
                      <a:pt x="1427" y="36"/>
                      <a:pt x="1424" y="37"/>
                    </a:cubicBezTo>
                    <a:cubicBezTo>
                      <a:pt x="1421" y="38"/>
                      <a:pt x="1418" y="39"/>
                      <a:pt x="1416" y="41"/>
                    </a:cubicBezTo>
                    <a:cubicBezTo>
                      <a:pt x="1414" y="42"/>
                      <a:pt x="1412" y="44"/>
                      <a:pt x="1411" y="46"/>
                    </a:cubicBezTo>
                    <a:cubicBezTo>
                      <a:pt x="1410" y="48"/>
                      <a:pt x="1410" y="50"/>
                      <a:pt x="1410" y="52"/>
                    </a:cubicBezTo>
                    <a:cubicBezTo>
                      <a:pt x="1410" y="55"/>
                      <a:pt x="1410" y="55"/>
                      <a:pt x="1410" y="55"/>
                    </a:cubicBezTo>
                    <a:cubicBezTo>
                      <a:pt x="1410" y="57"/>
                      <a:pt x="1410" y="59"/>
                      <a:pt x="1410" y="61"/>
                    </a:cubicBezTo>
                    <a:cubicBezTo>
                      <a:pt x="1411" y="63"/>
                      <a:pt x="1412" y="65"/>
                      <a:pt x="1413" y="66"/>
                    </a:cubicBezTo>
                    <a:cubicBezTo>
                      <a:pt x="1414" y="68"/>
                      <a:pt x="1416" y="70"/>
                      <a:pt x="1417" y="71"/>
                    </a:cubicBezTo>
                    <a:cubicBezTo>
                      <a:pt x="1419" y="72"/>
                      <a:pt x="1421" y="74"/>
                      <a:pt x="1424" y="75"/>
                    </a:cubicBezTo>
                    <a:cubicBezTo>
                      <a:pt x="1425" y="77"/>
                      <a:pt x="1427" y="78"/>
                      <a:pt x="1429" y="79"/>
                    </a:cubicBezTo>
                    <a:cubicBezTo>
                      <a:pt x="1431" y="80"/>
                      <a:pt x="1433" y="82"/>
                      <a:pt x="1435" y="83"/>
                    </a:cubicBezTo>
                    <a:cubicBezTo>
                      <a:pt x="1436" y="84"/>
                      <a:pt x="1438" y="85"/>
                      <a:pt x="1439" y="86"/>
                    </a:cubicBezTo>
                    <a:cubicBezTo>
                      <a:pt x="1440" y="87"/>
                      <a:pt x="1441" y="88"/>
                      <a:pt x="1442" y="89"/>
                    </a:cubicBezTo>
                    <a:cubicBezTo>
                      <a:pt x="1444" y="90"/>
                      <a:pt x="1445" y="92"/>
                      <a:pt x="1446" y="94"/>
                    </a:cubicBezTo>
                    <a:cubicBezTo>
                      <a:pt x="1446" y="95"/>
                      <a:pt x="1447" y="97"/>
                      <a:pt x="1447" y="99"/>
                    </a:cubicBezTo>
                    <a:cubicBezTo>
                      <a:pt x="1447" y="101"/>
                      <a:pt x="1446" y="103"/>
                      <a:pt x="1446" y="105"/>
                    </a:cubicBezTo>
                    <a:cubicBezTo>
                      <a:pt x="1445" y="107"/>
                      <a:pt x="1444" y="108"/>
                      <a:pt x="1442" y="109"/>
                    </a:cubicBezTo>
                    <a:cubicBezTo>
                      <a:pt x="1441" y="109"/>
                      <a:pt x="1439" y="110"/>
                      <a:pt x="1437" y="110"/>
                    </a:cubicBezTo>
                    <a:cubicBezTo>
                      <a:pt x="1435" y="111"/>
                      <a:pt x="1433" y="111"/>
                      <a:pt x="1431" y="111"/>
                    </a:cubicBezTo>
                    <a:cubicBezTo>
                      <a:pt x="1428" y="111"/>
                      <a:pt x="1428" y="111"/>
                      <a:pt x="1428" y="111"/>
                    </a:cubicBezTo>
                    <a:cubicBezTo>
                      <a:pt x="1426" y="111"/>
                      <a:pt x="1423" y="111"/>
                      <a:pt x="1420" y="110"/>
                    </a:cubicBezTo>
                    <a:cubicBezTo>
                      <a:pt x="1417" y="110"/>
                      <a:pt x="1413" y="109"/>
                      <a:pt x="1409" y="109"/>
                    </a:cubicBezTo>
                    <a:lnTo>
                      <a:pt x="1408" y="115"/>
                    </a:lnTo>
                    <a:close/>
                    <a:moveTo>
                      <a:pt x="1390" y="37"/>
                    </a:moveTo>
                    <a:cubicBezTo>
                      <a:pt x="1379" y="37"/>
                      <a:pt x="1379" y="37"/>
                      <a:pt x="1379" y="37"/>
                    </a:cubicBezTo>
                    <a:cubicBezTo>
                      <a:pt x="1379" y="107"/>
                      <a:pt x="1379" y="107"/>
                      <a:pt x="1379" y="107"/>
                    </a:cubicBezTo>
                    <a:cubicBezTo>
                      <a:pt x="1376" y="108"/>
                      <a:pt x="1373" y="109"/>
                      <a:pt x="1369" y="110"/>
                    </a:cubicBezTo>
                    <a:cubicBezTo>
                      <a:pt x="1366" y="111"/>
                      <a:pt x="1362" y="111"/>
                      <a:pt x="1359" y="111"/>
                    </a:cubicBezTo>
                    <a:cubicBezTo>
                      <a:pt x="1350" y="111"/>
                      <a:pt x="1344" y="109"/>
                      <a:pt x="1340" y="104"/>
                    </a:cubicBezTo>
                    <a:cubicBezTo>
                      <a:pt x="1337" y="99"/>
                      <a:pt x="1335" y="90"/>
                      <a:pt x="1335" y="79"/>
                    </a:cubicBezTo>
                    <a:cubicBezTo>
                      <a:pt x="1335" y="38"/>
                      <a:pt x="1335" y="38"/>
                      <a:pt x="1335" y="38"/>
                    </a:cubicBezTo>
                    <a:cubicBezTo>
                      <a:pt x="1324" y="38"/>
                      <a:pt x="1324" y="38"/>
                      <a:pt x="1324" y="38"/>
                    </a:cubicBezTo>
                    <a:cubicBezTo>
                      <a:pt x="1324" y="79"/>
                      <a:pt x="1324" y="79"/>
                      <a:pt x="1324" y="79"/>
                    </a:cubicBezTo>
                    <a:cubicBezTo>
                      <a:pt x="1324" y="86"/>
                      <a:pt x="1325" y="92"/>
                      <a:pt x="1326" y="97"/>
                    </a:cubicBezTo>
                    <a:cubicBezTo>
                      <a:pt x="1327" y="102"/>
                      <a:pt x="1329" y="106"/>
                      <a:pt x="1332" y="109"/>
                    </a:cubicBezTo>
                    <a:cubicBezTo>
                      <a:pt x="1335" y="112"/>
                      <a:pt x="1338" y="114"/>
                      <a:pt x="1343" y="116"/>
                    </a:cubicBezTo>
                    <a:cubicBezTo>
                      <a:pt x="1347" y="118"/>
                      <a:pt x="1352" y="118"/>
                      <a:pt x="1359" y="118"/>
                    </a:cubicBezTo>
                    <a:cubicBezTo>
                      <a:pt x="1363" y="118"/>
                      <a:pt x="1368" y="118"/>
                      <a:pt x="1373" y="117"/>
                    </a:cubicBezTo>
                    <a:cubicBezTo>
                      <a:pt x="1378" y="116"/>
                      <a:pt x="1384" y="114"/>
                      <a:pt x="1390" y="112"/>
                    </a:cubicBezTo>
                    <a:lnTo>
                      <a:pt x="1390" y="37"/>
                    </a:lnTo>
                    <a:close/>
                    <a:moveTo>
                      <a:pt x="1293" y="117"/>
                    </a:moveTo>
                    <a:cubicBezTo>
                      <a:pt x="1304" y="117"/>
                      <a:pt x="1304" y="117"/>
                      <a:pt x="1304" y="117"/>
                    </a:cubicBezTo>
                    <a:cubicBezTo>
                      <a:pt x="1304" y="5"/>
                      <a:pt x="1304" y="5"/>
                      <a:pt x="1304" y="5"/>
                    </a:cubicBezTo>
                    <a:cubicBezTo>
                      <a:pt x="1293" y="5"/>
                      <a:pt x="1293" y="5"/>
                      <a:pt x="1293" y="5"/>
                    </a:cubicBezTo>
                    <a:lnTo>
                      <a:pt x="1293" y="117"/>
                    </a:lnTo>
                    <a:close/>
                    <a:moveTo>
                      <a:pt x="1218" y="44"/>
                    </a:moveTo>
                    <a:cubicBezTo>
                      <a:pt x="1220" y="43"/>
                      <a:pt x="1222" y="43"/>
                      <a:pt x="1225" y="43"/>
                    </a:cubicBezTo>
                    <a:cubicBezTo>
                      <a:pt x="1228" y="43"/>
                      <a:pt x="1230" y="43"/>
                      <a:pt x="1232" y="43"/>
                    </a:cubicBezTo>
                    <a:cubicBezTo>
                      <a:pt x="1238" y="43"/>
                      <a:pt x="1243" y="44"/>
                      <a:pt x="1247" y="45"/>
                    </a:cubicBezTo>
                    <a:cubicBezTo>
                      <a:pt x="1251" y="47"/>
                      <a:pt x="1254" y="49"/>
                      <a:pt x="1257" y="52"/>
                    </a:cubicBezTo>
                    <a:cubicBezTo>
                      <a:pt x="1259" y="55"/>
                      <a:pt x="1260" y="58"/>
                      <a:pt x="1261" y="63"/>
                    </a:cubicBezTo>
                    <a:cubicBezTo>
                      <a:pt x="1262" y="67"/>
                      <a:pt x="1262" y="72"/>
                      <a:pt x="1262" y="78"/>
                    </a:cubicBezTo>
                    <a:cubicBezTo>
                      <a:pt x="1262" y="84"/>
                      <a:pt x="1262" y="89"/>
                      <a:pt x="1261" y="93"/>
                    </a:cubicBezTo>
                    <a:cubicBezTo>
                      <a:pt x="1260" y="97"/>
                      <a:pt x="1259" y="101"/>
                      <a:pt x="1258" y="103"/>
                    </a:cubicBezTo>
                    <a:cubicBezTo>
                      <a:pt x="1256" y="106"/>
                      <a:pt x="1254" y="108"/>
                      <a:pt x="1251" y="109"/>
                    </a:cubicBezTo>
                    <a:cubicBezTo>
                      <a:pt x="1249" y="110"/>
                      <a:pt x="1245" y="111"/>
                      <a:pt x="1241" y="111"/>
                    </a:cubicBezTo>
                    <a:cubicBezTo>
                      <a:pt x="1236" y="111"/>
                      <a:pt x="1232" y="111"/>
                      <a:pt x="1228" y="110"/>
                    </a:cubicBezTo>
                    <a:cubicBezTo>
                      <a:pt x="1224" y="109"/>
                      <a:pt x="1220" y="108"/>
                      <a:pt x="1218" y="107"/>
                    </a:cubicBezTo>
                    <a:lnTo>
                      <a:pt x="1218" y="44"/>
                    </a:lnTo>
                    <a:close/>
                    <a:moveTo>
                      <a:pt x="1218" y="114"/>
                    </a:moveTo>
                    <a:cubicBezTo>
                      <a:pt x="1220" y="115"/>
                      <a:pt x="1224" y="116"/>
                      <a:pt x="1228" y="117"/>
                    </a:cubicBezTo>
                    <a:cubicBezTo>
                      <a:pt x="1232" y="118"/>
                      <a:pt x="1236" y="118"/>
                      <a:pt x="1241" y="118"/>
                    </a:cubicBezTo>
                    <a:cubicBezTo>
                      <a:pt x="1247" y="118"/>
                      <a:pt x="1252" y="117"/>
                      <a:pt x="1256" y="116"/>
                    </a:cubicBezTo>
                    <a:cubicBezTo>
                      <a:pt x="1260" y="114"/>
                      <a:pt x="1264" y="112"/>
                      <a:pt x="1266" y="108"/>
                    </a:cubicBezTo>
                    <a:cubicBezTo>
                      <a:pt x="1268" y="105"/>
                      <a:pt x="1270" y="101"/>
                      <a:pt x="1271" y="96"/>
                    </a:cubicBezTo>
                    <a:cubicBezTo>
                      <a:pt x="1272" y="91"/>
                      <a:pt x="1273" y="85"/>
                      <a:pt x="1273" y="79"/>
                    </a:cubicBezTo>
                    <a:cubicBezTo>
                      <a:pt x="1273" y="71"/>
                      <a:pt x="1272" y="65"/>
                      <a:pt x="1271" y="60"/>
                    </a:cubicBezTo>
                    <a:cubicBezTo>
                      <a:pt x="1270" y="54"/>
                      <a:pt x="1267" y="50"/>
                      <a:pt x="1264" y="46"/>
                    </a:cubicBezTo>
                    <a:cubicBezTo>
                      <a:pt x="1261" y="43"/>
                      <a:pt x="1257" y="40"/>
                      <a:pt x="1251" y="38"/>
                    </a:cubicBezTo>
                    <a:cubicBezTo>
                      <a:pt x="1246" y="37"/>
                      <a:pt x="1239" y="36"/>
                      <a:pt x="1230" y="36"/>
                    </a:cubicBezTo>
                    <a:cubicBezTo>
                      <a:pt x="1226" y="36"/>
                      <a:pt x="1222" y="36"/>
                      <a:pt x="1219" y="36"/>
                    </a:cubicBezTo>
                    <a:cubicBezTo>
                      <a:pt x="1215" y="36"/>
                      <a:pt x="1211" y="37"/>
                      <a:pt x="1207" y="37"/>
                    </a:cubicBezTo>
                    <a:cubicBezTo>
                      <a:pt x="1207" y="148"/>
                      <a:pt x="1207" y="148"/>
                      <a:pt x="1207" y="148"/>
                    </a:cubicBezTo>
                    <a:cubicBezTo>
                      <a:pt x="1218" y="148"/>
                      <a:pt x="1218" y="148"/>
                      <a:pt x="1218" y="148"/>
                    </a:cubicBezTo>
                    <a:lnTo>
                      <a:pt x="1218" y="114"/>
                    </a:lnTo>
                    <a:close/>
                    <a:moveTo>
                      <a:pt x="1113" y="117"/>
                    </a:moveTo>
                    <a:cubicBezTo>
                      <a:pt x="1124" y="117"/>
                      <a:pt x="1124" y="117"/>
                      <a:pt x="1124" y="117"/>
                    </a:cubicBezTo>
                    <a:cubicBezTo>
                      <a:pt x="1124" y="47"/>
                      <a:pt x="1124" y="47"/>
                      <a:pt x="1124" y="47"/>
                    </a:cubicBezTo>
                    <a:cubicBezTo>
                      <a:pt x="1126" y="46"/>
                      <a:pt x="1130" y="45"/>
                      <a:pt x="1134" y="44"/>
                    </a:cubicBezTo>
                    <a:cubicBezTo>
                      <a:pt x="1138" y="43"/>
                      <a:pt x="1142" y="43"/>
                      <a:pt x="1146" y="43"/>
                    </a:cubicBezTo>
                    <a:cubicBezTo>
                      <a:pt x="1147" y="43"/>
                      <a:pt x="1149" y="43"/>
                      <a:pt x="1150" y="43"/>
                    </a:cubicBezTo>
                    <a:cubicBezTo>
                      <a:pt x="1151" y="43"/>
                      <a:pt x="1152" y="43"/>
                      <a:pt x="1154" y="44"/>
                    </a:cubicBezTo>
                    <a:cubicBezTo>
                      <a:pt x="1155" y="36"/>
                      <a:pt x="1155" y="36"/>
                      <a:pt x="1155" y="36"/>
                    </a:cubicBezTo>
                    <a:cubicBezTo>
                      <a:pt x="1153" y="36"/>
                      <a:pt x="1151" y="36"/>
                      <a:pt x="1150" y="36"/>
                    </a:cubicBezTo>
                    <a:cubicBezTo>
                      <a:pt x="1149" y="36"/>
                      <a:pt x="1148" y="36"/>
                      <a:pt x="1146" y="36"/>
                    </a:cubicBezTo>
                    <a:cubicBezTo>
                      <a:pt x="1141" y="36"/>
                      <a:pt x="1135" y="36"/>
                      <a:pt x="1130" y="38"/>
                    </a:cubicBezTo>
                    <a:cubicBezTo>
                      <a:pt x="1125" y="39"/>
                      <a:pt x="1119" y="40"/>
                      <a:pt x="1113" y="43"/>
                    </a:cubicBezTo>
                    <a:lnTo>
                      <a:pt x="1113" y="117"/>
                    </a:lnTo>
                    <a:close/>
                    <a:moveTo>
                      <a:pt x="1036" y="73"/>
                    </a:moveTo>
                    <a:cubicBezTo>
                      <a:pt x="1036" y="62"/>
                      <a:pt x="1038" y="54"/>
                      <a:pt x="1042" y="50"/>
                    </a:cubicBezTo>
                    <a:cubicBezTo>
                      <a:pt x="1046" y="45"/>
                      <a:pt x="1051" y="43"/>
                      <a:pt x="1059" y="43"/>
                    </a:cubicBezTo>
                    <a:cubicBezTo>
                      <a:pt x="1068" y="43"/>
                      <a:pt x="1074" y="45"/>
                      <a:pt x="1077" y="50"/>
                    </a:cubicBezTo>
                    <a:cubicBezTo>
                      <a:pt x="1081" y="54"/>
                      <a:pt x="1083" y="62"/>
                      <a:pt x="1083" y="73"/>
                    </a:cubicBezTo>
                    <a:lnTo>
                      <a:pt x="1036" y="73"/>
                    </a:lnTo>
                    <a:close/>
                    <a:moveTo>
                      <a:pt x="1090" y="107"/>
                    </a:moveTo>
                    <a:cubicBezTo>
                      <a:pt x="1088" y="107"/>
                      <a:pt x="1086" y="107"/>
                      <a:pt x="1084" y="108"/>
                    </a:cubicBezTo>
                    <a:cubicBezTo>
                      <a:pt x="1081" y="108"/>
                      <a:pt x="1079" y="109"/>
                      <a:pt x="1076" y="109"/>
                    </a:cubicBezTo>
                    <a:cubicBezTo>
                      <a:pt x="1073" y="110"/>
                      <a:pt x="1071" y="110"/>
                      <a:pt x="1068" y="111"/>
                    </a:cubicBezTo>
                    <a:cubicBezTo>
                      <a:pt x="1065" y="111"/>
                      <a:pt x="1063" y="111"/>
                      <a:pt x="1060" y="111"/>
                    </a:cubicBezTo>
                    <a:cubicBezTo>
                      <a:pt x="1056" y="111"/>
                      <a:pt x="1052" y="110"/>
                      <a:pt x="1049" y="109"/>
                    </a:cubicBezTo>
                    <a:cubicBezTo>
                      <a:pt x="1046" y="108"/>
                      <a:pt x="1043" y="106"/>
                      <a:pt x="1041" y="103"/>
                    </a:cubicBezTo>
                    <a:cubicBezTo>
                      <a:pt x="1040" y="101"/>
                      <a:pt x="1038" y="97"/>
                      <a:pt x="1037" y="93"/>
                    </a:cubicBezTo>
                    <a:cubicBezTo>
                      <a:pt x="1037" y="90"/>
                      <a:pt x="1036" y="85"/>
                      <a:pt x="1036" y="80"/>
                    </a:cubicBezTo>
                    <a:cubicBezTo>
                      <a:pt x="1094" y="80"/>
                      <a:pt x="1094" y="80"/>
                      <a:pt x="1094" y="80"/>
                    </a:cubicBezTo>
                    <a:cubicBezTo>
                      <a:pt x="1094" y="74"/>
                      <a:pt x="1094" y="74"/>
                      <a:pt x="1094" y="74"/>
                    </a:cubicBezTo>
                    <a:cubicBezTo>
                      <a:pt x="1094" y="60"/>
                      <a:pt x="1091" y="51"/>
                      <a:pt x="1085" y="45"/>
                    </a:cubicBezTo>
                    <a:cubicBezTo>
                      <a:pt x="1079" y="39"/>
                      <a:pt x="1071" y="36"/>
                      <a:pt x="1059" y="36"/>
                    </a:cubicBezTo>
                    <a:cubicBezTo>
                      <a:pt x="1054" y="36"/>
                      <a:pt x="1049" y="36"/>
                      <a:pt x="1045" y="38"/>
                    </a:cubicBezTo>
                    <a:cubicBezTo>
                      <a:pt x="1041" y="39"/>
                      <a:pt x="1037" y="41"/>
                      <a:pt x="1034" y="45"/>
                    </a:cubicBezTo>
                    <a:cubicBezTo>
                      <a:pt x="1031" y="48"/>
                      <a:pt x="1029" y="52"/>
                      <a:pt x="1028" y="57"/>
                    </a:cubicBezTo>
                    <a:cubicBezTo>
                      <a:pt x="1026" y="63"/>
                      <a:pt x="1025" y="69"/>
                      <a:pt x="1025" y="77"/>
                    </a:cubicBezTo>
                    <a:cubicBezTo>
                      <a:pt x="1025" y="83"/>
                      <a:pt x="1026" y="89"/>
                      <a:pt x="1027" y="94"/>
                    </a:cubicBezTo>
                    <a:cubicBezTo>
                      <a:pt x="1028" y="99"/>
                      <a:pt x="1030" y="104"/>
                      <a:pt x="1032" y="107"/>
                    </a:cubicBezTo>
                    <a:cubicBezTo>
                      <a:pt x="1035" y="111"/>
                      <a:pt x="1039" y="113"/>
                      <a:pt x="1043" y="115"/>
                    </a:cubicBezTo>
                    <a:cubicBezTo>
                      <a:pt x="1048" y="117"/>
                      <a:pt x="1053" y="118"/>
                      <a:pt x="1060" y="118"/>
                    </a:cubicBezTo>
                    <a:cubicBezTo>
                      <a:pt x="1063" y="118"/>
                      <a:pt x="1066" y="118"/>
                      <a:pt x="1068" y="118"/>
                    </a:cubicBezTo>
                    <a:cubicBezTo>
                      <a:pt x="1071" y="117"/>
                      <a:pt x="1074" y="117"/>
                      <a:pt x="1077" y="116"/>
                    </a:cubicBezTo>
                    <a:cubicBezTo>
                      <a:pt x="1080" y="116"/>
                      <a:pt x="1082" y="116"/>
                      <a:pt x="1085" y="115"/>
                    </a:cubicBezTo>
                    <a:cubicBezTo>
                      <a:pt x="1087" y="115"/>
                      <a:pt x="1089" y="114"/>
                      <a:pt x="1091" y="114"/>
                    </a:cubicBezTo>
                    <a:lnTo>
                      <a:pt x="1090" y="107"/>
                    </a:lnTo>
                    <a:close/>
                    <a:moveTo>
                      <a:pt x="996" y="117"/>
                    </a:moveTo>
                    <a:cubicBezTo>
                      <a:pt x="1007" y="117"/>
                      <a:pt x="1007" y="117"/>
                      <a:pt x="1007" y="117"/>
                    </a:cubicBezTo>
                    <a:cubicBezTo>
                      <a:pt x="1007" y="5"/>
                      <a:pt x="1007" y="5"/>
                      <a:pt x="1007" y="5"/>
                    </a:cubicBezTo>
                    <a:cubicBezTo>
                      <a:pt x="996" y="5"/>
                      <a:pt x="996" y="5"/>
                      <a:pt x="996" y="5"/>
                    </a:cubicBezTo>
                    <a:lnTo>
                      <a:pt x="996" y="117"/>
                    </a:lnTo>
                    <a:close/>
                    <a:moveTo>
                      <a:pt x="963" y="117"/>
                    </a:moveTo>
                    <a:cubicBezTo>
                      <a:pt x="974" y="117"/>
                      <a:pt x="974" y="117"/>
                      <a:pt x="974" y="117"/>
                    </a:cubicBezTo>
                    <a:cubicBezTo>
                      <a:pt x="974" y="5"/>
                      <a:pt x="974" y="5"/>
                      <a:pt x="974" y="5"/>
                    </a:cubicBezTo>
                    <a:cubicBezTo>
                      <a:pt x="963" y="5"/>
                      <a:pt x="963" y="5"/>
                      <a:pt x="963" y="5"/>
                    </a:cubicBezTo>
                    <a:lnTo>
                      <a:pt x="963" y="117"/>
                    </a:lnTo>
                    <a:close/>
                    <a:moveTo>
                      <a:pt x="930" y="107"/>
                    </a:moveTo>
                    <a:cubicBezTo>
                      <a:pt x="927" y="108"/>
                      <a:pt x="923" y="108"/>
                      <a:pt x="918" y="109"/>
                    </a:cubicBezTo>
                    <a:cubicBezTo>
                      <a:pt x="913" y="110"/>
                      <a:pt x="908" y="111"/>
                      <a:pt x="903" y="111"/>
                    </a:cubicBezTo>
                    <a:cubicBezTo>
                      <a:pt x="899" y="111"/>
                      <a:pt x="895" y="109"/>
                      <a:pt x="893" y="106"/>
                    </a:cubicBezTo>
                    <a:cubicBezTo>
                      <a:pt x="890" y="103"/>
                      <a:pt x="889" y="99"/>
                      <a:pt x="889" y="94"/>
                    </a:cubicBezTo>
                    <a:cubicBezTo>
                      <a:pt x="889" y="90"/>
                      <a:pt x="890" y="86"/>
                      <a:pt x="893" y="83"/>
                    </a:cubicBezTo>
                    <a:cubicBezTo>
                      <a:pt x="895" y="80"/>
                      <a:pt x="899" y="78"/>
                      <a:pt x="906" y="78"/>
                    </a:cubicBezTo>
                    <a:cubicBezTo>
                      <a:pt x="930" y="76"/>
                      <a:pt x="930" y="76"/>
                      <a:pt x="930" y="76"/>
                    </a:cubicBezTo>
                    <a:lnTo>
                      <a:pt x="930" y="107"/>
                    </a:lnTo>
                    <a:close/>
                    <a:moveTo>
                      <a:pt x="886" y="45"/>
                    </a:moveTo>
                    <a:cubicBezTo>
                      <a:pt x="891" y="45"/>
                      <a:pt x="896" y="44"/>
                      <a:pt x="900" y="44"/>
                    </a:cubicBezTo>
                    <a:cubicBezTo>
                      <a:pt x="905" y="43"/>
                      <a:pt x="909" y="43"/>
                      <a:pt x="913" y="43"/>
                    </a:cubicBezTo>
                    <a:cubicBezTo>
                      <a:pt x="919" y="43"/>
                      <a:pt x="923" y="45"/>
                      <a:pt x="926" y="47"/>
                    </a:cubicBezTo>
                    <a:cubicBezTo>
                      <a:pt x="929" y="50"/>
                      <a:pt x="930" y="54"/>
                      <a:pt x="930" y="61"/>
                    </a:cubicBezTo>
                    <a:cubicBezTo>
                      <a:pt x="930" y="69"/>
                      <a:pt x="930" y="69"/>
                      <a:pt x="930" y="69"/>
                    </a:cubicBezTo>
                    <a:cubicBezTo>
                      <a:pt x="905" y="71"/>
                      <a:pt x="905" y="71"/>
                      <a:pt x="905" y="71"/>
                    </a:cubicBezTo>
                    <a:cubicBezTo>
                      <a:pt x="895" y="72"/>
                      <a:pt x="889" y="74"/>
                      <a:pt x="885" y="78"/>
                    </a:cubicBezTo>
                    <a:cubicBezTo>
                      <a:pt x="881" y="82"/>
                      <a:pt x="879" y="88"/>
                      <a:pt x="879" y="94"/>
                    </a:cubicBezTo>
                    <a:cubicBezTo>
                      <a:pt x="879" y="102"/>
                      <a:pt x="881" y="108"/>
                      <a:pt x="885" y="112"/>
                    </a:cubicBezTo>
                    <a:cubicBezTo>
                      <a:pt x="889" y="116"/>
                      <a:pt x="895" y="118"/>
                      <a:pt x="903" y="118"/>
                    </a:cubicBezTo>
                    <a:cubicBezTo>
                      <a:pt x="911" y="118"/>
                      <a:pt x="918" y="117"/>
                      <a:pt x="924" y="116"/>
                    </a:cubicBezTo>
                    <a:cubicBezTo>
                      <a:pt x="931" y="114"/>
                      <a:pt x="936" y="113"/>
                      <a:pt x="941" y="111"/>
                    </a:cubicBezTo>
                    <a:cubicBezTo>
                      <a:pt x="941" y="61"/>
                      <a:pt x="941" y="61"/>
                      <a:pt x="941" y="61"/>
                    </a:cubicBezTo>
                    <a:cubicBezTo>
                      <a:pt x="941" y="53"/>
                      <a:pt x="939" y="46"/>
                      <a:pt x="934" y="42"/>
                    </a:cubicBezTo>
                    <a:cubicBezTo>
                      <a:pt x="930" y="38"/>
                      <a:pt x="923" y="36"/>
                      <a:pt x="913" y="36"/>
                    </a:cubicBezTo>
                    <a:cubicBezTo>
                      <a:pt x="909" y="36"/>
                      <a:pt x="904" y="36"/>
                      <a:pt x="899" y="36"/>
                    </a:cubicBezTo>
                    <a:cubicBezTo>
                      <a:pt x="894" y="37"/>
                      <a:pt x="889" y="37"/>
                      <a:pt x="884" y="38"/>
                    </a:cubicBezTo>
                    <a:lnTo>
                      <a:pt x="886" y="45"/>
                    </a:lnTo>
                    <a:close/>
                    <a:moveTo>
                      <a:pt x="842" y="34"/>
                    </a:moveTo>
                    <a:cubicBezTo>
                      <a:pt x="852" y="34"/>
                      <a:pt x="852" y="34"/>
                      <a:pt x="852" y="34"/>
                    </a:cubicBezTo>
                    <a:cubicBezTo>
                      <a:pt x="861" y="0"/>
                      <a:pt x="861" y="0"/>
                      <a:pt x="861" y="0"/>
                    </a:cubicBezTo>
                    <a:cubicBezTo>
                      <a:pt x="850" y="0"/>
                      <a:pt x="850" y="0"/>
                      <a:pt x="850" y="0"/>
                    </a:cubicBezTo>
                    <a:lnTo>
                      <a:pt x="842" y="34"/>
                    </a:lnTo>
                    <a:close/>
                    <a:moveTo>
                      <a:pt x="811" y="110"/>
                    </a:moveTo>
                    <a:cubicBezTo>
                      <a:pt x="809" y="110"/>
                      <a:pt x="807" y="111"/>
                      <a:pt x="804" y="111"/>
                    </a:cubicBezTo>
                    <a:cubicBezTo>
                      <a:pt x="802" y="111"/>
                      <a:pt x="799" y="111"/>
                      <a:pt x="798" y="111"/>
                    </a:cubicBezTo>
                    <a:cubicBezTo>
                      <a:pt x="791" y="111"/>
                      <a:pt x="786" y="110"/>
                      <a:pt x="782" y="109"/>
                    </a:cubicBezTo>
                    <a:cubicBezTo>
                      <a:pt x="778" y="107"/>
                      <a:pt x="775" y="105"/>
                      <a:pt x="773" y="102"/>
                    </a:cubicBezTo>
                    <a:cubicBezTo>
                      <a:pt x="771" y="99"/>
                      <a:pt x="769" y="95"/>
                      <a:pt x="768" y="91"/>
                    </a:cubicBezTo>
                    <a:cubicBezTo>
                      <a:pt x="768" y="87"/>
                      <a:pt x="767" y="81"/>
                      <a:pt x="767" y="76"/>
                    </a:cubicBezTo>
                    <a:cubicBezTo>
                      <a:pt x="767" y="70"/>
                      <a:pt x="768" y="65"/>
                      <a:pt x="768" y="61"/>
                    </a:cubicBezTo>
                    <a:cubicBezTo>
                      <a:pt x="769" y="57"/>
                      <a:pt x="770" y="53"/>
                      <a:pt x="771" y="51"/>
                    </a:cubicBezTo>
                    <a:cubicBezTo>
                      <a:pt x="773" y="48"/>
                      <a:pt x="775" y="46"/>
                      <a:pt x="778" y="45"/>
                    </a:cubicBezTo>
                    <a:cubicBezTo>
                      <a:pt x="781" y="44"/>
                      <a:pt x="784" y="43"/>
                      <a:pt x="789" y="43"/>
                    </a:cubicBezTo>
                    <a:cubicBezTo>
                      <a:pt x="793" y="43"/>
                      <a:pt x="797" y="43"/>
                      <a:pt x="801" y="44"/>
                    </a:cubicBezTo>
                    <a:cubicBezTo>
                      <a:pt x="805" y="45"/>
                      <a:pt x="809" y="46"/>
                      <a:pt x="811" y="47"/>
                    </a:cubicBezTo>
                    <a:lnTo>
                      <a:pt x="811" y="110"/>
                    </a:lnTo>
                    <a:close/>
                    <a:moveTo>
                      <a:pt x="811" y="40"/>
                    </a:moveTo>
                    <a:cubicBezTo>
                      <a:pt x="809" y="39"/>
                      <a:pt x="805" y="38"/>
                      <a:pt x="801" y="37"/>
                    </a:cubicBezTo>
                    <a:cubicBezTo>
                      <a:pt x="797" y="36"/>
                      <a:pt x="793" y="36"/>
                      <a:pt x="789" y="36"/>
                    </a:cubicBezTo>
                    <a:cubicBezTo>
                      <a:pt x="782" y="36"/>
                      <a:pt x="777" y="37"/>
                      <a:pt x="773" y="38"/>
                    </a:cubicBezTo>
                    <a:cubicBezTo>
                      <a:pt x="769" y="40"/>
                      <a:pt x="766" y="42"/>
                      <a:pt x="763" y="45"/>
                    </a:cubicBezTo>
                    <a:cubicBezTo>
                      <a:pt x="761" y="49"/>
                      <a:pt x="759" y="53"/>
                      <a:pt x="758" y="58"/>
                    </a:cubicBezTo>
                    <a:cubicBezTo>
                      <a:pt x="757" y="63"/>
                      <a:pt x="757" y="69"/>
                      <a:pt x="757" y="75"/>
                    </a:cubicBezTo>
                    <a:cubicBezTo>
                      <a:pt x="757" y="83"/>
                      <a:pt x="757" y="89"/>
                      <a:pt x="758" y="94"/>
                    </a:cubicBezTo>
                    <a:cubicBezTo>
                      <a:pt x="760" y="100"/>
                      <a:pt x="762" y="104"/>
                      <a:pt x="765" y="108"/>
                    </a:cubicBezTo>
                    <a:cubicBezTo>
                      <a:pt x="768" y="111"/>
                      <a:pt x="772" y="114"/>
                      <a:pt x="778" y="116"/>
                    </a:cubicBezTo>
                    <a:cubicBezTo>
                      <a:pt x="783" y="117"/>
                      <a:pt x="790" y="118"/>
                      <a:pt x="799" y="118"/>
                    </a:cubicBezTo>
                    <a:cubicBezTo>
                      <a:pt x="803" y="118"/>
                      <a:pt x="807" y="118"/>
                      <a:pt x="811" y="118"/>
                    </a:cubicBezTo>
                    <a:cubicBezTo>
                      <a:pt x="814" y="117"/>
                      <a:pt x="818" y="117"/>
                      <a:pt x="822" y="117"/>
                    </a:cubicBezTo>
                    <a:cubicBezTo>
                      <a:pt x="822" y="5"/>
                      <a:pt x="822" y="5"/>
                      <a:pt x="822" y="5"/>
                    </a:cubicBezTo>
                    <a:cubicBezTo>
                      <a:pt x="811" y="5"/>
                      <a:pt x="811" y="5"/>
                      <a:pt x="811" y="5"/>
                    </a:cubicBezTo>
                    <a:lnTo>
                      <a:pt x="811" y="40"/>
                    </a:lnTo>
                    <a:close/>
                    <a:moveTo>
                      <a:pt x="633" y="117"/>
                    </a:moveTo>
                    <a:cubicBezTo>
                      <a:pt x="643" y="117"/>
                      <a:pt x="643" y="117"/>
                      <a:pt x="643" y="117"/>
                    </a:cubicBezTo>
                    <a:cubicBezTo>
                      <a:pt x="643" y="47"/>
                      <a:pt x="643" y="47"/>
                      <a:pt x="643" y="47"/>
                    </a:cubicBezTo>
                    <a:cubicBezTo>
                      <a:pt x="646" y="46"/>
                      <a:pt x="649" y="45"/>
                      <a:pt x="653" y="44"/>
                    </a:cubicBezTo>
                    <a:cubicBezTo>
                      <a:pt x="657" y="43"/>
                      <a:pt x="661" y="43"/>
                      <a:pt x="666" y="43"/>
                    </a:cubicBezTo>
                    <a:cubicBezTo>
                      <a:pt x="675" y="43"/>
                      <a:pt x="681" y="45"/>
                      <a:pt x="684" y="51"/>
                    </a:cubicBezTo>
                    <a:cubicBezTo>
                      <a:pt x="688" y="56"/>
                      <a:pt x="689" y="64"/>
                      <a:pt x="689" y="75"/>
                    </a:cubicBezTo>
                    <a:cubicBezTo>
                      <a:pt x="689" y="117"/>
                      <a:pt x="689" y="117"/>
                      <a:pt x="689" y="117"/>
                    </a:cubicBezTo>
                    <a:cubicBezTo>
                      <a:pt x="700" y="117"/>
                      <a:pt x="700" y="117"/>
                      <a:pt x="700" y="117"/>
                    </a:cubicBezTo>
                    <a:cubicBezTo>
                      <a:pt x="700" y="75"/>
                      <a:pt x="700" y="75"/>
                      <a:pt x="700" y="75"/>
                    </a:cubicBezTo>
                    <a:cubicBezTo>
                      <a:pt x="700" y="69"/>
                      <a:pt x="700" y="63"/>
                      <a:pt x="698" y="58"/>
                    </a:cubicBezTo>
                    <a:cubicBezTo>
                      <a:pt x="697" y="53"/>
                      <a:pt x="695" y="49"/>
                      <a:pt x="693" y="45"/>
                    </a:cubicBezTo>
                    <a:cubicBezTo>
                      <a:pt x="690" y="42"/>
                      <a:pt x="686" y="40"/>
                      <a:pt x="682" y="38"/>
                    </a:cubicBezTo>
                    <a:cubicBezTo>
                      <a:pt x="677" y="37"/>
                      <a:pt x="672" y="36"/>
                      <a:pt x="666" y="36"/>
                    </a:cubicBezTo>
                    <a:cubicBezTo>
                      <a:pt x="660" y="36"/>
                      <a:pt x="654" y="36"/>
                      <a:pt x="649" y="37"/>
                    </a:cubicBezTo>
                    <a:cubicBezTo>
                      <a:pt x="644" y="39"/>
                      <a:pt x="639" y="40"/>
                      <a:pt x="632" y="43"/>
                    </a:cubicBezTo>
                    <a:lnTo>
                      <a:pt x="633" y="117"/>
                    </a:lnTo>
                    <a:close/>
                    <a:moveTo>
                      <a:pt x="564" y="109"/>
                    </a:moveTo>
                    <a:cubicBezTo>
                      <a:pt x="561" y="108"/>
                      <a:pt x="558" y="106"/>
                      <a:pt x="556" y="103"/>
                    </a:cubicBezTo>
                    <a:cubicBezTo>
                      <a:pt x="554" y="100"/>
                      <a:pt x="553" y="97"/>
                      <a:pt x="552" y="92"/>
                    </a:cubicBezTo>
                    <a:cubicBezTo>
                      <a:pt x="552" y="88"/>
                      <a:pt x="551" y="82"/>
                      <a:pt x="551" y="76"/>
                    </a:cubicBezTo>
                    <a:cubicBezTo>
                      <a:pt x="551" y="69"/>
                      <a:pt x="552" y="64"/>
                      <a:pt x="553" y="60"/>
                    </a:cubicBezTo>
                    <a:cubicBezTo>
                      <a:pt x="554" y="56"/>
                      <a:pt x="555" y="52"/>
                      <a:pt x="557" y="50"/>
                    </a:cubicBezTo>
                    <a:cubicBezTo>
                      <a:pt x="559" y="47"/>
                      <a:pt x="562" y="46"/>
                      <a:pt x="565" y="45"/>
                    </a:cubicBezTo>
                    <a:cubicBezTo>
                      <a:pt x="568" y="44"/>
                      <a:pt x="572" y="43"/>
                      <a:pt x="577" y="43"/>
                    </a:cubicBezTo>
                    <a:cubicBezTo>
                      <a:pt x="581" y="43"/>
                      <a:pt x="584" y="44"/>
                      <a:pt x="588" y="45"/>
                    </a:cubicBezTo>
                    <a:cubicBezTo>
                      <a:pt x="591" y="46"/>
                      <a:pt x="593" y="48"/>
                      <a:pt x="595" y="50"/>
                    </a:cubicBezTo>
                    <a:cubicBezTo>
                      <a:pt x="597" y="53"/>
                      <a:pt x="599" y="56"/>
                      <a:pt x="600" y="61"/>
                    </a:cubicBezTo>
                    <a:cubicBezTo>
                      <a:pt x="601" y="65"/>
                      <a:pt x="602" y="70"/>
                      <a:pt x="602" y="76"/>
                    </a:cubicBezTo>
                    <a:cubicBezTo>
                      <a:pt x="602" y="82"/>
                      <a:pt x="602" y="87"/>
                      <a:pt x="601" y="92"/>
                    </a:cubicBezTo>
                    <a:cubicBezTo>
                      <a:pt x="601" y="96"/>
                      <a:pt x="599" y="100"/>
                      <a:pt x="598" y="103"/>
                    </a:cubicBezTo>
                    <a:cubicBezTo>
                      <a:pt x="596" y="106"/>
                      <a:pt x="593" y="108"/>
                      <a:pt x="590" y="109"/>
                    </a:cubicBezTo>
                    <a:cubicBezTo>
                      <a:pt x="587" y="110"/>
                      <a:pt x="582" y="111"/>
                      <a:pt x="577" y="111"/>
                    </a:cubicBezTo>
                    <a:cubicBezTo>
                      <a:pt x="572" y="111"/>
                      <a:pt x="567" y="111"/>
                      <a:pt x="564" y="109"/>
                    </a:cubicBezTo>
                    <a:moveTo>
                      <a:pt x="577" y="36"/>
                    </a:moveTo>
                    <a:cubicBezTo>
                      <a:pt x="571" y="36"/>
                      <a:pt x="565" y="36"/>
                      <a:pt x="561" y="38"/>
                    </a:cubicBezTo>
                    <a:cubicBezTo>
                      <a:pt x="556" y="39"/>
                      <a:pt x="553" y="41"/>
                      <a:pt x="550" y="45"/>
                    </a:cubicBezTo>
                    <a:cubicBezTo>
                      <a:pt x="547" y="48"/>
                      <a:pt x="544" y="52"/>
                      <a:pt x="543" y="57"/>
                    </a:cubicBezTo>
                    <a:cubicBezTo>
                      <a:pt x="542" y="62"/>
                      <a:pt x="541" y="68"/>
                      <a:pt x="541" y="75"/>
                    </a:cubicBezTo>
                    <a:cubicBezTo>
                      <a:pt x="541" y="83"/>
                      <a:pt x="541" y="90"/>
                      <a:pt x="542" y="95"/>
                    </a:cubicBezTo>
                    <a:cubicBezTo>
                      <a:pt x="544" y="101"/>
                      <a:pt x="546" y="105"/>
                      <a:pt x="548" y="109"/>
                    </a:cubicBezTo>
                    <a:cubicBezTo>
                      <a:pt x="551" y="112"/>
                      <a:pt x="555" y="114"/>
                      <a:pt x="559" y="116"/>
                    </a:cubicBezTo>
                    <a:cubicBezTo>
                      <a:pt x="564" y="118"/>
                      <a:pt x="570" y="118"/>
                      <a:pt x="577" y="118"/>
                    </a:cubicBezTo>
                    <a:cubicBezTo>
                      <a:pt x="584" y="118"/>
                      <a:pt x="590" y="117"/>
                      <a:pt x="595" y="116"/>
                    </a:cubicBezTo>
                    <a:cubicBezTo>
                      <a:pt x="599" y="114"/>
                      <a:pt x="603" y="111"/>
                      <a:pt x="605" y="108"/>
                    </a:cubicBezTo>
                    <a:cubicBezTo>
                      <a:pt x="608" y="104"/>
                      <a:pt x="610" y="100"/>
                      <a:pt x="611" y="95"/>
                    </a:cubicBezTo>
                    <a:cubicBezTo>
                      <a:pt x="612" y="89"/>
                      <a:pt x="613" y="83"/>
                      <a:pt x="613" y="76"/>
                    </a:cubicBezTo>
                    <a:cubicBezTo>
                      <a:pt x="613" y="69"/>
                      <a:pt x="612" y="63"/>
                      <a:pt x="610" y="57"/>
                    </a:cubicBezTo>
                    <a:cubicBezTo>
                      <a:pt x="609" y="52"/>
                      <a:pt x="606" y="48"/>
                      <a:pt x="603" y="45"/>
                    </a:cubicBezTo>
                    <a:cubicBezTo>
                      <a:pt x="600" y="42"/>
                      <a:pt x="597" y="40"/>
                      <a:pt x="592" y="38"/>
                    </a:cubicBezTo>
                    <a:cubicBezTo>
                      <a:pt x="588" y="37"/>
                      <a:pt x="583" y="36"/>
                      <a:pt x="577" y="36"/>
                    </a:cubicBezTo>
                    <a:close/>
                    <a:moveTo>
                      <a:pt x="512" y="117"/>
                    </a:moveTo>
                    <a:cubicBezTo>
                      <a:pt x="522" y="117"/>
                      <a:pt x="522" y="117"/>
                      <a:pt x="522" y="117"/>
                    </a:cubicBezTo>
                    <a:cubicBezTo>
                      <a:pt x="522" y="37"/>
                      <a:pt x="522" y="37"/>
                      <a:pt x="522" y="37"/>
                    </a:cubicBezTo>
                    <a:cubicBezTo>
                      <a:pt x="512" y="37"/>
                      <a:pt x="512" y="37"/>
                      <a:pt x="512" y="37"/>
                    </a:cubicBezTo>
                    <a:lnTo>
                      <a:pt x="512" y="117"/>
                    </a:lnTo>
                    <a:close/>
                    <a:moveTo>
                      <a:pt x="512" y="17"/>
                    </a:moveTo>
                    <a:cubicBezTo>
                      <a:pt x="522" y="17"/>
                      <a:pt x="522" y="17"/>
                      <a:pt x="522" y="17"/>
                    </a:cubicBezTo>
                    <a:cubicBezTo>
                      <a:pt x="522" y="6"/>
                      <a:pt x="522" y="6"/>
                      <a:pt x="522" y="6"/>
                    </a:cubicBezTo>
                    <a:cubicBezTo>
                      <a:pt x="512" y="6"/>
                      <a:pt x="512" y="6"/>
                      <a:pt x="512" y="6"/>
                    </a:cubicBezTo>
                    <a:lnTo>
                      <a:pt x="512" y="17"/>
                    </a:lnTo>
                    <a:close/>
                    <a:moveTo>
                      <a:pt x="467" y="17"/>
                    </a:moveTo>
                    <a:cubicBezTo>
                      <a:pt x="467" y="37"/>
                      <a:pt x="467" y="37"/>
                      <a:pt x="467" y="37"/>
                    </a:cubicBezTo>
                    <a:cubicBezTo>
                      <a:pt x="450" y="37"/>
                      <a:pt x="450" y="37"/>
                      <a:pt x="450" y="37"/>
                    </a:cubicBezTo>
                    <a:cubicBezTo>
                      <a:pt x="450" y="45"/>
                      <a:pt x="450" y="45"/>
                      <a:pt x="450" y="45"/>
                    </a:cubicBezTo>
                    <a:cubicBezTo>
                      <a:pt x="467" y="45"/>
                      <a:pt x="467" y="45"/>
                      <a:pt x="467" y="45"/>
                    </a:cubicBezTo>
                    <a:cubicBezTo>
                      <a:pt x="467" y="92"/>
                      <a:pt x="467" y="92"/>
                      <a:pt x="467" y="92"/>
                    </a:cubicBezTo>
                    <a:cubicBezTo>
                      <a:pt x="467" y="96"/>
                      <a:pt x="467" y="101"/>
                      <a:pt x="468" y="104"/>
                    </a:cubicBezTo>
                    <a:cubicBezTo>
                      <a:pt x="468" y="107"/>
                      <a:pt x="469" y="110"/>
                      <a:pt x="470" y="112"/>
                    </a:cubicBezTo>
                    <a:cubicBezTo>
                      <a:pt x="471" y="114"/>
                      <a:pt x="473" y="116"/>
                      <a:pt x="475" y="117"/>
                    </a:cubicBezTo>
                    <a:cubicBezTo>
                      <a:pt x="478" y="118"/>
                      <a:pt x="481" y="118"/>
                      <a:pt x="484" y="118"/>
                    </a:cubicBezTo>
                    <a:cubicBezTo>
                      <a:pt x="486" y="118"/>
                      <a:pt x="487" y="118"/>
                      <a:pt x="488" y="118"/>
                    </a:cubicBezTo>
                    <a:cubicBezTo>
                      <a:pt x="490" y="118"/>
                      <a:pt x="492" y="117"/>
                      <a:pt x="495" y="117"/>
                    </a:cubicBezTo>
                    <a:cubicBezTo>
                      <a:pt x="496" y="110"/>
                      <a:pt x="496" y="110"/>
                      <a:pt x="496" y="110"/>
                    </a:cubicBezTo>
                    <a:cubicBezTo>
                      <a:pt x="494" y="110"/>
                      <a:pt x="492" y="110"/>
                      <a:pt x="490" y="111"/>
                    </a:cubicBezTo>
                    <a:cubicBezTo>
                      <a:pt x="489" y="111"/>
                      <a:pt x="487" y="111"/>
                      <a:pt x="486" y="111"/>
                    </a:cubicBezTo>
                    <a:cubicBezTo>
                      <a:pt x="485" y="111"/>
                      <a:pt x="485" y="111"/>
                      <a:pt x="485" y="111"/>
                    </a:cubicBezTo>
                    <a:cubicBezTo>
                      <a:pt x="484" y="111"/>
                      <a:pt x="482" y="111"/>
                      <a:pt x="481" y="110"/>
                    </a:cubicBezTo>
                    <a:cubicBezTo>
                      <a:pt x="480" y="110"/>
                      <a:pt x="479" y="109"/>
                      <a:pt x="479" y="107"/>
                    </a:cubicBezTo>
                    <a:cubicBezTo>
                      <a:pt x="478" y="106"/>
                      <a:pt x="478" y="104"/>
                      <a:pt x="478" y="101"/>
                    </a:cubicBezTo>
                    <a:cubicBezTo>
                      <a:pt x="477" y="99"/>
                      <a:pt x="477" y="96"/>
                      <a:pt x="477" y="92"/>
                    </a:cubicBezTo>
                    <a:cubicBezTo>
                      <a:pt x="477" y="45"/>
                      <a:pt x="477" y="45"/>
                      <a:pt x="477" y="45"/>
                    </a:cubicBezTo>
                    <a:cubicBezTo>
                      <a:pt x="496" y="45"/>
                      <a:pt x="496" y="45"/>
                      <a:pt x="496" y="45"/>
                    </a:cubicBezTo>
                    <a:cubicBezTo>
                      <a:pt x="496" y="37"/>
                      <a:pt x="496" y="37"/>
                      <a:pt x="496" y="37"/>
                    </a:cubicBezTo>
                    <a:cubicBezTo>
                      <a:pt x="477" y="37"/>
                      <a:pt x="477" y="37"/>
                      <a:pt x="477" y="37"/>
                    </a:cubicBezTo>
                    <a:cubicBezTo>
                      <a:pt x="477" y="17"/>
                      <a:pt x="477" y="17"/>
                      <a:pt x="477" y="17"/>
                    </a:cubicBezTo>
                    <a:lnTo>
                      <a:pt x="467" y="17"/>
                    </a:lnTo>
                    <a:close/>
                    <a:moveTo>
                      <a:pt x="429" y="117"/>
                    </a:moveTo>
                    <a:cubicBezTo>
                      <a:pt x="440" y="117"/>
                      <a:pt x="440" y="117"/>
                      <a:pt x="440" y="117"/>
                    </a:cubicBezTo>
                    <a:cubicBezTo>
                      <a:pt x="440" y="37"/>
                      <a:pt x="440" y="37"/>
                      <a:pt x="440" y="37"/>
                    </a:cubicBezTo>
                    <a:cubicBezTo>
                      <a:pt x="429" y="37"/>
                      <a:pt x="429" y="37"/>
                      <a:pt x="429" y="37"/>
                    </a:cubicBezTo>
                    <a:lnTo>
                      <a:pt x="429" y="117"/>
                    </a:lnTo>
                    <a:close/>
                    <a:moveTo>
                      <a:pt x="429" y="17"/>
                    </a:moveTo>
                    <a:cubicBezTo>
                      <a:pt x="440" y="17"/>
                      <a:pt x="440" y="17"/>
                      <a:pt x="440" y="17"/>
                    </a:cubicBezTo>
                    <a:cubicBezTo>
                      <a:pt x="440" y="6"/>
                      <a:pt x="440" y="6"/>
                      <a:pt x="440" y="6"/>
                    </a:cubicBezTo>
                    <a:cubicBezTo>
                      <a:pt x="429" y="6"/>
                      <a:pt x="429" y="6"/>
                      <a:pt x="429" y="6"/>
                    </a:cubicBezTo>
                    <a:lnTo>
                      <a:pt x="429" y="17"/>
                    </a:lnTo>
                    <a:close/>
                    <a:moveTo>
                      <a:pt x="353" y="47"/>
                    </a:moveTo>
                    <a:cubicBezTo>
                      <a:pt x="356" y="46"/>
                      <a:pt x="359" y="45"/>
                      <a:pt x="363" y="44"/>
                    </a:cubicBezTo>
                    <a:cubicBezTo>
                      <a:pt x="367" y="43"/>
                      <a:pt x="372" y="43"/>
                      <a:pt x="376" y="43"/>
                    </a:cubicBezTo>
                    <a:cubicBezTo>
                      <a:pt x="380" y="43"/>
                      <a:pt x="384" y="43"/>
                      <a:pt x="387" y="45"/>
                    </a:cubicBezTo>
                    <a:cubicBezTo>
                      <a:pt x="390" y="46"/>
                      <a:pt x="392" y="48"/>
                      <a:pt x="393" y="50"/>
                    </a:cubicBezTo>
                    <a:cubicBezTo>
                      <a:pt x="395" y="53"/>
                      <a:pt x="396" y="56"/>
                      <a:pt x="396" y="61"/>
                    </a:cubicBezTo>
                    <a:cubicBezTo>
                      <a:pt x="397" y="65"/>
                      <a:pt x="397" y="70"/>
                      <a:pt x="397" y="75"/>
                    </a:cubicBezTo>
                    <a:cubicBezTo>
                      <a:pt x="397" y="81"/>
                      <a:pt x="397" y="86"/>
                      <a:pt x="396" y="91"/>
                    </a:cubicBezTo>
                    <a:cubicBezTo>
                      <a:pt x="396" y="95"/>
                      <a:pt x="394" y="99"/>
                      <a:pt x="392" y="102"/>
                    </a:cubicBezTo>
                    <a:cubicBezTo>
                      <a:pt x="390" y="105"/>
                      <a:pt x="387" y="107"/>
                      <a:pt x="383" y="108"/>
                    </a:cubicBezTo>
                    <a:cubicBezTo>
                      <a:pt x="379" y="110"/>
                      <a:pt x="374" y="111"/>
                      <a:pt x="367" y="111"/>
                    </a:cubicBezTo>
                    <a:cubicBezTo>
                      <a:pt x="365" y="111"/>
                      <a:pt x="363" y="111"/>
                      <a:pt x="361" y="111"/>
                    </a:cubicBezTo>
                    <a:cubicBezTo>
                      <a:pt x="358" y="110"/>
                      <a:pt x="356" y="110"/>
                      <a:pt x="353" y="110"/>
                    </a:cubicBezTo>
                    <a:lnTo>
                      <a:pt x="353" y="47"/>
                    </a:lnTo>
                    <a:close/>
                    <a:moveTo>
                      <a:pt x="343" y="5"/>
                    </a:moveTo>
                    <a:cubicBezTo>
                      <a:pt x="343" y="117"/>
                      <a:pt x="343" y="117"/>
                      <a:pt x="343" y="117"/>
                    </a:cubicBezTo>
                    <a:cubicBezTo>
                      <a:pt x="346" y="117"/>
                      <a:pt x="350" y="117"/>
                      <a:pt x="354" y="118"/>
                    </a:cubicBezTo>
                    <a:cubicBezTo>
                      <a:pt x="358" y="118"/>
                      <a:pt x="362" y="118"/>
                      <a:pt x="366" y="118"/>
                    </a:cubicBezTo>
                    <a:cubicBezTo>
                      <a:pt x="374" y="118"/>
                      <a:pt x="381" y="117"/>
                      <a:pt x="387" y="116"/>
                    </a:cubicBezTo>
                    <a:cubicBezTo>
                      <a:pt x="392" y="114"/>
                      <a:pt x="397" y="111"/>
                      <a:pt x="400" y="108"/>
                    </a:cubicBezTo>
                    <a:cubicBezTo>
                      <a:pt x="403" y="104"/>
                      <a:pt x="405" y="100"/>
                      <a:pt x="406" y="94"/>
                    </a:cubicBezTo>
                    <a:cubicBezTo>
                      <a:pt x="407" y="89"/>
                      <a:pt x="408" y="83"/>
                      <a:pt x="408" y="75"/>
                    </a:cubicBezTo>
                    <a:cubicBezTo>
                      <a:pt x="408" y="69"/>
                      <a:pt x="407" y="63"/>
                      <a:pt x="406" y="58"/>
                    </a:cubicBezTo>
                    <a:cubicBezTo>
                      <a:pt x="405" y="53"/>
                      <a:pt x="404" y="49"/>
                      <a:pt x="401" y="45"/>
                    </a:cubicBezTo>
                    <a:cubicBezTo>
                      <a:pt x="399" y="42"/>
                      <a:pt x="396" y="40"/>
                      <a:pt x="392" y="38"/>
                    </a:cubicBezTo>
                    <a:cubicBezTo>
                      <a:pt x="388" y="37"/>
                      <a:pt x="382" y="36"/>
                      <a:pt x="376" y="36"/>
                    </a:cubicBezTo>
                    <a:cubicBezTo>
                      <a:pt x="372" y="36"/>
                      <a:pt x="367" y="36"/>
                      <a:pt x="363" y="37"/>
                    </a:cubicBezTo>
                    <a:cubicBezTo>
                      <a:pt x="359" y="38"/>
                      <a:pt x="356" y="39"/>
                      <a:pt x="353" y="40"/>
                    </a:cubicBezTo>
                    <a:cubicBezTo>
                      <a:pt x="353" y="5"/>
                      <a:pt x="353" y="5"/>
                      <a:pt x="353" y="5"/>
                    </a:cubicBezTo>
                    <a:lnTo>
                      <a:pt x="343" y="5"/>
                    </a:lnTo>
                    <a:close/>
                    <a:moveTo>
                      <a:pt x="201" y="117"/>
                    </a:moveTo>
                    <a:cubicBezTo>
                      <a:pt x="212" y="117"/>
                      <a:pt x="212" y="117"/>
                      <a:pt x="212" y="117"/>
                    </a:cubicBezTo>
                    <a:cubicBezTo>
                      <a:pt x="212" y="47"/>
                      <a:pt x="212" y="47"/>
                      <a:pt x="212" y="47"/>
                    </a:cubicBezTo>
                    <a:cubicBezTo>
                      <a:pt x="215" y="46"/>
                      <a:pt x="218" y="45"/>
                      <a:pt x="222" y="44"/>
                    </a:cubicBezTo>
                    <a:cubicBezTo>
                      <a:pt x="226" y="43"/>
                      <a:pt x="230" y="43"/>
                      <a:pt x="235" y="43"/>
                    </a:cubicBezTo>
                    <a:cubicBezTo>
                      <a:pt x="239" y="43"/>
                      <a:pt x="242" y="43"/>
                      <a:pt x="245" y="45"/>
                    </a:cubicBezTo>
                    <a:cubicBezTo>
                      <a:pt x="248" y="46"/>
                      <a:pt x="250" y="48"/>
                      <a:pt x="252" y="50"/>
                    </a:cubicBezTo>
                    <a:cubicBezTo>
                      <a:pt x="253" y="53"/>
                      <a:pt x="254" y="56"/>
                      <a:pt x="255" y="60"/>
                    </a:cubicBezTo>
                    <a:cubicBezTo>
                      <a:pt x="255" y="64"/>
                      <a:pt x="256" y="69"/>
                      <a:pt x="256" y="75"/>
                    </a:cubicBezTo>
                    <a:cubicBezTo>
                      <a:pt x="256" y="117"/>
                      <a:pt x="256" y="117"/>
                      <a:pt x="256" y="117"/>
                    </a:cubicBezTo>
                    <a:cubicBezTo>
                      <a:pt x="267" y="117"/>
                      <a:pt x="267" y="117"/>
                      <a:pt x="267" y="117"/>
                    </a:cubicBezTo>
                    <a:cubicBezTo>
                      <a:pt x="267" y="75"/>
                      <a:pt x="267" y="75"/>
                      <a:pt x="267" y="75"/>
                    </a:cubicBezTo>
                    <a:cubicBezTo>
                      <a:pt x="267" y="69"/>
                      <a:pt x="266" y="64"/>
                      <a:pt x="266" y="59"/>
                    </a:cubicBezTo>
                    <a:cubicBezTo>
                      <a:pt x="265" y="55"/>
                      <a:pt x="264" y="51"/>
                      <a:pt x="262" y="48"/>
                    </a:cubicBezTo>
                    <a:cubicBezTo>
                      <a:pt x="267" y="46"/>
                      <a:pt x="272" y="45"/>
                      <a:pt x="276" y="44"/>
                    </a:cubicBezTo>
                    <a:cubicBezTo>
                      <a:pt x="280" y="43"/>
                      <a:pt x="284" y="43"/>
                      <a:pt x="289" y="43"/>
                    </a:cubicBezTo>
                    <a:cubicBezTo>
                      <a:pt x="293" y="43"/>
                      <a:pt x="297" y="43"/>
                      <a:pt x="300" y="45"/>
                    </a:cubicBezTo>
                    <a:cubicBezTo>
                      <a:pt x="303" y="46"/>
                      <a:pt x="305" y="48"/>
                      <a:pt x="306" y="50"/>
                    </a:cubicBezTo>
                    <a:cubicBezTo>
                      <a:pt x="308" y="53"/>
                      <a:pt x="309" y="56"/>
                      <a:pt x="309" y="60"/>
                    </a:cubicBezTo>
                    <a:cubicBezTo>
                      <a:pt x="310" y="64"/>
                      <a:pt x="310" y="69"/>
                      <a:pt x="310" y="75"/>
                    </a:cubicBezTo>
                    <a:cubicBezTo>
                      <a:pt x="310" y="117"/>
                      <a:pt x="310" y="117"/>
                      <a:pt x="310" y="117"/>
                    </a:cubicBezTo>
                    <a:cubicBezTo>
                      <a:pt x="321" y="117"/>
                      <a:pt x="321" y="117"/>
                      <a:pt x="321" y="117"/>
                    </a:cubicBezTo>
                    <a:cubicBezTo>
                      <a:pt x="321" y="75"/>
                      <a:pt x="321" y="75"/>
                      <a:pt x="321" y="75"/>
                    </a:cubicBezTo>
                    <a:cubicBezTo>
                      <a:pt x="321" y="68"/>
                      <a:pt x="321" y="63"/>
                      <a:pt x="320" y="58"/>
                    </a:cubicBezTo>
                    <a:cubicBezTo>
                      <a:pt x="319" y="53"/>
                      <a:pt x="317" y="48"/>
                      <a:pt x="315" y="45"/>
                    </a:cubicBezTo>
                    <a:cubicBezTo>
                      <a:pt x="312" y="42"/>
                      <a:pt x="309" y="40"/>
                      <a:pt x="305" y="38"/>
                    </a:cubicBezTo>
                    <a:cubicBezTo>
                      <a:pt x="301" y="36"/>
                      <a:pt x="296" y="36"/>
                      <a:pt x="289" y="36"/>
                    </a:cubicBezTo>
                    <a:cubicBezTo>
                      <a:pt x="287" y="36"/>
                      <a:pt x="284" y="36"/>
                      <a:pt x="282" y="36"/>
                    </a:cubicBezTo>
                    <a:cubicBezTo>
                      <a:pt x="279" y="36"/>
                      <a:pt x="277" y="36"/>
                      <a:pt x="274" y="37"/>
                    </a:cubicBezTo>
                    <a:cubicBezTo>
                      <a:pt x="272" y="37"/>
                      <a:pt x="269" y="38"/>
                      <a:pt x="266" y="39"/>
                    </a:cubicBezTo>
                    <a:cubicBezTo>
                      <a:pt x="263" y="40"/>
                      <a:pt x="260" y="41"/>
                      <a:pt x="257" y="42"/>
                    </a:cubicBezTo>
                    <a:cubicBezTo>
                      <a:pt x="252" y="38"/>
                      <a:pt x="245" y="35"/>
                      <a:pt x="235" y="35"/>
                    </a:cubicBezTo>
                    <a:cubicBezTo>
                      <a:pt x="229" y="35"/>
                      <a:pt x="224" y="36"/>
                      <a:pt x="219" y="37"/>
                    </a:cubicBezTo>
                    <a:cubicBezTo>
                      <a:pt x="214" y="38"/>
                      <a:pt x="208" y="40"/>
                      <a:pt x="201" y="42"/>
                    </a:cubicBezTo>
                    <a:lnTo>
                      <a:pt x="201" y="117"/>
                    </a:lnTo>
                    <a:close/>
                    <a:moveTo>
                      <a:pt x="169" y="107"/>
                    </a:moveTo>
                    <a:cubicBezTo>
                      <a:pt x="166" y="108"/>
                      <a:pt x="162" y="108"/>
                      <a:pt x="157" y="109"/>
                    </a:cubicBezTo>
                    <a:cubicBezTo>
                      <a:pt x="152" y="110"/>
                      <a:pt x="147" y="111"/>
                      <a:pt x="142" y="111"/>
                    </a:cubicBezTo>
                    <a:cubicBezTo>
                      <a:pt x="138" y="111"/>
                      <a:pt x="134" y="109"/>
                      <a:pt x="132" y="106"/>
                    </a:cubicBezTo>
                    <a:cubicBezTo>
                      <a:pt x="129" y="103"/>
                      <a:pt x="128" y="99"/>
                      <a:pt x="128" y="94"/>
                    </a:cubicBezTo>
                    <a:cubicBezTo>
                      <a:pt x="128" y="90"/>
                      <a:pt x="129" y="86"/>
                      <a:pt x="132" y="83"/>
                    </a:cubicBezTo>
                    <a:cubicBezTo>
                      <a:pt x="134" y="80"/>
                      <a:pt x="138" y="78"/>
                      <a:pt x="144" y="78"/>
                    </a:cubicBezTo>
                    <a:cubicBezTo>
                      <a:pt x="169" y="76"/>
                      <a:pt x="169" y="76"/>
                      <a:pt x="169" y="76"/>
                    </a:cubicBezTo>
                    <a:lnTo>
                      <a:pt x="169" y="107"/>
                    </a:lnTo>
                    <a:close/>
                    <a:moveTo>
                      <a:pt x="125" y="45"/>
                    </a:moveTo>
                    <a:cubicBezTo>
                      <a:pt x="130" y="45"/>
                      <a:pt x="134" y="44"/>
                      <a:pt x="139" y="44"/>
                    </a:cubicBezTo>
                    <a:cubicBezTo>
                      <a:pt x="144" y="43"/>
                      <a:pt x="148" y="43"/>
                      <a:pt x="152" y="43"/>
                    </a:cubicBezTo>
                    <a:cubicBezTo>
                      <a:pt x="158" y="43"/>
                      <a:pt x="162" y="45"/>
                      <a:pt x="165" y="47"/>
                    </a:cubicBezTo>
                    <a:cubicBezTo>
                      <a:pt x="168" y="50"/>
                      <a:pt x="169" y="54"/>
                      <a:pt x="169" y="61"/>
                    </a:cubicBezTo>
                    <a:cubicBezTo>
                      <a:pt x="169" y="69"/>
                      <a:pt x="169" y="69"/>
                      <a:pt x="169" y="69"/>
                    </a:cubicBezTo>
                    <a:cubicBezTo>
                      <a:pt x="143" y="71"/>
                      <a:pt x="143" y="71"/>
                      <a:pt x="143" y="71"/>
                    </a:cubicBezTo>
                    <a:cubicBezTo>
                      <a:pt x="134" y="72"/>
                      <a:pt x="127" y="74"/>
                      <a:pt x="123" y="78"/>
                    </a:cubicBezTo>
                    <a:cubicBezTo>
                      <a:pt x="119" y="82"/>
                      <a:pt x="117" y="88"/>
                      <a:pt x="117" y="94"/>
                    </a:cubicBezTo>
                    <a:cubicBezTo>
                      <a:pt x="117" y="102"/>
                      <a:pt x="120" y="108"/>
                      <a:pt x="124" y="112"/>
                    </a:cubicBezTo>
                    <a:cubicBezTo>
                      <a:pt x="128" y="116"/>
                      <a:pt x="134" y="118"/>
                      <a:pt x="142" y="118"/>
                    </a:cubicBezTo>
                    <a:cubicBezTo>
                      <a:pt x="150" y="118"/>
                      <a:pt x="157" y="117"/>
                      <a:pt x="163" y="116"/>
                    </a:cubicBezTo>
                    <a:cubicBezTo>
                      <a:pt x="169" y="114"/>
                      <a:pt x="175" y="113"/>
                      <a:pt x="180" y="111"/>
                    </a:cubicBezTo>
                    <a:cubicBezTo>
                      <a:pt x="180" y="61"/>
                      <a:pt x="180" y="61"/>
                      <a:pt x="180" y="61"/>
                    </a:cubicBezTo>
                    <a:cubicBezTo>
                      <a:pt x="180" y="53"/>
                      <a:pt x="177" y="46"/>
                      <a:pt x="173" y="42"/>
                    </a:cubicBezTo>
                    <a:cubicBezTo>
                      <a:pt x="169" y="38"/>
                      <a:pt x="162" y="36"/>
                      <a:pt x="152" y="36"/>
                    </a:cubicBezTo>
                    <a:cubicBezTo>
                      <a:pt x="147" y="36"/>
                      <a:pt x="143" y="36"/>
                      <a:pt x="138" y="36"/>
                    </a:cubicBezTo>
                    <a:cubicBezTo>
                      <a:pt x="133" y="37"/>
                      <a:pt x="128" y="37"/>
                      <a:pt x="123" y="38"/>
                    </a:cubicBezTo>
                    <a:lnTo>
                      <a:pt x="125" y="45"/>
                    </a:lnTo>
                    <a:close/>
                    <a:moveTo>
                      <a:pt x="81" y="34"/>
                    </a:moveTo>
                    <a:cubicBezTo>
                      <a:pt x="91" y="34"/>
                      <a:pt x="91" y="34"/>
                      <a:pt x="91" y="34"/>
                    </a:cubicBezTo>
                    <a:cubicBezTo>
                      <a:pt x="100" y="0"/>
                      <a:pt x="100" y="0"/>
                      <a:pt x="100" y="0"/>
                    </a:cubicBezTo>
                    <a:cubicBezTo>
                      <a:pt x="89" y="0"/>
                      <a:pt x="89" y="0"/>
                      <a:pt x="89" y="0"/>
                    </a:cubicBezTo>
                    <a:lnTo>
                      <a:pt x="81" y="34"/>
                    </a:lnTo>
                    <a:close/>
                    <a:moveTo>
                      <a:pt x="70" y="117"/>
                    </a:moveTo>
                    <a:cubicBezTo>
                      <a:pt x="70" y="109"/>
                      <a:pt x="70" y="109"/>
                      <a:pt x="70" y="109"/>
                    </a:cubicBezTo>
                    <a:cubicBezTo>
                      <a:pt x="11" y="109"/>
                      <a:pt x="11" y="109"/>
                      <a:pt x="11" y="109"/>
                    </a:cubicBezTo>
                    <a:cubicBezTo>
                      <a:pt x="11" y="5"/>
                      <a:pt x="11" y="5"/>
                      <a:pt x="11" y="5"/>
                    </a:cubicBezTo>
                    <a:cubicBezTo>
                      <a:pt x="0" y="5"/>
                      <a:pt x="0" y="5"/>
                      <a:pt x="0" y="5"/>
                    </a:cubicBezTo>
                    <a:cubicBezTo>
                      <a:pt x="0" y="117"/>
                      <a:pt x="0" y="117"/>
                      <a:pt x="0" y="117"/>
                    </a:cubicBezTo>
                    <a:lnTo>
                      <a:pt x="70" y="117"/>
                    </a:lnTo>
                    <a:close/>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17" name="Freeform 22"/>
              <p:cNvSpPr>
                <a:spLocks noEditPoints="1"/>
              </p:cNvSpPr>
              <p:nvPr userDrawn="1"/>
            </p:nvSpPr>
            <p:spPr bwMode="auto">
              <a:xfrm>
                <a:off x="3825875" y="2044700"/>
                <a:ext cx="1347788" cy="114300"/>
              </a:xfrm>
              <a:custGeom>
                <a:avLst/>
                <a:gdLst/>
                <a:ahLst/>
                <a:cxnLst>
                  <a:cxn ang="0">
                    <a:pos x="1726" y="117"/>
                  </a:cxn>
                  <a:cxn ang="0">
                    <a:pos x="1670" y="43"/>
                  </a:cxn>
                  <a:cxn ang="0">
                    <a:pos x="1648" y="17"/>
                  </a:cxn>
                  <a:cxn ang="0">
                    <a:pos x="1557" y="60"/>
                  </a:cxn>
                  <a:cxn ang="0">
                    <a:pos x="1605" y="92"/>
                  </a:cxn>
                  <a:cxn ang="0">
                    <a:pos x="1547" y="57"/>
                  </a:cxn>
                  <a:cxn ang="0">
                    <a:pos x="1615" y="95"/>
                  </a:cxn>
                  <a:cxn ang="0">
                    <a:pos x="1526" y="5"/>
                  </a:cxn>
                  <a:cxn ang="0">
                    <a:pos x="1448" y="114"/>
                  </a:cxn>
                  <a:cxn ang="0">
                    <a:pos x="1430" y="69"/>
                  </a:cxn>
                  <a:cxn ang="0">
                    <a:pos x="1456" y="44"/>
                  </a:cxn>
                  <a:cxn ang="0">
                    <a:pos x="1411" y="46"/>
                  </a:cxn>
                  <a:cxn ang="0">
                    <a:pos x="1435" y="83"/>
                  </a:cxn>
                  <a:cxn ang="0">
                    <a:pos x="1431" y="111"/>
                  </a:cxn>
                  <a:cxn ang="0">
                    <a:pos x="1369" y="110"/>
                  </a:cxn>
                  <a:cxn ang="0">
                    <a:pos x="1332" y="109"/>
                  </a:cxn>
                  <a:cxn ang="0">
                    <a:pos x="1304" y="5"/>
                  </a:cxn>
                  <a:cxn ang="0">
                    <a:pos x="1261" y="63"/>
                  </a:cxn>
                  <a:cxn ang="0">
                    <a:pos x="1218" y="44"/>
                  </a:cxn>
                  <a:cxn ang="0">
                    <a:pos x="1271" y="60"/>
                  </a:cxn>
                  <a:cxn ang="0">
                    <a:pos x="1218" y="114"/>
                  </a:cxn>
                  <a:cxn ang="0">
                    <a:pos x="1155" y="36"/>
                  </a:cxn>
                  <a:cxn ang="0">
                    <a:pos x="1059" y="43"/>
                  </a:cxn>
                  <a:cxn ang="0">
                    <a:pos x="1060" y="111"/>
                  </a:cxn>
                  <a:cxn ang="0">
                    <a:pos x="1059" y="36"/>
                  </a:cxn>
                  <a:cxn ang="0">
                    <a:pos x="1060" y="118"/>
                  </a:cxn>
                  <a:cxn ang="0">
                    <a:pos x="1007" y="5"/>
                  </a:cxn>
                  <a:cxn ang="0">
                    <a:pos x="930" y="107"/>
                  </a:cxn>
                  <a:cxn ang="0">
                    <a:pos x="930" y="107"/>
                  </a:cxn>
                  <a:cxn ang="0">
                    <a:pos x="885" y="78"/>
                  </a:cxn>
                  <a:cxn ang="0">
                    <a:pos x="913" y="36"/>
                  </a:cxn>
                  <a:cxn ang="0">
                    <a:pos x="842" y="34"/>
                  </a:cxn>
                  <a:cxn ang="0">
                    <a:pos x="768" y="61"/>
                  </a:cxn>
                  <a:cxn ang="0">
                    <a:pos x="801" y="37"/>
                  </a:cxn>
                  <a:cxn ang="0">
                    <a:pos x="778" y="116"/>
                  </a:cxn>
                  <a:cxn ang="0">
                    <a:pos x="643" y="117"/>
                  </a:cxn>
                  <a:cxn ang="0">
                    <a:pos x="700" y="75"/>
                  </a:cxn>
                  <a:cxn ang="0">
                    <a:pos x="564" y="109"/>
                  </a:cxn>
                  <a:cxn ang="0">
                    <a:pos x="588" y="45"/>
                  </a:cxn>
                  <a:cxn ang="0">
                    <a:pos x="564" y="109"/>
                  </a:cxn>
                  <a:cxn ang="0">
                    <a:pos x="559" y="116"/>
                  </a:cxn>
                  <a:cxn ang="0">
                    <a:pos x="592" y="38"/>
                  </a:cxn>
                  <a:cxn ang="0">
                    <a:pos x="522" y="17"/>
                  </a:cxn>
                  <a:cxn ang="0">
                    <a:pos x="467" y="45"/>
                  </a:cxn>
                  <a:cxn ang="0">
                    <a:pos x="496" y="110"/>
                  </a:cxn>
                  <a:cxn ang="0">
                    <a:pos x="477" y="45"/>
                  </a:cxn>
                  <a:cxn ang="0">
                    <a:pos x="440" y="37"/>
                  </a:cxn>
                  <a:cxn ang="0">
                    <a:pos x="353" y="47"/>
                  </a:cxn>
                  <a:cxn ang="0">
                    <a:pos x="392" y="102"/>
                  </a:cxn>
                  <a:cxn ang="0">
                    <a:pos x="354" y="118"/>
                  </a:cxn>
                  <a:cxn ang="0">
                    <a:pos x="392" y="38"/>
                  </a:cxn>
                  <a:cxn ang="0">
                    <a:pos x="212" y="47"/>
                  </a:cxn>
                  <a:cxn ang="0">
                    <a:pos x="267" y="117"/>
                  </a:cxn>
                  <a:cxn ang="0">
                    <a:pos x="309" y="60"/>
                  </a:cxn>
                  <a:cxn ang="0">
                    <a:pos x="289" y="36"/>
                  </a:cxn>
                  <a:cxn ang="0">
                    <a:pos x="201" y="117"/>
                  </a:cxn>
                  <a:cxn ang="0">
                    <a:pos x="169" y="76"/>
                  </a:cxn>
                  <a:cxn ang="0">
                    <a:pos x="143" y="71"/>
                  </a:cxn>
                  <a:cxn ang="0">
                    <a:pos x="173" y="42"/>
                  </a:cxn>
                  <a:cxn ang="0">
                    <a:pos x="89" y="0"/>
                  </a:cxn>
                  <a:cxn ang="0">
                    <a:pos x="70" y="117"/>
                  </a:cxn>
                </a:cxnLst>
                <a:rect l="0" t="0" r="r" b="b"/>
                <a:pathLst>
                  <a:path w="1737" h="148">
                    <a:moveTo>
                      <a:pt x="1670" y="117"/>
                    </a:moveTo>
                    <a:cubicBezTo>
                      <a:pt x="1680" y="117"/>
                      <a:pt x="1680" y="117"/>
                      <a:pt x="1680" y="117"/>
                    </a:cubicBezTo>
                    <a:cubicBezTo>
                      <a:pt x="1680" y="47"/>
                      <a:pt x="1680" y="47"/>
                      <a:pt x="1680" y="47"/>
                    </a:cubicBezTo>
                    <a:cubicBezTo>
                      <a:pt x="1683" y="46"/>
                      <a:pt x="1686" y="45"/>
                      <a:pt x="1690" y="44"/>
                    </a:cubicBezTo>
                    <a:cubicBezTo>
                      <a:pt x="1694" y="43"/>
                      <a:pt x="1698" y="43"/>
                      <a:pt x="1703" y="43"/>
                    </a:cubicBezTo>
                    <a:cubicBezTo>
                      <a:pt x="1712" y="43"/>
                      <a:pt x="1718" y="45"/>
                      <a:pt x="1721" y="51"/>
                    </a:cubicBezTo>
                    <a:cubicBezTo>
                      <a:pt x="1725" y="56"/>
                      <a:pt x="1726" y="64"/>
                      <a:pt x="1726" y="75"/>
                    </a:cubicBezTo>
                    <a:cubicBezTo>
                      <a:pt x="1726" y="117"/>
                      <a:pt x="1726" y="117"/>
                      <a:pt x="1726" y="117"/>
                    </a:cubicBezTo>
                    <a:cubicBezTo>
                      <a:pt x="1737" y="117"/>
                      <a:pt x="1737" y="117"/>
                      <a:pt x="1737" y="117"/>
                    </a:cubicBezTo>
                    <a:cubicBezTo>
                      <a:pt x="1737" y="75"/>
                      <a:pt x="1737" y="75"/>
                      <a:pt x="1737" y="75"/>
                    </a:cubicBezTo>
                    <a:cubicBezTo>
                      <a:pt x="1737" y="69"/>
                      <a:pt x="1737" y="63"/>
                      <a:pt x="1736" y="58"/>
                    </a:cubicBezTo>
                    <a:cubicBezTo>
                      <a:pt x="1734" y="53"/>
                      <a:pt x="1732" y="49"/>
                      <a:pt x="1730" y="45"/>
                    </a:cubicBezTo>
                    <a:cubicBezTo>
                      <a:pt x="1727" y="42"/>
                      <a:pt x="1723" y="40"/>
                      <a:pt x="1719" y="38"/>
                    </a:cubicBezTo>
                    <a:cubicBezTo>
                      <a:pt x="1715" y="37"/>
                      <a:pt x="1709" y="36"/>
                      <a:pt x="1703" y="36"/>
                    </a:cubicBezTo>
                    <a:cubicBezTo>
                      <a:pt x="1697" y="36"/>
                      <a:pt x="1692" y="36"/>
                      <a:pt x="1686" y="37"/>
                    </a:cubicBezTo>
                    <a:cubicBezTo>
                      <a:pt x="1681" y="39"/>
                      <a:pt x="1676" y="40"/>
                      <a:pt x="1670" y="43"/>
                    </a:cubicBezTo>
                    <a:lnTo>
                      <a:pt x="1670" y="117"/>
                    </a:lnTo>
                    <a:close/>
                    <a:moveTo>
                      <a:pt x="1637" y="117"/>
                    </a:moveTo>
                    <a:cubicBezTo>
                      <a:pt x="1648" y="117"/>
                      <a:pt x="1648" y="117"/>
                      <a:pt x="1648" y="117"/>
                    </a:cubicBezTo>
                    <a:cubicBezTo>
                      <a:pt x="1648" y="37"/>
                      <a:pt x="1648" y="37"/>
                      <a:pt x="1648" y="37"/>
                    </a:cubicBezTo>
                    <a:cubicBezTo>
                      <a:pt x="1637" y="37"/>
                      <a:pt x="1637" y="37"/>
                      <a:pt x="1637" y="37"/>
                    </a:cubicBezTo>
                    <a:lnTo>
                      <a:pt x="1637" y="117"/>
                    </a:lnTo>
                    <a:close/>
                    <a:moveTo>
                      <a:pt x="1637" y="17"/>
                    </a:moveTo>
                    <a:cubicBezTo>
                      <a:pt x="1648" y="17"/>
                      <a:pt x="1648" y="17"/>
                      <a:pt x="1648" y="17"/>
                    </a:cubicBezTo>
                    <a:cubicBezTo>
                      <a:pt x="1648" y="6"/>
                      <a:pt x="1648" y="6"/>
                      <a:pt x="1648" y="6"/>
                    </a:cubicBezTo>
                    <a:cubicBezTo>
                      <a:pt x="1637" y="6"/>
                      <a:pt x="1637" y="6"/>
                      <a:pt x="1637" y="6"/>
                    </a:cubicBezTo>
                    <a:lnTo>
                      <a:pt x="1637" y="17"/>
                    </a:lnTo>
                    <a:close/>
                    <a:moveTo>
                      <a:pt x="1568" y="109"/>
                    </a:moveTo>
                    <a:cubicBezTo>
                      <a:pt x="1565" y="108"/>
                      <a:pt x="1562" y="106"/>
                      <a:pt x="1560" y="103"/>
                    </a:cubicBezTo>
                    <a:cubicBezTo>
                      <a:pt x="1558" y="100"/>
                      <a:pt x="1557" y="97"/>
                      <a:pt x="1556" y="92"/>
                    </a:cubicBezTo>
                    <a:cubicBezTo>
                      <a:pt x="1556" y="88"/>
                      <a:pt x="1556" y="82"/>
                      <a:pt x="1556" y="76"/>
                    </a:cubicBezTo>
                    <a:cubicBezTo>
                      <a:pt x="1556" y="69"/>
                      <a:pt x="1556" y="64"/>
                      <a:pt x="1557" y="60"/>
                    </a:cubicBezTo>
                    <a:cubicBezTo>
                      <a:pt x="1558" y="56"/>
                      <a:pt x="1559" y="52"/>
                      <a:pt x="1561" y="50"/>
                    </a:cubicBezTo>
                    <a:cubicBezTo>
                      <a:pt x="1563" y="47"/>
                      <a:pt x="1566" y="46"/>
                      <a:pt x="1569" y="45"/>
                    </a:cubicBezTo>
                    <a:cubicBezTo>
                      <a:pt x="1572" y="44"/>
                      <a:pt x="1576" y="43"/>
                      <a:pt x="1581" y="43"/>
                    </a:cubicBezTo>
                    <a:cubicBezTo>
                      <a:pt x="1585" y="43"/>
                      <a:pt x="1588" y="44"/>
                      <a:pt x="1592" y="45"/>
                    </a:cubicBezTo>
                    <a:cubicBezTo>
                      <a:pt x="1595" y="46"/>
                      <a:pt x="1597" y="48"/>
                      <a:pt x="1599" y="50"/>
                    </a:cubicBezTo>
                    <a:cubicBezTo>
                      <a:pt x="1602" y="53"/>
                      <a:pt x="1603" y="56"/>
                      <a:pt x="1604" y="61"/>
                    </a:cubicBezTo>
                    <a:cubicBezTo>
                      <a:pt x="1605" y="65"/>
                      <a:pt x="1606" y="70"/>
                      <a:pt x="1606" y="76"/>
                    </a:cubicBezTo>
                    <a:cubicBezTo>
                      <a:pt x="1606" y="82"/>
                      <a:pt x="1606" y="87"/>
                      <a:pt x="1605" y="92"/>
                    </a:cubicBezTo>
                    <a:cubicBezTo>
                      <a:pt x="1605" y="96"/>
                      <a:pt x="1603" y="100"/>
                      <a:pt x="1602" y="103"/>
                    </a:cubicBezTo>
                    <a:cubicBezTo>
                      <a:pt x="1600" y="106"/>
                      <a:pt x="1597" y="108"/>
                      <a:pt x="1594" y="109"/>
                    </a:cubicBezTo>
                    <a:cubicBezTo>
                      <a:pt x="1591" y="110"/>
                      <a:pt x="1587" y="111"/>
                      <a:pt x="1581" y="111"/>
                    </a:cubicBezTo>
                    <a:cubicBezTo>
                      <a:pt x="1576" y="111"/>
                      <a:pt x="1571" y="111"/>
                      <a:pt x="1568" y="109"/>
                    </a:cubicBezTo>
                    <a:close/>
                    <a:moveTo>
                      <a:pt x="1581" y="36"/>
                    </a:moveTo>
                    <a:cubicBezTo>
                      <a:pt x="1575" y="36"/>
                      <a:pt x="1569" y="36"/>
                      <a:pt x="1565" y="38"/>
                    </a:cubicBezTo>
                    <a:cubicBezTo>
                      <a:pt x="1560" y="39"/>
                      <a:pt x="1557" y="41"/>
                      <a:pt x="1554" y="45"/>
                    </a:cubicBezTo>
                    <a:cubicBezTo>
                      <a:pt x="1551" y="48"/>
                      <a:pt x="1548" y="52"/>
                      <a:pt x="1547" y="57"/>
                    </a:cubicBezTo>
                    <a:cubicBezTo>
                      <a:pt x="1546" y="62"/>
                      <a:pt x="1545" y="68"/>
                      <a:pt x="1545" y="75"/>
                    </a:cubicBezTo>
                    <a:cubicBezTo>
                      <a:pt x="1545" y="83"/>
                      <a:pt x="1545" y="90"/>
                      <a:pt x="1547" y="95"/>
                    </a:cubicBezTo>
                    <a:cubicBezTo>
                      <a:pt x="1548" y="101"/>
                      <a:pt x="1550" y="105"/>
                      <a:pt x="1552" y="109"/>
                    </a:cubicBezTo>
                    <a:cubicBezTo>
                      <a:pt x="1555" y="112"/>
                      <a:pt x="1559" y="114"/>
                      <a:pt x="1563" y="116"/>
                    </a:cubicBezTo>
                    <a:cubicBezTo>
                      <a:pt x="1568" y="118"/>
                      <a:pt x="1574" y="118"/>
                      <a:pt x="1581" y="118"/>
                    </a:cubicBezTo>
                    <a:cubicBezTo>
                      <a:pt x="1588" y="118"/>
                      <a:pt x="1594" y="117"/>
                      <a:pt x="1599" y="116"/>
                    </a:cubicBezTo>
                    <a:cubicBezTo>
                      <a:pt x="1603" y="114"/>
                      <a:pt x="1607" y="111"/>
                      <a:pt x="1610" y="108"/>
                    </a:cubicBezTo>
                    <a:cubicBezTo>
                      <a:pt x="1612" y="104"/>
                      <a:pt x="1614" y="100"/>
                      <a:pt x="1615" y="95"/>
                    </a:cubicBezTo>
                    <a:cubicBezTo>
                      <a:pt x="1616" y="89"/>
                      <a:pt x="1617" y="83"/>
                      <a:pt x="1617" y="76"/>
                    </a:cubicBezTo>
                    <a:cubicBezTo>
                      <a:pt x="1617" y="69"/>
                      <a:pt x="1616" y="63"/>
                      <a:pt x="1614" y="57"/>
                    </a:cubicBezTo>
                    <a:cubicBezTo>
                      <a:pt x="1613" y="52"/>
                      <a:pt x="1610" y="48"/>
                      <a:pt x="1607" y="45"/>
                    </a:cubicBezTo>
                    <a:cubicBezTo>
                      <a:pt x="1604" y="42"/>
                      <a:pt x="1601" y="40"/>
                      <a:pt x="1596" y="38"/>
                    </a:cubicBezTo>
                    <a:cubicBezTo>
                      <a:pt x="1592" y="37"/>
                      <a:pt x="1587" y="36"/>
                      <a:pt x="1581" y="36"/>
                    </a:cubicBezTo>
                    <a:close/>
                    <a:moveTo>
                      <a:pt x="1516" y="117"/>
                    </a:moveTo>
                    <a:cubicBezTo>
                      <a:pt x="1526" y="117"/>
                      <a:pt x="1526" y="117"/>
                      <a:pt x="1526" y="117"/>
                    </a:cubicBezTo>
                    <a:cubicBezTo>
                      <a:pt x="1526" y="5"/>
                      <a:pt x="1526" y="5"/>
                      <a:pt x="1526" y="5"/>
                    </a:cubicBezTo>
                    <a:cubicBezTo>
                      <a:pt x="1516" y="5"/>
                      <a:pt x="1516" y="5"/>
                      <a:pt x="1516" y="5"/>
                    </a:cubicBezTo>
                    <a:lnTo>
                      <a:pt x="1516" y="117"/>
                    </a:lnTo>
                    <a:close/>
                    <a:moveTo>
                      <a:pt x="1408" y="115"/>
                    </a:moveTo>
                    <a:cubicBezTo>
                      <a:pt x="1412" y="116"/>
                      <a:pt x="1415" y="116"/>
                      <a:pt x="1419" y="117"/>
                    </a:cubicBezTo>
                    <a:cubicBezTo>
                      <a:pt x="1422" y="117"/>
                      <a:pt x="1426" y="117"/>
                      <a:pt x="1429" y="117"/>
                    </a:cubicBezTo>
                    <a:cubicBezTo>
                      <a:pt x="1432" y="117"/>
                      <a:pt x="1432" y="117"/>
                      <a:pt x="1432" y="117"/>
                    </a:cubicBezTo>
                    <a:cubicBezTo>
                      <a:pt x="1434" y="117"/>
                      <a:pt x="1437" y="117"/>
                      <a:pt x="1440" y="117"/>
                    </a:cubicBezTo>
                    <a:cubicBezTo>
                      <a:pt x="1443" y="116"/>
                      <a:pt x="1446" y="115"/>
                      <a:pt x="1448" y="114"/>
                    </a:cubicBezTo>
                    <a:cubicBezTo>
                      <a:pt x="1451" y="113"/>
                      <a:pt x="1453" y="111"/>
                      <a:pt x="1455" y="108"/>
                    </a:cubicBezTo>
                    <a:cubicBezTo>
                      <a:pt x="1457" y="106"/>
                      <a:pt x="1457" y="102"/>
                      <a:pt x="1457" y="98"/>
                    </a:cubicBezTo>
                    <a:cubicBezTo>
                      <a:pt x="1457" y="96"/>
                      <a:pt x="1457" y="94"/>
                      <a:pt x="1456" y="91"/>
                    </a:cubicBezTo>
                    <a:cubicBezTo>
                      <a:pt x="1455" y="88"/>
                      <a:pt x="1453" y="85"/>
                      <a:pt x="1450" y="83"/>
                    </a:cubicBezTo>
                    <a:cubicBezTo>
                      <a:pt x="1449" y="82"/>
                      <a:pt x="1448" y="81"/>
                      <a:pt x="1447" y="80"/>
                    </a:cubicBezTo>
                    <a:cubicBezTo>
                      <a:pt x="1445" y="79"/>
                      <a:pt x="1444" y="78"/>
                      <a:pt x="1442" y="77"/>
                    </a:cubicBezTo>
                    <a:cubicBezTo>
                      <a:pt x="1440" y="76"/>
                      <a:pt x="1438" y="74"/>
                      <a:pt x="1436" y="73"/>
                    </a:cubicBezTo>
                    <a:cubicBezTo>
                      <a:pt x="1434" y="72"/>
                      <a:pt x="1432" y="70"/>
                      <a:pt x="1430" y="69"/>
                    </a:cubicBezTo>
                    <a:cubicBezTo>
                      <a:pt x="1426" y="67"/>
                      <a:pt x="1424" y="64"/>
                      <a:pt x="1422" y="62"/>
                    </a:cubicBezTo>
                    <a:cubicBezTo>
                      <a:pt x="1421" y="61"/>
                      <a:pt x="1420" y="58"/>
                      <a:pt x="1420" y="55"/>
                    </a:cubicBezTo>
                    <a:cubicBezTo>
                      <a:pt x="1420" y="53"/>
                      <a:pt x="1420" y="53"/>
                      <a:pt x="1420" y="53"/>
                    </a:cubicBezTo>
                    <a:cubicBezTo>
                      <a:pt x="1420" y="50"/>
                      <a:pt x="1422" y="48"/>
                      <a:pt x="1424" y="46"/>
                    </a:cubicBezTo>
                    <a:cubicBezTo>
                      <a:pt x="1426" y="44"/>
                      <a:pt x="1430" y="43"/>
                      <a:pt x="1435" y="43"/>
                    </a:cubicBezTo>
                    <a:cubicBezTo>
                      <a:pt x="1438" y="43"/>
                      <a:pt x="1438" y="43"/>
                      <a:pt x="1438" y="43"/>
                    </a:cubicBezTo>
                    <a:cubicBezTo>
                      <a:pt x="1441" y="43"/>
                      <a:pt x="1444" y="43"/>
                      <a:pt x="1446" y="43"/>
                    </a:cubicBezTo>
                    <a:cubicBezTo>
                      <a:pt x="1449" y="43"/>
                      <a:pt x="1452" y="44"/>
                      <a:pt x="1456" y="44"/>
                    </a:cubicBezTo>
                    <a:cubicBezTo>
                      <a:pt x="1457" y="37"/>
                      <a:pt x="1457" y="37"/>
                      <a:pt x="1457" y="37"/>
                    </a:cubicBezTo>
                    <a:cubicBezTo>
                      <a:pt x="1455" y="37"/>
                      <a:pt x="1453" y="37"/>
                      <a:pt x="1451" y="37"/>
                    </a:cubicBezTo>
                    <a:cubicBezTo>
                      <a:pt x="1449" y="36"/>
                      <a:pt x="1448" y="36"/>
                      <a:pt x="1446" y="36"/>
                    </a:cubicBezTo>
                    <a:cubicBezTo>
                      <a:pt x="1444" y="36"/>
                      <a:pt x="1443" y="36"/>
                      <a:pt x="1441" y="36"/>
                    </a:cubicBezTo>
                    <a:cubicBezTo>
                      <a:pt x="1439" y="36"/>
                      <a:pt x="1437" y="36"/>
                      <a:pt x="1435" y="36"/>
                    </a:cubicBezTo>
                    <a:cubicBezTo>
                      <a:pt x="1431" y="36"/>
                      <a:pt x="1427" y="36"/>
                      <a:pt x="1424" y="37"/>
                    </a:cubicBezTo>
                    <a:cubicBezTo>
                      <a:pt x="1421" y="38"/>
                      <a:pt x="1418" y="39"/>
                      <a:pt x="1416" y="41"/>
                    </a:cubicBezTo>
                    <a:cubicBezTo>
                      <a:pt x="1414" y="42"/>
                      <a:pt x="1412" y="44"/>
                      <a:pt x="1411" y="46"/>
                    </a:cubicBezTo>
                    <a:cubicBezTo>
                      <a:pt x="1410" y="48"/>
                      <a:pt x="1410" y="50"/>
                      <a:pt x="1410" y="52"/>
                    </a:cubicBezTo>
                    <a:cubicBezTo>
                      <a:pt x="1410" y="55"/>
                      <a:pt x="1410" y="55"/>
                      <a:pt x="1410" y="55"/>
                    </a:cubicBezTo>
                    <a:cubicBezTo>
                      <a:pt x="1410" y="57"/>
                      <a:pt x="1410" y="59"/>
                      <a:pt x="1410" y="61"/>
                    </a:cubicBezTo>
                    <a:cubicBezTo>
                      <a:pt x="1411" y="63"/>
                      <a:pt x="1412" y="65"/>
                      <a:pt x="1413" y="66"/>
                    </a:cubicBezTo>
                    <a:cubicBezTo>
                      <a:pt x="1414" y="68"/>
                      <a:pt x="1416" y="70"/>
                      <a:pt x="1417" y="71"/>
                    </a:cubicBezTo>
                    <a:cubicBezTo>
                      <a:pt x="1419" y="72"/>
                      <a:pt x="1421" y="74"/>
                      <a:pt x="1424" y="75"/>
                    </a:cubicBezTo>
                    <a:cubicBezTo>
                      <a:pt x="1425" y="77"/>
                      <a:pt x="1427" y="78"/>
                      <a:pt x="1429" y="79"/>
                    </a:cubicBezTo>
                    <a:cubicBezTo>
                      <a:pt x="1431" y="80"/>
                      <a:pt x="1433" y="82"/>
                      <a:pt x="1435" y="83"/>
                    </a:cubicBezTo>
                    <a:cubicBezTo>
                      <a:pt x="1436" y="84"/>
                      <a:pt x="1438" y="85"/>
                      <a:pt x="1439" y="86"/>
                    </a:cubicBezTo>
                    <a:cubicBezTo>
                      <a:pt x="1440" y="87"/>
                      <a:pt x="1441" y="88"/>
                      <a:pt x="1442" y="89"/>
                    </a:cubicBezTo>
                    <a:cubicBezTo>
                      <a:pt x="1444" y="90"/>
                      <a:pt x="1445" y="92"/>
                      <a:pt x="1446" y="94"/>
                    </a:cubicBezTo>
                    <a:cubicBezTo>
                      <a:pt x="1446" y="95"/>
                      <a:pt x="1447" y="97"/>
                      <a:pt x="1447" y="99"/>
                    </a:cubicBezTo>
                    <a:cubicBezTo>
                      <a:pt x="1447" y="101"/>
                      <a:pt x="1446" y="103"/>
                      <a:pt x="1446" y="105"/>
                    </a:cubicBezTo>
                    <a:cubicBezTo>
                      <a:pt x="1445" y="107"/>
                      <a:pt x="1444" y="108"/>
                      <a:pt x="1442" y="109"/>
                    </a:cubicBezTo>
                    <a:cubicBezTo>
                      <a:pt x="1441" y="109"/>
                      <a:pt x="1439" y="110"/>
                      <a:pt x="1437" y="110"/>
                    </a:cubicBezTo>
                    <a:cubicBezTo>
                      <a:pt x="1435" y="111"/>
                      <a:pt x="1433" y="111"/>
                      <a:pt x="1431" y="111"/>
                    </a:cubicBezTo>
                    <a:cubicBezTo>
                      <a:pt x="1428" y="111"/>
                      <a:pt x="1428" y="111"/>
                      <a:pt x="1428" y="111"/>
                    </a:cubicBezTo>
                    <a:cubicBezTo>
                      <a:pt x="1426" y="111"/>
                      <a:pt x="1423" y="111"/>
                      <a:pt x="1420" y="110"/>
                    </a:cubicBezTo>
                    <a:cubicBezTo>
                      <a:pt x="1417" y="110"/>
                      <a:pt x="1413" y="109"/>
                      <a:pt x="1409" y="109"/>
                    </a:cubicBezTo>
                    <a:lnTo>
                      <a:pt x="1408" y="115"/>
                    </a:lnTo>
                    <a:close/>
                    <a:moveTo>
                      <a:pt x="1390" y="37"/>
                    </a:moveTo>
                    <a:cubicBezTo>
                      <a:pt x="1379" y="37"/>
                      <a:pt x="1379" y="37"/>
                      <a:pt x="1379" y="37"/>
                    </a:cubicBezTo>
                    <a:cubicBezTo>
                      <a:pt x="1379" y="107"/>
                      <a:pt x="1379" y="107"/>
                      <a:pt x="1379" y="107"/>
                    </a:cubicBezTo>
                    <a:cubicBezTo>
                      <a:pt x="1376" y="108"/>
                      <a:pt x="1373" y="109"/>
                      <a:pt x="1369" y="110"/>
                    </a:cubicBezTo>
                    <a:cubicBezTo>
                      <a:pt x="1366" y="111"/>
                      <a:pt x="1362" y="111"/>
                      <a:pt x="1359" y="111"/>
                    </a:cubicBezTo>
                    <a:cubicBezTo>
                      <a:pt x="1350" y="111"/>
                      <a:pt x="1344" y="109"/>
                      <a:pt x="1340" y="104"/>
                    </a:cubicBezTo>
                    <a:cubicBezTo>
                      <a:pt x="1337" y="99"/>
                      <a:pt x="1335" y="90"/>
                      <a:pt x="1335" y="79"/>
                    </a:cubicBezTo>
                    <a:cubicBezTo>
                      <a:pt x="1335" y="38"/>
                      <a:pt x="1335" y="38"/>
                      <a:pt x="1335" y="38"/>
                    </a:cubicBezTo>
                    <a:cubicBezTo>
                      <a:pt x="1324" y="38"/>
                      <a:pt x="1324" y="38"/>
                      <a:pt x="1324" y="38"/>
                    </a:cubicBezTo>
                    <a:cubicBezTo>
                      <a:pt x="1324" y="79"/>
                      <a:pt x="1324" y="79"/>
                      <a:pt x="1324" y="79"/>
                    </a:cubicBezTo>
                    <a:cubicBezTo>
                      <a:pt x="1324" y="86"/>
                      <a:pt x="1325" y="92"/>
                      <a:pt x="1326" y="97"/>
                    </a:cubicBezTo>
                    <a:cubicBezTo>
                      <a:pt x="1327" y="102"/>
                      <a:pt x="1329" y="106"/>
                      <a:pt x="1332" y="109"/>
                    </a:cubicBezTo>
                    <a:cubicBezTo>
                      <a:pt x="1335" y="112"/>
                      <a:pt x="1338" y="114"/>
                      <a:pt x="1343" y="116"/>
                    </a:cubicBezTo>
                    <a:cubicBezTo>
                      <a:pt x="1347" y="118"/>
                      <a:pt x="1352" y="118"/>
                      <a:pt x="1359" y="118"/>
                    </a:cubicBezTo>
                    <a:cubicBezTo>
                      <a:pt x="1363" y="118"/>
                      <a:pt x="1368" y="118"/>
                      <a:pt x="1373" y="117"/>
                    </a:cubicBezTo>
                    <a:cubicBezTo>
                      <a:pt x="1378" y="116"/>
                      <a:pt x="1384" y="114"/>
                      <a:pt x="1390" y="112"/>
                    </a:cubicBezTo>
                    <a:lnTo>
                      <a:pt x="1390" y="37"/>
                    </a:lnTo>
                    <a:close/>
                    <a:moveTo>
                      <a:pt x="1293" y="117"/>
                    </a:moveTo>
                    <a:cubicBezTo>
                      <a:pt x="1304" y="117"/>
                      <a:pt x="1304" y="117"/>
                      <a:pt x="1304" y="117"/>
                    </a:cubicBezTo>
                    <a:cubicBezTo>
                      <a:pt x="1304" y="5"/>
                      <a:pt x="1304" y="5"/>
                      <a:pt x="1304" y="5"/>
                    </a:cubicBezTo>
                    <a:cubicBezTo>
                      <a:pt x="1293" y="5"/>
                      <a:pt x="1293" y="5"/>
                      <a:pt x="1293" y="5"/>
                    </a:cubicBezTo>
                    <a:lnTo>
                      <a:pt x="1293" y="117"/>
                    </a:lnTo>
                    <a:close/>
                    <a:moveTo>
                      <a:pt x="1218" y="44"/>
                    </a:moveTo>
                    <a:cubicBezTo>
                      <a:pt x="1220" y="43"/>
                      <a:pt x="1222" y="43"/>
                      <a:pt x="1225" y="43"/>
                    </a:cubicBezTo>
                    <a:cubicBezTo>
                      <a:pt x="1228" y="43"/>
                      <a:pt x="1230" y="43"/>
                      <a:pt x="1232" y="43"/>
                    </a:cubicBezTo>
                    <a:cubicBezTo>
                      <a:pt x="1238" y="43"/>
                      <a:pt x="1243" y="44"/>
                      <a:pt x="1247" y="45"/>
                    </a:cubicBezTo>
                    <a:cubicBezTo>
                      <a:pt x="1251" y="47"/>
                      <a:pt x="1254" y="49"/>
                      <a:pt x="1257" y="52"/>
                    </a:cubicBezTo>
                    <a:cubicBezTo>
                      <a:pt x="1259" y="55"/>
                      <a:pt x="1260" y="58"/>
                      <a:pt x="1261" y="63"/>
                    </a:cubicBezTo>
                    <a:cubicBezTo>
                      <a:pt x="1262" y="67"/>
                      <a:pt x="1262" y="72"/>
                      <a:pt x="1262" y="78"/>
                    </a:cubicBezTo>
                    <a:cubicBezTo>
                      <a:pt x="1262" y="84"/>
                      <a:pt x="1262" y="89"/>
                      <a:pt x="1261" y="93"/>
                    </a:cubicBezTo>
                    <a:cubicBezTo>
                      <a:pt x="1260" y="97"/>
                      <a:pt x="1259" y="101"/>
                      <a:pt x="1258" y="103"/>
                    </a:cubicBezTo>
                    <a:cubicBezTo>
                      <a:pt x="1256" y="106"/>
                      <a:pt x="1254" y="108"/>
                      <a:pt x="1251" y="109"/>
                    </a:cubicBezTo>
                    <a:cubicBezTo>
                      <a:pt x="1249" y="110"/>
                      <a:pt x="1245" y="111"/>
                      <a:pt x="1241" y="111"/>
                    </a:cubicBezTo>
                    <a:cubicBezTo>
                      <a:pt x="1236" y="111"/>
                      <a:pt x="1232" y="111"/>
                      <a:pt x="1228" y="110"/>
                    </a:cubicBezTo>
                    <a:cubicBezTo>
                      <a:pt x="1224" y="109"/>
                      <a:pt x="1220" y="108"/>
                      <a:pt x="1218" y="107"/>
                    </a:cubicBezTo>
                    <a:lnTo>
                      <a:pt x="1218" y="44"/>
                    </a:lnTo>
                    <a:close/>
                    <a:moveTo>
                      <a:pt x="1218" y="114"/>
                    </a:moveTo>
                    <a:cubicBezTo>
                      <a:pt x="1220" y="115"/>
                      <a:pt x="1224" y="116"/>
                      <a:pt x="1228" y="117"/>
                    </a:cubicBezTo>
                    <a:cubicBezTo>
                      <a:pt x="1232" y="118"/>
                      <a:pt x="1236" y="118"/>
                      <a:pt x="1241" y="118"/>
                    </a:cubicBezTo>
                    <a:cubicBezTo>
                      <a:pt x="1247" y="118"/>
                      <a:pt x="1252" y="117"/>
                      <a:pt x="1256" y="116"/>
                    </a:cubicBezTo>
                    <a:cubicBezTo>
                      <a:pt x="1260" y="114"/>
                      <a:pt x="1264" y="112"/>
                      <a:pt x="1266" y="108"/>
                    </a:cubicBezTo>
                    <a:cubicBezTo>
                      <a:pt x="1268" y="105"/>
                      <a:pt x="1270" y="101"/>
                      <a:pt x="1271" y="96"/>
                    </a:cubicBezTo>
                    <a:cubicBezTo>
                      <a:pt x="1272" y="91"/>
                      <a:pt x="1273" y="85"/>
                      <a:pt x="1273" y="79"/>
                    </a:cubicBezTo>
                    <a:cubicBezTo>
                      <a:pt x="1273" y="71"/>
                      <a:pt x="1272" y="65"/>
                      <a:pt x="1271" y="60"/>
                    </a:cubicBezTo>
                    <a:cubicBezTo>
                      <a:pt x="1270" y="54"/>
                      <a:pt x="1267" y="50"/>
                      <a:pt x="1264" y="46"/>
                    </a:cubicBezTo>
                    <a:cubicBezTo>
                      <a:pt x="1261" y="43"/>
                      <a:pt x="1257" y="40"/>
                      <a:pt x="1251" y="38"/>
                    </a:cubicBezTo>
                    <a:cubicBezTo>
                      <a:pt x="1246" y="37"/>
                      <a:pt x="1239" y="36"/>
                      <a:pt x="1230" y="36"/>
                    </a:cubicBezTo>
                    <a:cubicBezTo>
                      <a:pt x="1226" y="36"/>
                      <a:pt x="1222" y="36"/>
                      <a:pt x="1219" y="36"/>
                    </a:cubicBezTo>
                    <a:cubicBezTo>
                      <a:pt x="1215" y="36"/>
                      <a:pt x="1211" y="37"/>
                      <a:pt x="1207" y="37"/>
                    </a:cubicBezTo>
                    <a:cubicBezTo>
                      <a:pt x="1207" y="148"/>
                      <a:pt x="1207" y="148"/>
                      <a:pt x="1207" y="148"/>
                    </a:cubicBezTo>
                    <a:cubicBezTo>
                      <a:pt x="1218" y="148"/>
                      <a:pt x="1218" y="148"/>
                      <a:pt x="1218" y="148"/>
                    </a:cubicBezTo>
                    <a:lnTo>
                      <a:pt x="1218" y="114"/>
                    </a:lnTo>
                    <a:close/>
                    <a:moveTo>
                      <a:pt x="1113" y="117"/>
                    </a:moveTo>
                    <a:cubicBezTo>
                      <a:pt x="1124" y="117"/>
                      <a:pt x="1124" y="117"/>
                      <a:pt x="1124" y="117"/>
                    </a:cubicBezTo>
                    <a:cubicBezTo>
                      <a:pt x="1124" y="47"/>
                      <a:pt x="1124" y="47"/>
                      <a:pt x="1124" y="47"/>
                    </a:cubicBezTo>
                    <a:cubicBezTo>
                      <a:pt x="1126" y="46"/>
                      <a:pt x="1130" y="45"/>
                      <a:pt x="1134" y="44"/>
                    </a:cubicBezTo>
                    <a:cubicBezTo>
                      <a:pt x="1138" y="43"/>
                      <a:pt x="1142" y="43"/>
                      <a:pt x="1146" y="43"/>
                    </a:cubicBezTo>
                    <a:cubicBezTo>
                      <a:pt x="1147" y="43"/>
                      <a:pt x="1149" y="43"/>
                      <a:pt x="1150" y="43"/>
                    </a:cubicBezTo>
                    <a:cubicBezTo>
                      <a:pt x="1151" y="43"/>
                      <a:pt x="1152" y="43"/>
                      <a:pt x="1154" y="44"/>
                    </a:cubicBezTo>
                    <a:cubicBezTo>
                      <a:pt x="1155" y="36"/>
                      <a:pt x="1155" y="36"/>
                      <a:pt x="1155" y="36"/>
                    </a:cubicBezTo>
                    <a:cubicBezTo>
                      <a:pt x="1153" y="36"/>
                      <a:pt x="1151" y="36"/>
                      <a:pt x="1150" y="36"/>
                    </a:cubicBezTo>
                    <a:cubicBezTo>
                      <a:pt x="1149" y="36"/>
                      <a:pt x="1148" y="36"/>
                      <a:pt x="1146" y="36"/>
                    </a:cubicBezTo>
                    <a:cubicBezTo>
                      <a:pt x="1141" y="36"/>
                      <a:pt x="1135" y="36"/>
                      <a:pt x="1130" y="38"/>
                    </a:cubicBezTo>
                    <a:cubicBezTo>
                      <a:pt x="1125" y="39"/>
                      <a:pt x="1119" y="40"/>
                      <a:pt x="1113" y="43"/>
                    </a:cubicBezTo>
                    <a:lnTo>
                      <a:pt x="1113" y="117"/>
                    </a:lnTo>
                    <a:close/>
                    <a:moveTo>
                      <a:pt x="1036" y="73"/>
                    </a:moveTo>
                    <a:cubicBezTo>
                      <a:pt x="1036" y="62"/>
                      <a:pt x="1038" y="54"/>
                      <a:pt x="1042" y="50"/>
                    </a:cubicBezTo>
                    <a:cubicBezTo>
                      <a:pt x="1046" y="45"/>
                      <a:pt x="1051" y="43"/>
                      <a:pt x="1059" y="43"/>
                    </a:cubicBezTo>
                    <a:cubicBezTo>
                      <a:pt x="1068" y="43"/>
                      <a:pt x="1074" y="45"/>
                      <a:pt x="1077" y="50"/>
                    </a:cubicBezTo>
                    <a:cubicBezTo>
                      <a:pt x="1081" y="54"/>
                      <a:pt x="1083" y="62"/>
                      <a:pt x="1083" y="73"/>
                    </a:cubicBezTo>
                    <a:lnTo>
                      <a:pt x="1036" y="73"/>
                    </a:lnTo>
                    <a:close/>
                    <a:moveTo>
                      <a:pt x="1090" y="107"/>
                    </a:moveTo>
                    <a:cubicBezTo>
                      <a:pt x="1088" y="107"/>
                      <a:pt x="1086" y="107"/>
                      <a:pt x="1084" y="108"/>
                    </a:cubicBezTo>
                    <a:cubicBezTo>
                      <a:pt x="1081" y="108"/>
                      <a:pt x="1079" y="109"/>
                      <a:pt x="1076" y="109"/>
                    </a:cubicBezTo>
                    <a:cubicBezTo>
                      <a:pt x="1073" y="110"/>
                      <a:pt x="1071" y="110"/>
                      <a:pt x="1068" y="111"/>
                    </a:cubicBezTo>
                    <a:cubicBezTo>
                      <a:pt x="1065" y="111"/>
                      <a:pt x="1063" y="111"/>
                      <a:pt x="1060" y="111"/>
                    </a:cubicBezTo>
                    <a:cubicBezTo>
                      <a:pt x="1056" y="111"/>
                      <a:pt x="1052" y="110"/>
                      <a:pt x="1049" y="109"/>
                    </a:cubicBezTo>
                    <a:cubicBezTo>
                      <a:pt x="1046" y="108"/>
                      <a:pt x="1043" y="106"/>
                      <a:pt x="1041" y="103"/>
                    </a:cubicBezTo>
                    <a:cubicBezTo>
                      <a:pt x="1040" y="101"/>
                      <a:pt x="1038" y="97"/>
                      <a:pt x="1037" y="93"/>
                    </a:cubicBezTo>
                    <a:cubicBezTo>
                      <a:pt x="1037" y="90"/>
                      <a:pt x="1036" y="85"/>
                      <a:pt x="1036" y="80"/>
                    </a:cubicBezTo>
                    <a:cubicBezTo>
                      <a:pt x="1094" y="80"/>
                      <a:pt x="1094" y="80"/>
                      <a:pt x="1094" y="80"/>
                    </a:cubicBezTo>
                    <a:cubicBezTo>
                      <a:pt x="1094" y="74"/>
                      <a:pt x="1094" y="74"/>
                      <a:pt x="1094" y="74"/>
                    </a:cubicBezTo>
                    <a:cubicBezTo>
                      <a:pt x="1094" y="60"/>
                      <a:pt x="1091" y="51"/>
                      <a:pt x="1085" y="45"/>
                    </a:cubicBezTo>
                    <a:cubicBezTo>
                      <a:pt x="1079" y="39"/>
                      <a:pt x="1071" y="36"/>
                      <a:pt x="1059" y="36"/>
                    </a:cubicBezTo>
                    <a:cubicBezTo>
                      <a:pt x="1054" y="36"/>
                      <a:pt x="1049" y="36"/>
                      <a:pt x="1045" y="38"/>
                    </a:cubicBezTo>
                    <a:cubicBezTo>
                      <a:pt x="1041" y="39"/>
                      <a:pt x="1037" y="41"/>
                      <a:pt x="1034" y="45"/>
                    </a:cubicBezTo>
                    <a:cubicBezTo>
                      <a:pt x="1031" y="48"/>
                      <a:pt x="1029" y="52"/>
                      <a:pt x="1028" y="57"/>
                    </a:cubicBezTo>
                    <a:cubicBezTo>
                      <a:pt x="1026" y="63"/>
                      <a:pt x="1025" y="69"/>
                      <a:pt x="1025" y="77"/>
                    </a:cubicBezTo>
                    <a:cubicBezTo>
                      <a:pt x="1025" y="83"/>
                      <a:pt x="1026" y="89"/>
                      <a:pt x="1027" y="94"/>
                    </a:cubicBezTo>
                    <a:cubicBezTo>
                      <a:pt x="1028" y="99"/>
                      <a:pt x="1030" y="104"/>
                      <a:pt x="1032" y="107"/>
                    </a:cubicBezTo>
                    <a:cubicBezTo>
                      <a:pt x="1035" y="111"/>
                      <a:pt x="1039" y="113"/>
                      <a:pt x="1043" y="115"/>
                    </a:cubicBezTo>
                    <a:cubicBezTo>
                      <a:pt x="1048" y="117"/>
                      <a:pt x="1053" y="118"/>
                      <a:pt x="1060" y="118"/>
                    </a:cubicBezTo>
                    <a:cubicBezTo>
                      <a:pt x="1063" y="118"/>
                      <a:pt x="1066" y="118"/>
                      <a:pt x="1068" y="118"/>
                    </a:cubicBezTo>
                    <a:cubicBezTo>
                      <a:pt x="1071" y="117"/>
                      <a:pt x="1074" y="117"/>
                      <a:pt x="1077" y="116"/>
                    </a:cubicBezTo>
                    <a:cubicBezTo>
                      <a:pt x="1080" y="116"/>
                      <a:pt x="1082" y="116"/>
                      <a:pt x="1085" y="115"/>
                    </a:cubicBezTo>
                    <a:cubicBezTo>
                      <a:pt x="1087" y="115"/>
                      <a:pt x="1089" y="114"/>
                      <a:pt x="1091" y="114"/>
                    </a:cubicBezTo>
                    <a:lnTo>
                      <a:pt x="1090" y="107"/>
                    </a:lnTo>
                    <a:close/>
                    <a:moveTo>
                      <a:pt x="996" y="117"/>
                    </a:moveTo>
                    <a:cubicBezTo>
                      <a:pt x="1007" y="117"/>
                      <a:pt x="1007" y="117"/>
                      <a:pt x="1007" y="117"/>
                    </a:cubicBezTo>
                    <a:cubicBezTo>
                      <a:pt x="1007" y="5"/>
                      <a:pt x="1007" y="5"/>
                      <a:pt x="1007" y="5"/>
                    </a:cubicBezTo>
                    <a:cubicBezTo>
                      <a:pt x="996" y="5"/>
                      <a:pt x="996" y="5"/>
                      <a:pt x="996" y="5"/>
                    </a:cubicBezTo>
                    <a:lnTo>
                      <a:pt x="996" y="117"/>
                    </a:lnTo>
                    <a:close/>
                    <a:moveTo>
                      <a:pt x="963" y="117"/>
                    </a:moveTo>
                    <a:cubicBezTo>
                      <a:pt x="974" y="117"/>
                      <a:pt x="974" y="117"/>
                      <a:pt x="974" y="117"/>
                    </a:cubicBezTo>
                    <a:cubicBezTo>
                      <a:pt x="974" y="5"/>
                      <a:pt x="974" y="5"/>
                      <a:pt x="974" y="5"/>
                    </a:cubicBezTo>
                    <a:cubicBezTo>
                      <a:pt x="963" y="5"/>
                      <a:pt x="963" y="5"/>
                      <a:pt x="963" y="5"/>
                    </a:cubicBezTo>
                    <a:lnTo>
                      <a:pt x="963" y="117"/>
                    </a:lnTo>
                    <a:close/>
                    <a:moveTo>
                      <a:pt x="930" y="107"/>
                    </a:moveTo>
                    <a:cubicBezTo>
                      <a:pt x="927" y="108"/>
                      <a:pt x="923" y="108"/>
                      <a:pt x="918" y="109"/>
                    </a:cubicBezTo>
                    <a:cubicBezTo>
                      <a:pt x="913" y="110"/>
                      <a:pt x="908" y="111"/>
                      <a:pt x="903" y="111"/>
                    </a:cubicBezTo>
                    <a:cubicBezTo>
                      <a:pt x="899" y="111"/>
                      <a:pt x="895" y="109"/>
                      <a:pt x="893" y="106"/>
                    </a:cubicBezTo>
                    <a:cubicBezTo>
                      <a:pt x="890" y="103"/>
                      <a:pt x="889" y="99"/>
                      <a:pt x="889" y="94"/>
                    </a:cubicBezTo>
                    <a:cubicBezTo>
                      <a:pt x="889" y="90"/>
                      <a:pt x="890" y="86"/>
                      <a:pt x="893" y="83"/>
                    </a:cubicBezTo>
                    <a:cubicBezTo>
                      <a:pt x="895" y="80"/>
                      <a:pt x="899" y="78"/>
                      <a:pt x="906" y="78"/>
                    </a:cubicBezTo>
                    <a:cubicBezTo>
                      <a:pt x="930" y="76"/>
                      <a:pt x="930" y="76"/>
                      <a:pt x="930" y="76"/>
                    </a:cubicBezTo>
                    <a:lnTo>
                      <a:pt x="930" y="107"/>
                    </a:lnTo>
                    <a:close/>
                    <a:moveTo>
                      <a:pt x="886" y="45"/>
                    </a:moveTo>
                    <a:cubicBezTo>
                      <a:pt x="891" y="45"/>
                      <a:pt x="896" y="44"/>
                      <a:pt x="900" y="44"/>
                    </a:cubicBezTo>
                    <a:cubicBezTo>
                      <a:pt x="905" y="43"/>
                      <a:pt x="909" y="43"/>
                      <a:pt x="913" y="43"/>
                    </a:cubicBezTo>
                    <a:cubicBezTo>
                      <a:pt x="919" y="43"/>
                      <a:pt x="923" y="45"/>
                      <a:pt x="926" y="47"/>
                    </a:cubicBezTo>
                    <a:cubicBezTo>
                      <a:pt x="929" y="50"/>
                      <a:pt x="930" y="54"/>
                      <a:pt x="930" y="61"/>
                    </a:cubicBezTo>
                    <a:cubicBezTo>
                      <a:pt x="930" y="69"/>
                      <a:pt x="930" y="69"/>
                      <a:pt x="930" y="69"/>
                    </a:cubicBezTo>
                    <a:cubicBezTo>
                      <a:pt x="905" y="71"/>
                      <a:pt x="905" y="71"/>
                      <a:pt x="905" y="71"/>
                    </a:cubicBezTo>
                    <a:cubicBezTo>
                      <a:pt x="895" y="72"/>
                      <a:pt x="889" y="74"/>
                      <a:pt x="885" y="78"/>
                    </a:cubicBezTo>
                    <a:cubicBezTo>
                      <a:pt x="881" y="82"/>
                      <a:pt x="879" y="88"/>
                      <a:pt x="879" y="94"/>
                    </a:cubicBezTo>
                    <a:cubicBezTo>
                      <a:pt x="879" y="102"/>
                      <a:pt x="881" y="108"/>
                      <a:pt x="885" y="112"/>
                    </a:cubicBezTo>
                    <a:cubicBezTo>
                      <a:pt x="889" y="116"/>
                      <a:pt x="895" y="118"/>
                      <a:pt x="903" y="118"/>
                    </a:cubicBezTo>
                    <a:cubicBezTo>
                      <a:pt x="911" y="118"/>
                      <a:pt x="918" y="117"/>
                      <a:pt x="924" y="116"/>
                    </a:cubicBezTo>
                    <a:cubicBezTo>
                      <a:pt x="931" y="114"/>
                      <a:pt x="936" y="113"/>
                      <a:pt x="941" y="111"/>
                    </a:cubicBezTo>
                    <a:cubicBezTo>
                      <a:pt x="941" y="61"/>
                      <a:pt x="941" y="61"/>
                      <a:pt x="941" y="61"/>
                    </a:cubicBezTo>
                    <a:cubicBezTo>
                      <a:pt x="941" y="53"/>
                      <a:pt x="939" y="46"/>
                      <a:pt x="934" y="42"/>
                    </a:cubicBezTo>
                    <a:cubicBezTo>
                      <a:pt x="930" y="38"/>
                      <a:pt x="923" y="36"/>
                      <a:pt x="913" y="36"/>
                    </a:cubicBezTo>
                    <a:cubicBezTo>
                      <a:pt x="909" y="36"/>
                      <a:pt x="904" y="36"/>
                      <a:pt x="899" y="36"/>
                    </a:cubicBezTo>
                    <a:cubicBezTo>
                      <a:pt x="894" y="37"/>
                      <a:pt x="889" y="37"/>
                      <a:pt x="884" y="38"/>
                    </a:cubicBezTo>
                    <a:lnTo>
                      <a:pt x="886" y="45"/>
                    </a:lnTo>
                    <a:close/>
                    <a:moveTo>
                      <a:pt x="842" y="34"/>
                    </a:moveTo>
                    <a:cubicBezTo>
                      <a:pt x="852" y="34"/>
                      <a:pt x="852" y="34"/>
                      <a:pt x="852" y="34"/>
                    </a:cubicBezTo>
                    <a:cubicBezTo>
                      <a:pt x="861" y="0"/>
                      <a:pt x="861" y="0"/>
                      <a:pt x="861" y="0"/>
                    </a:cubicBezTo>
                    <a:cubicBezTo>
                      <a:pt x="850" y="0"/>
                      <a:pt x="850" y="0"/>
                      <a:pt x="850" y="0"/>
                    </a:cubicBezTo>
                    <a:lnTo>
                      <a:pt x="842" y="34"/>
                    </a:lnTo>
                    <a:close/>
                    <a:moveTo>
                      <a:pt x="811" y="110"/>
                    </a:moveTo>
                    <a:cubicBezTo>
                      <a:pt x="809" y="110"/>
                      <a:pt x="807" y="111"/>
                      <a:pt x="804" y="111"/>
                    </a:cubicBezTo>
                    <a:cubicBezTo>
                      <a:pt x="802" y="111"/>
                      <a:pt x="799" y="111"/>
                      <a:pt x="798" y="111"/>
                    </a:cubicBezTo>
                    <a:cubicBezTo>
                      <a:pt x="791" y="111"/>
                      <a:pt x="786" y="110"/>
                      <a:pt x="782" y="109"/>
                    </a:cubicBezTo>
                    <a:cubicBezTo>
                      <a:pt x="778" y="107"/>
                      <a:pt x="775" y="105"/>
                      <a:pt x="773" y="102"/>
                    </a:cubicBezTo>
                    <a:cubicBezTo>
                      <a:pt x="771" y="99"/>
                      <a:pt x="769" y="95"/>
                      <a:pt x="768" y="91"/>
                    </a:cubicBezTo>
                    <a:cubicBezTo>
                      <a:pt x="768" y="87"/>
                      <a:pt x="767" y="81"/>
                      <a:pt x="767" y="76"/>
                    </a:cubicBezTo>
                    <a:cubicBezTo>
                      <a:pt x="767" y="70"/>
                      <a:pt x="768" y="65"/>
                      <a:pt x="768" y="61"/>
                    </a:cubicBezTo>
                    <a:cubicBezTo>
                      <a:pt x="769" y="57"/>
                      <a:pt x="770" y="53"/>
                      <a:pt x="771" y="51"/>
                    </a:cubicBezTo>
                    <a:cubicBezTo>
                      <a:pt x="773" y="48"/>
                      <a:pt x="775" y="46"/>
                      <a:pt x="778" y="45"/>
                    </a:cubicBezTo>
                    <a:cubicBezTo>
                      <a:pt x="781" y="44"/>
                      <a:pt x="784" y="43"/>
                      <a:pt x="789" y="43"/>
                    </a:cubicBezTo>
                    <a:cubicBezTo>
                      <a:pt x="793" y="43"/>
                      <a:pt x="797" y="43"/>
                      <a:pt x="801" y="44"/>
                    </a:cubicBezTo>
                    <a:cubicBezTo>
                      <a:pt x="805" y="45"/>
                      <a:pt x="809" y="46"/>
                      <a:pt x="811" y="47"/>
                    </a:cubicBezTo>
                    <a:lnTo>
                      <a:pt x="811" y="110"/>
                    </a:lnTo>
                    <a:close/>
                    <a:moveTo>
                      <a:pt x="811" y="40"/>
                    </a:moveTo>
                    <a:cubicBezTo>
                      <a:pt x="809" y="39"/>
                      <a:pt x="805" y="38"/>
                      <a:pt x="801" y="37"/>
                    </a:cubicBezTo>
                    <a:cubicBezTo>
                      <a:pt x="797" y="36"/>
                      <a:pt x="793" y="36"/>
                      <a:pt x="789" y="36"/>
                    </a:cubicBezTo>
                    <a:cubicBezTo>
                      <a:pt x="782" y="36"/>
                      <a:pt x="777" y="37"/>
                      <a:pt x="773" y="38"/>
                    </a:cubicBezTo>
                    <a:cubicBezTo>
                      <a:pt x="769" y="40"/>
                      <a:pt x="766" y="42"/>
                      <a:pt x="763" y="45"/>
                    </a:cubicBezTo>
                    <a:cubicBezTo>
                      <a:pt x="761" y="49"/>
                      <a:pt x="759" y="53"/>
                      <a:pt x="758" y="58"/>
                    </a:cubicBezTo>
                    <a:cubicBezTo>
                      <a:pt x="757" y="63"/>
                      <a:pt x="757" y="69"/>
                      <a:pt x="757" y="75"/>
                    </a:cubicBezTo>
                    <a:cubicBezTo>
                      <a:pt x="757" y="83"/>
                      <a:pt x="757" y="89"/>
                      <a:pt x="758" y="94"/>
                    </a:cubicBezTo>
                    <a:cubicBezTo>
                      <a:pt x="760" y="100"/>
                      <a:pt x="762" y="104"/>
                      <a:pt x="765" y="108"/>
                    </a:cubicBezTo>
                    <a:cubicBezTo>
                      <a:pt x="768" y="111"/>
                      <a:pt x="772" y="114"/>
                      <a:pt x="778" y="116"/>
                    </a:cubicBezTo>
                    <a:cubicBezTo>
                      <a:pt x="783" y="117"/>
                      <a:pt x="790" y="118"/>
                      <a:pt x="799" y="118"/>
                    </a:cubicBezTo>
                    <a:cubicBezTo>
                      <a:pt x="803" y="118"/>
                      <a:pt x="807" y="118"/>
                      <a:pt x="811" y="118"/>
                    </a:cubicBezTo>
                    <a:cubicBezTo>
                      <a:pt x="814" y="117"/>
                      <a:pt x="818" y="117"/>
                      <a:pt x="822" y="117"/>
                    </a:cubicBezTo>
                    <a:cubicBezTo>
                      <a:pt x="822" y="5"/>
                      <a:pt x="822" y="5"/>
                      <a:pt x="822" y="5"/>
                    </a:cubicBezTo>
                    <a:cubicBezTo>
                      <a:pt x="811" y="5"/>
                      <a:pt x="811" y="5"/>
                      <a:pt x="811" y="5"/>
                    </a:cubicBezTo>
                    <a:lnTo>
                      <a:pt x="811" y="40"/>
                    </a:lnTo>
                    <a:close/>
                    <a:moveTo>
                      <a:pt x="633" y="117"/>
                    </a:moveTo>
                    <a:cubicBezTo>
                      <a:pt x="643" y="117"/>
                      <a:pt x="643" y="117"/>
                      <a:pt x="643" y="117"/>
                    </a:cubicBezTo>
                    <a:cubicBezTo>
                      <a:pt x="643" y="47"/>
                      <a:pt x="643" y="47"/>
                      <a:pt x="643" y="47"/>
                    </a:cubicBezTo>
                    <a:cubicBezTo>
                      <a:pt x="646" y="46"/>
                      <a:pt x="649" y="45"/>
                      <a:pt x="653" y="44"/>
                    </a:cubicBezTo>
                    <a:cubicBezTo>
                      <a:pt x="657" y="43"/>
                      <a:pt x="661" y="43"/>
                      <a:pt x="666" y="43"/>
                    </a:cubicBezTo>
                    <a:cubicBezTo>
                      <a:pt x="675" y="43"/>
                      <a:pt x="681" y="45"/>
                      <a:pt x="684" y="51"/>
                    </a:cubicBezTo>
                    <a:cubicBezTo>
                      <a:pt x="688" y="56"/>
                      <a:pt x="689" y="64"/>
                      <a:pt x="689" y="75"/>
                    </a:cubicBezTo>
                    <a:cubicBezTo>
                      <a:pt x="689" y="117"/>
                      <a:pt x="689" y="117"/>
                      <a:pt x="689" y="117"/>
                    </a:cubicBezTo>
                    <a:cubicBezTo>
                      <a:pt x="700" y="117"/>
                      <a:pt x="700" y="117"/>
                      <a:pt x="700" y="117"/>
                    </a:cubicBezTo>
                    <a:cubicBezTo>
                      <a:pt x="700" y="75"/>
                      <a:pt x="700" y="75"/>
                      <a:pt x="700" y="75"/>
                    </a:cubicBezTo>
                    <a:cubicBezTo>
                      <a:pt x="700" y="69"/>
                      <a:pt x="700" y="63"/>
                      <a:pt x="698" y="58"/>
                    </a:cubicBezTo>
                    <a:cubicBezTo>
                      <a:pt x="697" y="53"/>
                      <a:pt x="695" y="49"/>
                      <a:pt x="693" y="45"/>
                    </a:cubicBezTo>
                    <a:cubicBezTo>
                      <a:pt x="690" y="42"/>
                      <a:pt x="686" y="40"/>
                      <a:pt x="682" y="38"/>
                    </a:cubicBezTo>
                    <a:cubicBezTo>
                      <a:pt x="677" y="37"/>
                      <a:pt x="672" y="36"/>
                      <a:pt x="666" y="36"/>
                    </a:cubicBezTo>
                    <a:cubicBezTo>
                      <a:pt x="660" y="36"/>
                      <a:pt x="654" y="36"/>
                      <a:pt x="649" y="37"/>
                    </a:cubicBezTo>
                    <a:cubicBezTo>
                      <a:pt x="644" y="39"/>
                      <a:pt x="639" y="40"/>
                      <a:pt x="632" y="43"/>
                    </a:cubicBezTo>
                    <a:lnTo>
                      <a:pt x="633" y="117"/>
                    </a:lnTo>
                    <a:close/>
                    <a:moveTo>
                      <a:pt x="564" y="109"/>
                    </a:moveTo>
                    <a:cubicBezTo>
                      <a:pt x="561" y="108"/>
                      <a:pt x="558" y="106"/>
                      <a:pt x="556" y="103"/>
                    </a:cubicBezTo>
                    <a:cubicBezTo>
                      <a:pt x="554" y="100"/>
                      <a:pt x="553" y="97"/>
                      <a:pt x="552" y="92"/>
                    </a:cubicBezTo>
                    <a:cubicBezTo>
                      <a:pt x="552" y="88"/>
                      <a:pt x="551" y="82"/>
                      <a:pt x="551" y="76"/>
                    </a:cubicBezTo>
                    <a:cubicBezTo>
                      <a:pt x="551" y="69"/>
                      <a:pt x="552" y="64"/>
                      <a:pt x="553" y="60"/>
                    </a:cubicBezTo>
                    <a:cubicBezTo>
                      <a:pt x="554" y="56"/>
                      <a:pt x="555" y="52"/>
                      <a:pt x="557" y="50"/>
                    </a:cubicBezTo>
                    <a:cubicBezTo>
                      <a:pt x="559" y="47"/>
                      <a:pt x="562" y="46"/>
                      <a:pt x="565" y="45"/>
                    </a:cubicBezTo>
                    <a:cubicBezTo>
                      <a:pt x="568" y="44"/>
                      <a:pt x="572" y="43"/>
                      <a:pt x="577" y="43"/>
                    </a:cubicBezTo>
                    <a:cubicBezTo>
                      <a:pt x="581" y="43"/>
                      <a:pt x="584" y="44"/>
                      <a:pt x="588" y="45"/>
                    </a:cubicBezTo>
                    <a:cubicBezTo>
                      <a:pt x="591" y="46"/>
                      <a:pt x="593" y="48"/>
                      <a:pt x="595" y="50"/>
                    </a:cubicBezTo>
                    <a:cubicBezTo>
                      <a:pt x="597" y="53"/>
                      <a:pt x="599" y="56"/>
                      <a:pt x="600" y="61"/>
                    </a:cubicBezTo>
                    <a:cubicBezTo>
                      <a:pt x="601" y="65"/>
                      <a:pt x="602" y="70"/>
                      <a:pt x="602" y="76"/>
                    </a:cubicBezTo>
                    <a:cubicBezTo>
                      <a:pt x="602" y="82"/>
                      <a:pt x="602" y="87"/>
                      <a:pt x="601" y="92"/>
                    </a:cubicBezTo>
                    <a:cubicBezTo>
                      <a:pt x="601" y="96"/>
                      <a:pt x="599" y="100"/>
                      <a:pt x="598" y="103"/>
                    </a:cubicBezTo>
                    <a:cubicBezTo>
                      <a:pt x="596" y="106"/>
                      <a:pt x="593" y="108"/>
                      <a:pt x="590" y="109"/>
                    </a:cubicBezTo>
                    <a:cubicBezTo>
                      <a:pt x="587" y="110"/>
                      <a:pt x="582" y="111"/>
                      <a:pt x="577" y="111"/>
                    </a:cubicBezTo>
                    <a:cubicBezTo>
                      <a:pt x="572" y="111"/>
                      <a:pt x="567" y="111"/>
                      <a:pt x="564" y="109"/>
                    </a:cubicBezTo>
                    <a:close/>
                    <a:moveTo>
                      <a:pt x="577" y="36"/>
                    </a:moveTo>
                    <a:cubicBezTo>
                      <a:pt x="571" y="36"/>
                      <a:pt x="565" y="36"/>
                      <a:pt x="561" y="38"/>
                    </a:cubicBezTo>
                    <a:cubicBezTo>
                      <a:pt x="556" y="39"/>
                      <a:pt x="553" y="41"/>
                      <a:pt x="550" y="45"/>
                    </a:cubicBezTo>
                    <a:cubicBezTo>
                      <a:pt x="547" y="48"/>
                      <a:pt x="544" y="52"/>
                      <a:pt x="543" y="57"/>
                    </a:cubicBezTo>
                    <a:cubicBezTo>
                      <a:pt x="542" y="62"/>
                      <a:pt x="541" y="68"/>
                      <a:pt x="541" y="75"/>
                    </a:cubicBezTo>
                    <a:cubicBezTo>
                      <a:pt x="541" y="83"/>
                      <a:pt x="541" y="90"/>
                      <a:pt x="542" y="95"/>
                    </a:cubicBezTo>
                    <a:cubicBezTo>
                      <a:pt x="544" y="101"/>
                      <a:pt x="546" y="105"/>
                      <a:pt x="548" y="109"/>
                    </a:cubicBezTo>
                    <a:cubicBezTo>
                      <a:pt x="551" y="112"/>
                      <a:pt x="555" y="114"/>
                      <a:pt x="559" y="116"/>
                    </a:cubicBezTo>
                    <a:cubicBezTo>
                      <a:pt x="564" y="118"/>
                      <a:pt x="570" y="118"/>
                      <a:pt x="577" y="118"/>
                    </a:cubicBezTo>
                    <a:cubicBezTo>
                      <a:pt x="584" y="118"/>
                      <a:pt x="590" y="117"/>
                      <a:pt x="595" y="116"/>
                    </a:cubicBezTo>
                    <a:cubicBezTo>
                      <a:pt x="599" y="114"/>
                      <a:pt x="603" y="111"/>
                      <a:pt x="605" y="108"/>
                    </a:cubicBezTo>
                    <a:cubicBezTo>
                      <a:pt x="608" y="104"/>
                      <a:pt x="610" y="100"/>
                      <a:pt x="611" y="95"/>
                    </a:cubicBezTo>
                    <a:cubicBezTo>
                      <a:pt x="612" y="89"/>
                      <a:pt x="613" y="83"/>
                      <a:pt x="613" y="76"/>
                    </a:cubicBezTo>
                    <a:cubicBezTo>
                      <a:pt x="613" y="69"/>
                      <a:pt x="612" y="63"/>
                      <a:pt x="610" y="57"/>
                    </a:cubicBezTo>
                    <a:cubicBezTo>
                      <a:pt x="609" y="52"/>
                      <a:pt x="606" y="48"/>
                      <a:pt x="603" y="45"/>
                    </a:cubicBezTo>
                    <a:cubicBezTo>
                      <a:pt x="600" y="42"/>
                      <a:pt x="597" y="40"/>
                      <a:pt x="592" y="38"/>
                    </a:cubicBezTo>
                    <a:cubicBezTo>
                      <a:pt x="588" y="37"/>
                      <a:pt x="583" y="36"/>
                      <a:pt x="577" y="36"/>
                    </a:cubicBezTo>
                    <a:close/>
                    <a:moveTo>
                      <a:pt x="512" y="117"/>
                    </a:moveTo>
                    <a:cubicBezTo>
                      <a:pt x="522" y="117"/>
                      <a:pt x="522" y="117"/>
                      <a:pt x="522" y="117"/>
                    </a:cubicBezTo>
                    <a:cubicBezTo>
                      <a:pt x="522" y="37"/>
                      <a:pt x="522" y="37"/>
                      <a:pt x="522" y="37"/>
                    </a:cubicBezTo>
                    <a:cubicBezTo>
                      <a:pt x="512" y="37"/>
                      <a:pt x="512" y="37"/>
                      <a:pt x="512" y="37"/>
                    </a:cubicBezTo>
                    <a:lnTo>
                      <a:pt x="512" y="117"/>
                    </a:lnTo>
                    <a:close/>
                    <a:moveTo>
                      <a:pt x="512" y="17"/>
                    </a:moveTo>
                    <a:cubicBezTo>
                      <a:pt x="522" y="17"/>
                      <a:pt x="522" y="17"/>
                      <a:pt x="522" y="17"/>
                    </a:cubicBezTo>
                    <a:cubicBezTo>
                      <a:pt x="522" y="6"/>
                      <a:pt x="522" y="6"/>
                      <a:pt x="522" y="6"/>
                    </a:cubicBezTo>
                    <a:cubicBezTo>
                      <a:pt x="512" y="6"/>
                      <a:pt x="512" y="6"/>
                      <a:pt x="512" y="6"/>
                    </a:cubicBezTo>
                    <a:lnTo>
                      <a:pt x="512" y="17"/>
                    </a:lnTo>
                    <a:close/>
                    <a:moveTo>
                      <a:pt x="467" y="17"/>
                    </a:moveTo>
                    <a:cubicBezTo>
                      <a:pt x="467" y="37"/>
                      <a:pt x="467" y="37"/>
                      <a:pt x="467" y="37"/>
                    </a:cubicBezTo>
                    <a:cubicBezTo>
                      <a:pt x="450" y="37"/>
                      <a:pt x="450" y="37"/>
                      <a:pt x="450" y="37"/>
                    </a:cubicBezTo>
                    <a:cubicBezTo>
                      <a:pt x="450" y="45"/>
                      <a:pt x="450" y="45"/>
                      <a:pt x="450" y="45"/>
                    </a:cubicBezTo>
                    <a:cubicBezTo>
                      <a:pt x="467" y="45"/>
                      <a:pt x="467" y="45"/>
                      <a:pt x="467" y="45"/>
                    </a:cubicBezTo>
                    <a:cubicBezTo>
                      <a:pt x="467" y="92"/>
                      <a:pt x="467" y="92"/>
                      <a:pt x="467" y="92"/>
                    </a:cubicBezTo>
                    <a:cubicBezTo>
                      <a:pt x="467" y="96"/>
                      <a:pt x="467" y="101"/>
                      <a:pt x="468" y="104"/>
                    </a:cubicBezTo>
                    <a:cubicBezTo>
                      <a:pt x="468" y="107"/>
                      <a:pt x="469" y="110"/>
                      <a:pt x="470" y="112"/>
                    </a:cubicBezTo>
                    <a:cubicBezTo>
                      <a:pt x="471" y="114"/>
                      <a:pt x="473" y="116"/>
                      <a:pt x="475" y="117"/>
                    </a:cubicBezTo>
                    <a:cubicBezTo>
                      <a:pt x="478" y="118"/>
                      <a:pt x="481" y="118"/>
                      <a:pt x="484" y="118"/>
                    </a:cubicBezTo>
                    <a:cubicBezTo>
                      <a:pt x="486" y="118"/>
                      <a:pt x="487" y="118"/>
                      <a:pt x="488" y="118"/>
                    </a:cubicBezTo>
                    <a:cubicBezTo>
                      <a:pt x="490" y="118"/>
                      <a:pt x="492" y="117"/>
                      <a:pt x="495" y="117"/>
                    </a:cubicBezTo>
                    <a:cubicBezTo>
                      <a:pt x="496" y="110"/>
                      <a:pt x="496" y="110"/>
                      <a:pt x="496" y="110"/>
                    </a:cubicBezTo>
                    <a:cubicBezTo>
                      <a:pt x="494" y="110"/>
                      <a:pt x="492" y="110"/>
                      <a:pt x="490" y="111"/>
                    </a:cubicBezTo>
                    <a:cubicBezTo>
                      <a:pt x="489" y="111"/>
                      <a:pt x="487" y="111"/>
                      <a:pt x="486" y="111"/>
                    </a:cubicBezTo>
                    <a:cubicBezTo>
                      <a:pt x="485" y="111"/>
                      <a:pt x="485" y="111"/>
                      <a:pt x="485" y="111"/>
                    </a:cubicBezTo>
                    <a:cubicBezTo>
                      <a:pt x="484" y="111"/>
                      <a:pt x="482" y="111"/>
                      <a:pt x="481" y="110"/>
                    </a:cubicBezTo>
                    <a:cubicBezTo>
                      <a:pt x="480" y="110"/>
                      <a:pt x="479" y="109"/>
                      <a:pt x="479" y="107"/>
                    </a:cubicBezTo>
                    <a:cubicBezTo>
                      <a:pt x="478" y="106"/>
                      <a:pt x="478" y="104"/>
                      <a:pt x="478" y="101"/>
                    </a:cubicBezTo>
                    <a:cubicBezTo>
                      <a:pt x="477" y="99"/>
                      <a:pt x="477" y="96"/>
                      <a:pt x="477" y="92"/>
                    </a:cubicBezTo>
                    <a:cubicBezTo>
                      <a:pt x="477" y="45"/>
                      <a:pt x="477" y="45"/>
                      <a:pt x="477" y="45"/>
                    </a:cubicBezTo>
                    <a:cubicBezTo>
                      <a:pt x="496" y="45"/>
                      <a:pt x="496" y="45"/>
                      <a:pt x="496" y="45"/>
                    </a:cubicBezTo>
                    <a:cubicBezTo>
                      <a:pt x="496" y="37"/>
                      <a:pt x="496" y="37"/>
                      <a:pt x="496" y="37"/>
                    </a:cubicBezTo>
                    <a:cubicBezTo>
                      <a:pt x="477" y="37"/>
                      <a:pt x="477" y="37"/>
                      <a:pt x="477" y="37"/>
                    </a:cubicBezTo>
                    <a:cubicBezTo>
                      <a:pt x="477" y="17"/>
                      <a:pt x="477" y="17"/>
                      <a:pt x="477" y="17"/>
                    </a:cubicBezTo>
                    <a:lnTo>
                      <a:pt x="467" y="17"/>
                    </a:lnTo>
                    <a:close/>
                    <a:moveTo>
                      <a:pt x="429" y="117"/>
                    </a:moveTo>
                    <a:cubicBezTo>
                      <a:pt x="440" y="117"/>
                      <a:pt x="440" y="117"/>
                      <a:pt x="440" y="117"/>
                    </a:cubicBezTo>
                    <a:cubicBezTo>
                      <a:pt x="440" y="37"/>
                      <a:pt x="440" y="37"/>
                      <a:pt x="440" y="37"/>
                    </a:cubicBezTo>
                    <a:cubicBezTo>
                      <a:pt x="429" y="37"/>
                      <a:pt x="429" y="37"/>
                      <a:pt x="429" y="37"/>
                    </a:cubicBezTo>
                    <a:lnTo>
                      <a:pt x="429" y="117"/>
                    </a:lnTo>
                    <a:close/>
                    <a:moveTo>
                      <a:pt x="429" y="17"/>
                    </a:moveTo>
                    <a:cubicBezTo>
                      <a:pt x="440" y="17"/>
                      <a:pt x="440" y="17"/>
                      <a:pt x="440" y="17"/>
                    </a:cubicBezTo>
                    <a:cubicBezTo>
                      <a:pt x="440" y="6"/>
                      <a:pt x="440" y="6"/>
                      <a:pt x="440" y="6"/>
                    </a:cubicBezTo>
                    <a:cubicBezTo>
                      <a:pt x="429" y="6"/>
                      <a:pt x="429" y="6"/>
                      <a:pt x="429" y="6"/>
                    </a:cubicBezTo>
                    <a:lnTo>
                      <a:pt x="429" y="17"/>
                    </a:lnTo>
                    <a:close/>
                    <a:moveTo>
                      <a:pt x="353" y="47"/>
                    </a:moveTo>
                    <a:cubicBezTo>
                      <a:pt x="356" y="46"/>
                      <a:pt x="359" y="45"/>
                      <a:pt x="363" y="44"/>
                    </a:cubicBezTo>
                    <a:cubicBezTo>
                      <a:pt x="367" y="43"/>
                      <a:pt x="372" y="43"/>
                      <a:pt x="376" y="43"/>
                    </a:cubicBezTo>
                    <a:cubicBezTo>
                      <a:pt x="380" y="43"/>
                      <a:pt x="384" y="43"/>
                      <a:pt x="387" y="45"/>
                    </a:cubicBezTo>
                    <a:cubicBezTo>
                      <a:pt x="390" y="46"/>
                      <a:pt x="392" y="48"/>
                      <a:pt x="393" y="50"/>
                    </a:cubicBezTo>
                    <a:cubicBezTo>
                      <a:pt x="395" y="53"/>
                      <a:pt x="396" y="56"/>
                      <a:pt x="396" y="61"/>
                    </a:cubicBezTo>
                    <a:cubicBezTo>
                      <a:pt x="397" y="65"/>
                      <a:pt x="397" y="70"/>
                      <a:pt x="397" y="75"/>
                    </a:cubicBezTo>
                    <a:cubicBezTo>
                      <a:pt x="397" y="81"/>
                      <a:pt x="397" y="86"/>
                      <a:pt x="396" y="91"/>
                    </a:cubicBezTo>
                    <a:cubicBezTo>
                      <a:pt x="396" y="95"/>
                      <a:pt x="394" y="99"/>
                      <a:pt x="392" y="102"/>
                    </a:cubicBezTo>
                    <a:cubicBezTo>
                      <a:pt x="390" y="105"/>
                      <a:pt x="387" y="107"/>
                      <a:pt x="383" y="108"/>
                    </a:cubicBezTo>
                    <a:cubicBezTo>
                      <a:pt x="379" y="110"/>
                      <a:pt x="374" y="111"/>
                      <a:pt x="367" y="111"/>
                    </a:cubicBezTo>
                    <a:cubicBezTo>
                      <a:pt x="365" y="111"/>
                      <a:pt x="363" y="111"/>
                      <a:pt x="361" y="111"/>
                    </a:cubicBezTo>
                    <a:cubicBezTo>
                      <a:pt x="358" y="110"/>
                      <a:pt x="356" y="110"/>
                      <a:pt x="353" y="110"/>
                    </a:cubicBezTo>
                    <a:lnTo>
                      <a:pt x="353" y="47"/>
                    </a:lnTo>
                    <a:close/>
                    <a:moveTo>
                      <a:pt x="343" y="5"/>
                    </a:moveTo>
                    <a:cubicBezTo>
                      <a:pt x="343" y="117"/>
                      <a:pt x="343" y="117"/>
                      <a:pt x="343" y="117"/>
                    </a:cubicBezTo>
                    <a:cubicBezTo>
                      <a:pt x="346" y="117"/>
                      <a:pt x="350" y="117"/>
                      <a:pt x="354" y="118"/>
                    </a:cubicBezTo>
                    <a:cubicBezTo>
                      <a:pt x="358" y="118"/>
                      <a:pt x="362" y="118"/>
                      <a:pt x="366" y="118"/>
                    </a:cubicBezTo>
                    <a:cubicBezTo>
                      <a:pt x="374" y="118"/>
                      <a:pt x="381" y="117"/>
                      <a:pt x="387" y="116"/>
                    </a:cubicBezTo>
                    <a:cubicBezTo>
                      <a:pt x="392" y="114"/>
                      <a:pt x="397" y="111"/>
                      <a:pt x="400" y="108"/>
                    </a:cubicBezTo>
                    <a:cubicBezTo>
                      <a:pt x="403" y="104"/>
                      <a:pt x="405" y="100"/>
                      <a:pt x="406" y="94"/>
                    </a:cubicBezTo>
                    <a:cubicBezTo>
                      <a:pt x="407" y="89"/>
                      <a:pt x="408" y="83"/>
                      <a:pt x="408" y="75"/>
                    </a:cubicBezTo>
                    <a:cubicBezTo>
                      <a:pt x="408" y="69"/>
                      <a:pt x="407" y="63"/>
                      <a:pt x="406" y="58"/>
                    </a:cubicBezTo>
                    <a:cubicBezTo>
                      <a:pt x="405" y="53"/>
                      <a:pt x="404" y="49"/>
                      <a:pt x="401" y="45"/>
                    </a:cubicBezTo>
                    <a:cubicBezTo>
                      <a:pt x="399" y="42"/>
                      <a:pt x="396" y="40"/>
                      <a:pt x="392" y="38"/>
                    </a:cubicBezTo>
                    <a:cubicBezTo>
                      <a:pt x="388" y="37"/>
                      <a:pt x="382" y="36"/>
                      <a:pt x="376" y="36"/>
                    </a:cubicBezTo>
                    <a:cubicBezTo>
                      <a:pt x="372" y="36"/>
                      <a:pt x="367" y="36"/>
                      <a:pt x="363" y="37"/>
                    </a:cubicBezTo>
                    <a:cubicBezTo>
                      <a:pt x="359" y="38"/>
                      <a:pt x="356" y="39"/>
                      <a:pt x="353" y="40"/>
                    </a:cubicBezTo>
                    <a:cubicBezTo>
                      <a:pt x="353" y="5"/>
                      <a:pt x="353" y="5"/>
                      <a:pt x="353" y="5"/>
                    </a:cubicBezTo>
                    <a:lnTo>
                      <a:pt x="343" y="5"/>
                    </a:lnTo>
                    <a:close/>
                    <a:moveTo>
                      <a:pt x="201" y="117"/>
                    </a:moveTo>
                    <a:cubicBezTo>
                      <a:pt x="212" y="117"/>
                      <a:pt x="212" y="117"/>
                      <a:pt x="212" y="117"/>
                    </a:cubicBezTo>
                    <a:cubicBezTo>
                      <a:pt x="212" y="47"/>
                      <a:pt x="212" y="47"/>
                      <a:pt x="212" y="47"/>
                    </a:cubicBezTo>
                    <a:cubicBezTo>
                      <a:pt x="215" y="46"/>
                      <a:pt x="218" y="45"/>
                      <a:pt x="222" y="44"/>
                    </a:cubicBezTo>
                    <a:cubicBezTo>
                      <a:pt x="226" y="43"/>
                      <a:pt x="230" y="43"/>
                      <a:pt x="235" y="43"/>
                    </a:cubicBezTo>
                    <a:cubicBezTo>
                      <a:pt x="239" y="43"/>
                      <a:pt x="242" y="43"/>
                      <a:pt x="245" y="45"/>
                    </a:cubicBezTo>
                    <a:cubicBezTo>
                      <a:pt x="248" y="46"/>
                      <a:pt x="250" y="48"/>
                      <a:pt x="252" y="50"/>
                    </a:cubicBezTo>
                    <a:cubicBezTo>
                      <a:pt x="253" y="53"/>
                      <a:pt x="254" y="56"/>
                      <a:pt x="255" y="60"/>
                    </a:cubicBezTo>
                    <a:cubicBezTo>
                      <a:pt x="255" y="64"/>
                      <a:pt x="256" y="69"/>
                      <a:pt x="256" y="75"/>
                    </a:cubicBezTo>
                    <a:cubicBezTo>
                      <a:pt x="256" y="117"/>
                      <a:pt x="256" y="117"/>
                      <a:pt x="256" y="117"/>
                    </a:cubicBezTo>
                    <a:cubicBezTo>
                      <a:pt x="267" y="117"/>
                      <a:pt x="267" y="117"/>
                      <a:pt x="267" y="117"/>
                    </a:cubicBezTo>
                    <a:cubicBezTo>
                      <a:pt x="267" y="75"/>
                      <a:pt x="267" y="75"/>
                      <a:pt x="267" y="75"/>
                    </a:cubicBezTo>
                    <a:cubicBezTo>
                      <a:pt x="267" y="69"/>
                      <a:pt x="266" y="64"/>
                      <a:pt x="266" y="59"/>
                    </a:cubicBezTo>
                    <a:cubicBezTo>
                      <a:pt x="265" y="55"/>
                      <a:pt x="264" y="51"/>
                      <a:pt x="262" y="48"/>
                    </a:cubicBezTo>
                    <a:cubicBezTo>
                      <a:pt x="267" y="46"/>
                      <a:pt x="272" y="45"/>
                      <a:pt x="276" y="44"/>
                    </a:cubicBezTo>
                    <a:cubicBezTo>
                      <a:pt x="280" y="43"/>
                      <a:pt x="284" y="43"/>
                      <a:pt x="289" y="43"/>
                    </a:cubicBezTo>
                    <a:cubicBezTo>
                      <a:pt x="293" y="43"/>
                      <a:pt x="297" y="43"/>
                      <a:pt x="300" y="45"/>
                    </a:cubicBezTo>
                    <a:cubicBezTo>
                      <a:pt x="303" y="46"/>
                      <a:pt x="305" y="48"/>
                      <a:pt x="306" y="50"/>
                    </a:cubicBezTo>
                    <a:cubicBezTo>
                      <a:pt x="308" y="53"/>
                      <a:pt x="309" y="56"/>
                      <a:pt x="309" y="60"/>
                    </a:cubicBezTo>
                    <a:cubicBezTo>
                      <a:pt x="310" y="64"/>
                      <a:pt x="310" y="69"/>
                      <a:pt x="310" y="75"/>
                    </a:cubicBezTo>
                    <a:cubicBezTo>
                      <a:pt x="310" y="117"/>
                      <a:pt x="310" y="117"/>
                      <a:pt x="310" y="117"/>
                    </a:cubicBezTo>
                    <a:cubicBezTo>
                      <a:pt x="321" y="117"/>
                      <a:pt x="321" y="117"/>
                      <a:pt x="321" y="117"/>
                    </a:cubicBezTo>
                    <a:cubicBezTo>
                      <a:pt x="321" y="75"/>
                      <a:pt x="321" y="75"/>
                      <a:pt x="321" y="75"/>
                    </a:cubicBezTo>
                    <a:cubicBezTo>
                      <a:pt x="321" y="68"/>
                      <a:pt x="321" y="63"/>
                      <a:pt x="320" y="58"/>
                    </a:cubicBezTo>
                    <a:cubicBezTo>
                      <a:pt x="319" y="53"/>
                      <a:pt x="317" y="48"/>
                      <a:pt x="315" y="45"/>
                    </a:cubicBezTo>
                    <a:cubicBezTo>
                      <a:pt x="312" y="42"/>
                      <a:pt x="309" y="40"/>
                      <a:pt x="305" y="38"/>
                    </a:cubicBezTo>
                    <a:cubicBezTo>
                      <a:pt x="301" y="36"/>
                      <a:pt x="296" y="36"/>
                      <a:pt x="289" y="36"/>
                    </a:cubicBezTo>
                    <a:cubicBezTo>
                      <a:pt x="287" y="36"/>
                      <a:pt x="284" y="36"/>
                      <a:pt x="282" y="36"/>
                    </a:cubicBezTo>
                    <a:cubicBezTo>
                      <a:pt x="279" y="36"/>
                      <a:pt x="277" y="36"/>
                      <a:pt x="274" y="37"/>
                    </a:cubicBezTo>
                    <a:cubicBezTo>
                      <a:pt x="272" y="37"/>
                      <a:pt x="269" y="38"/>
                      <a:pt x="266" y="39"/>
                    </a:cubicBezTo>
                    <a:cubicBezTo>
                      <a:pt x="263" y="40"/>
                      <a:pt x="260" y="41"/>
                      <a:pt x="257" y="42"/>
                    </a:cubicBezTo>
                    <a:cubicBezTo>
                      <a:pt x="252" y="38"/>
                      <a:pt x="245" y="35"/>
                      <a:pt x="235" y="35"/>
                    </a:cubicBezTo>
                    <a:cubicBezTo>
                      <a:pt x="229" y="35"/>
                      <a:pt x="224" y="36"/>
                      <a:pt x="219" y="37"/>
                    </a:cubicBezTo>
                    <a:cubicBezTo>
                      <a:pt x="214" y="38"/>
                      <a:pt x="208" y="40"/>
                      <a:pt x="201" y="42"/>
                    </a:cubicBezTo>
                    <a:lnTo>
                      <a:pt x="201" y="117"/>
                    </a:lnTo>
                    <a:close/>
                    <a:moveTo>
                      <a:pt x="169" y="107"/>
                    </a:moveTo>
                    <a:cubicBezTo>
                      <a:pt x="166" y="108"/>
                      <a:pt x="162" y="108"/>
                      <a:pt x="157" y="109"/>
                    </a:cubicBezTo>
                    <a:cubicBezTo>
                      <a:pt x="152" y="110"/>
                      <a:pt x="147" y="111"/>
                      <a:pt x="142" y="111"/>
                    </a:cubicBezTo>
                    <a:cubicBezTo>
                      <a:pt x="138" y="111"/>
                      <a:pt x="134" y="109"/>
                      <a:pt x="132" y="106"/>
                    </a:cubicBezTo>
                    <a:cubicBezTo>
                      <a:pt x="129" y="103"/>
                      <a:pt x="128" y="99"/>
                      <a:pt x="128" y="94"/>
                    </a:cubicBezTo>
                    <a:cubicBezTo>
                      <a:pt x="128" y="90"/>
                      <a:pt x="129" y="86"/>
                      <a:pt x="132" y="83"/>
                    </a:cubicBezTo>
                    <a:cubicBezTo>
                      <a:pt x="134" y="80"/>
                      <a:pt x="138" y="78"/>
                      <a:pt x="144" y="78"/>
                    </a:cubicBezTo>
                    <a:cubicBezTo>
                      <a:pt x="169" y="76"/>
                      <a:pt x="169" y="76"/>
                      <a:pt x="169" y="76"/>
                    </a:cubicBezTo>
                    <a:lnTo>
                      <a:pt x="169" y="107"/>
                    </a:lnTo>
                    <a:close/>
                    <a:moveTo>
                      <a:pt x="125" y="45"/>
                    </a:moveTo>
                    <a:cubicBezTo>
                      <a:pt x="130" y="45"/>
                      <a:pt x="134" y="44"/>
                      <a:pt x="139" y="44"/>
                    </a:cubicBezTo>
                    <a:cubicBezTo>
                      <a:pt x="144" y="43"/>
                      <a:pt x="148" y="43"/>
                      <a:pt x="152" y="43"/>
                    </a:cubicBezTo>
                    <a:cubicBezTo>
                      <a:pt x="158" y="43"/>
                      <a:pt x="162" y="45"/>
                      <a:pt x="165" y="47"/>
                    </a:cubicBezTo>
                    <a:cubicBezTo>
                      <a:pt x="168" y="50"/>
                      <a:pt x="169" y="54"/>
                      <a:pt x="169" y="61"/>
                    </a:cubicBezTo>
                    <a:cubicBezTo>
                      <a:pt x="169" y="69"/>
                      <a:pt x="169" y="69"/>
                      <a:pt x="169" y="69"/>
                    </a:cubicBezTo>
                    <a:cubicBezTo>
                      <a:pt x="143" y="71"/>
                      <a:pt x="143" y="71"/>
                      <a:pt x="143" y="71"/>
                    </a:cubicBezTo>
                    <a:cubicBezTo>
                      <a:pt x="134" y="72"/>
                      <a:pt x="127" y="74"/>
                      <a:pt x="123" y="78"/>
                    </a:cubicBezTo>
                    <a:cubicBezTo>
                      <a:pt x="119" y="82"/>
                      <a:pt x="117" y="88"/>
                      <a:pt x="117" y="94"/>
                    </a:cubicBezTo>
                    <a:cubicBezTo>
                      <a:pt x="117" y="102"/>
                      <a:pt x="120" y="108"/>
                      <a:pt x="124" y="112"/>
                    </a:cubicBezTo>
                    <a:cubicBezTo>
                      <a:pt x="128" y="116"/>
                      <a:pt x="134" y="118"/>
                      <a:pt x="142" y="118"/>
                    </a:cubicBezTo>
                    <a:cubicBezTo>
                      <a:pt x="150" y="118"/>
                      <a:pt x="157" y="117"/>
                      <a:pt x="163" y="116"/>
                    </a:cubicBezTo>
                    <a:cubicBezTo>
                      <a:pt x="169" y="114"/>
                      <a:pt x="175" y="113"/>
                      <a:pt x="180" y="111"/>
                    </a:cubicBezTo>
                    <a:cubicBezTo>
                      <a:pt x="180" y="61"/>
                      <a:pt x="180" y="61"/>
                      <a:pt x="180" y="61"/>
                    </a:cubicBezTo>
                    <a:cubicBezTo>
                      <a:pt x="180" y="53"/>
                      <a:pt x="177" y="46"/>
                      <a:pt x="173" y="42"/>
                    </a:cubicBezTo>
                    <a:cubicBezTo>
                      <a:pt x="169" y="38"/>
                      <a:pt x="162" y="36"/>
                      <a:pt x="152" y="36"/>
                    </a:cubicBezTo>
                    <a:cubicBezTo>
                      <a:pt x="147" y="36"/>
                      <a:pt x="143" y="36"/>
                      <a:pt x="138" y="36"/>
                    </a:cubicBezTo>
                    <a:cubicBezTo>
                      <a:pt x="133" y="37"/>
                      <a:pt x="128" y="37"/>
                      <a:pt x="123" y="38"/>
                    </a:cubicBezTo>
                    <a:lnTo>
                      <a:pt x="125" y="45"/>
                    </a:lnTo>
                    <a:close/>
                    <a:moveTo>
                      <a:pt x="81" y="34"/>
                    </a:moveTo>
                    <a:cubicBezTo>
                      <a:pt x="91" y="34"/>
                      <a:pt x="91" y="34"/>
                      <a:pt x="91" y="34"/>
                    </a:cubicBezTo>
                    <a:cubicBezTo>
                      <a:pt x="100" y="0"/>
                      <a:pt x="100" y="0"/>
                      <a:pt x="100" y="0"/>
                    </a:cubicBezTo>
                    <a:cubicBezTo>
                      <a:pt x="89" y="0"/>
                      <a:pt x="89" y="0"/>
                      <a:pt x="89" y="0"/>
                    </a:cubicBezTo>
                    <a:lnTo>
                      <a:pt x="81" y="34"/>
                    </a:lnTo>
                    <a:close/>
                    <a:moveTo>
                      <a:pt x="70" y="117"/>
                    </a:moveTo>
                    <a:cubicBezTo>
                      <a:pt x="70" y="109"/>
                      <a:pt x="70" y="109"/>
                      <a:pt x="70" y="109"/>
                    </a:cubicBezTo>
                    <a:cubicBezTo>
                      <a:pt x="11" y="109"/>
                      <a:pt x="11" y="109"/>
                      <a:pt x="11" y="109"/>
                    </a:cubicBezTo>
                    <a:cubicBezTo>
                      <a:pt x="11" y="5"/>
                      <a:pt x="11" y="5"/>
                      <a:pt x="11" y="5"/>
                    </a:cubicBezTo>
                    <a:cubicBezTo>
                      <a:pt x="0" y="5"/>
                      <a:pt x="0" y="5"/>
                      <a:pt x="0" y="5"/>
                    </a:cubicBezTo>
                    <a:cubicBezTo>
                      <a:pt x="0" y="117"/>
                      <a:pt x="0" y="117"/>
                      <a:pt x="0" y="117"/>
                    </a:cubicBezTo>
                    <a:lnTo>
                      <a:pt x="70" y="117"/>
                    </a:lnTo>
                    <a:close/>
                  </a:path>
                </a:pathLst>
              </a:custGeom>
              <a:noFill/>
              <a:ln w="0" cap="flat">
                <a:solidFill>
                  <a:srgbClr val="225696"/>
                </a:solidFill>
                <a:prstDash val="solid"/>
                <a:miter lim="800000"/>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grpSp>
    </p:spTree>
    <p:extLst>
      <p:ext uri="{BB962C8B-B14F-4D97-AF65-F5344CB8AC3E}">
        <p14:creationId xmlns:p14="http://schemas.microsoft.com/office/powerpoint/2010/main" val="281665074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2">
    <p:spTree>
      <p:nvGrpSpPr>
        <p:cNvPr id="1" name=""/>
        <p:cNvGrpSpPr/>
        <p:nvPr/>
      </p:nvGrpSpPr>
      <p:grpSpPr>
        <a:xfrm>
          <a:off x="0" y="0"/>
          <a:ext cx="0" cy="0"/>
          <a:chOff x="0" y="0"/>
          <a:chExt cx="0" cy="0"/>
        </a:xfrm>
      </p:grpSpPr>
      <p:sp>
        <p:nvSpPr>
          <p:cNvPr id="12" name="Rectangle 11"/>
          <p:cNvSpPr/>
          <p:nvPr userDrawn="1"/>
        </p:nvSpPr>
        <p:spPr bwMode="gray">
          <a:xfrm>
            <a:off x="2537617" y="6524624"/>
            <a:ext cx="4068763" cy="3107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spcAft>
                <a:spcPts val="300"/>
              </a:spcAft>
            </a:pPr>
            <a:r>
              <a:rPr lang="fr-FR" sz="650">
                <a:solidFill>
                  <a:schemeClr val="tx1"/>
                </a:solidFill>
              </a:rPr>
              <a:t>GROUPE ADP -  </a:t>
            </a:r>
            <a:fld id="{DBB6C128-1F8B-4841-9AB6-B633AFE8C2FF}" type="datetime1">
              <a:rPr lang="fr-FR" sz="650" smtClean="0">
                <a:solidFill>
                  <a:schemeClr val="tx1">
                    <a:alpha val="0"/>
                  </a:schemeClr>
                </a:solidFill>
              </a:rPr>
              <a:pPr algn="ctr">
                <a:spcAft>
                  <a:spcPts val="300"/>
                </a:spcAft>
              </a:pPr>
              <a:t>11/05/2023</a:t>
            </a:fld>
            <a:endParaRPr lang="fr-FR" sz="650" baseline="0">
              <a:solidFill>
                <a:schemeClr val="tx1">
                  <a:alpha val="0"/>
                </a:schemeClr>
              </a:solidFill>
            </a:endParaRPr>
          </a:p>
          <a:p>
            <a:pPr algn="ctr">
              <a:spcAft>
                <a:spcPts val="300"/>
              </a:spcAft>
            </a:pPr>
            <a:r>
              <a:rPr lang="fr-FR" sz="650" b="1">
                <a:solidFill>
                  <a:schemeClr val="tx1"/>
                </a:solidFill>
              </a:rPr>
              <a:t>DIFFUSION RESTREINTE</a:t>
            </a:r>
          </a:p>
        </p:txBody>
      </p:sp>
      <p:sp>
        <p:nvSpPr>
          <p:cNvPr id="13" name="Espace réservé de la date 12"/>
          <p:cNvSpPr>
            <a:spLocks noGrp="1"/>
          </p:cNvSpPr>
          <p:nvPr>
            <p:ph type="dt" sz="half" idx="10"/>
          </p:nvPr>
        </p:nvSpPr>
        <p:spPr bwMode="gray">
          <a:xfrm>
            <a:off x="4670546" y="6524625"/>
            <a:ext cx="540000" cy="144464"/>
          </a:xfrm>
        </p:spPr>
        <p:txBody>
          <a:bodyPr/>
          <a:lstStyle>
            <a:lvl1pPr algn="l">
              <a:defRPr>
                <a:solidFill>
                  <a:schemeClr val="tx1"/>
                </a:solidFill>
              </a:defRPr>
            </a:lvl1pPr>
          </a:lstStyle>
          <a:p>
            <a:fld id="{550BAC00-01FA-4952-B21A-05CDA3798DF2}" type="datetime1">
              <a:rPr lang="fr-FR" smtClean="0"/>
              <a:t>11/05/2023</a:t>
            </a:fld>
            <a:endParaRPr lang="fr-FR"/>
          </a:p>
        </p:txBody>
      </p:sp>
      <p:sp>
        <p:nvSpPr>
          <p:cNvPr id="14" name="Espace réservé du pied de page 13"/>
          <p:cNvSpPr>
            <a:spLocks noGrp="1"/>
          </p:cNvSpPr>
          <p:nvPr>
            <p:ph type="ftr" sz="quarter" idx="11"/>
          </p:nvPr>
        </p:nvSpPr>
        <p:spPr bwMode="gray">
          <a:xfrm>
            <a:off x="2028" y="6669088"/>
            <a:ext cx="501210" cy="188912"/>
          </a:xfrm>
        </p:spPr>
        <p:txBody>
          <a:bodyPr/>
          <a:lstStyle>
            <a:lvl1pPr>
              <a:defRPr sz="100">
                <a:solidFill>
                  <a:schemeClr val="bg1">
                    <a:alpha val="0"/>
                  </a:schemeClr>
                </a:solidFill>
              </a:defRPr>
            </a:lvl1pPr>
          </a:lstStyle>
          <a:p>
            <a:r>
              <a:rPr lang="fr-FR"/>
              <a:t>GROUPE ADP -                      - DIFFUSION RESTREINTE</a:t>
            </a:r>
          </a:p>
        </p:txBody>
      </p:sp>
      <p:sp>
        <p:nvSpPr>
          <p:cNvPr id="15" name="Espace réservé du numéro de diapositive 14"/>
          <p:cNvSpPr>
            <a:spLocks noGrp="1"/>
          </p:cNvSpPr>
          <p:nvPr>
            <p:ph type="sldNum" sz="quarter" idx="12"/>
          </p:nvPr>
        </p:nvSpPr>
        <p:spPr bwMode="gray">
          <a:xfrm>
            <a:off x="2029" y="6669088"/>
            <a:ext cx="501210" cy="188911"/>
          </a:xfrm>
        </p:spPr>
        <p:txBody>
          <a:bodyPr/>
          <a:lstStyle>
            <a:lvl1pPr>
              <a:defRPr sz="100">
                <a:solidFill>
                  <a:schemeClr val="bg1">
                    <a:alpha val="0"/>
                  </a:schemeClr>
                </a:solidFill>
              </a:defRPr>
            </a:lvl1pPr>
          </a:lstStyle>
          <a:p>
            <a:r>
              <a:rPr lang="fr-FR"/>
              <a:t>PAGE </a:t>
            </a:r>
            <a:fld id="{8AF9711C-11F6-40F1-A9C4-511E8DA6BB32}" type="slidenum">
              <a:rPr lang="fr-FR" smtClean="0"/>
              <a:pPr/>
              <a:t>‹N°›</a:t>
            </a:fld>
            <a:endParaRPr lang="fr-FR"/>
          </a:p>
        </p:txBody>
      </p:sp>
      <p:grpSp>
        <p:nvGrpSpPr>
          <p:cNvPr id="23" name="Groupe 22"/>
          <p:cNvGrpSpPr/>
          <p:nvPr userDrawn="1"/>
        </p:nvGrpSpPr>
        <p:grpSpPr bwMode="gray">
          <a:xfrm>
            <a:off x="6128457" y="4267200"/>
            <a:ext cx="3011488" cy="2590800"/>
            <a:chOff x="6128457" y="4252825"/>
            <a:chExt cx="3011488" cy="2590800"/>
          </a:xfrm>
          <a:solidFill>
            <a:schemeClr val="accent1"/>
          </a:solidFill>
        </p:grpSpPr>
        <p:sp>
          <p:nvSpPr>
            <p:cNvPr id="20" name="Freeform 5"/>
            <p:cNvSpPr>
              <a:spLocks/>
            </p:cNvSpPr>
            <p:nvPr userDrawn="1"/>
          </p:nvSpPr>
          <p:spPr bwMode="gray">
            <a:xfrm>
              <a:off x="6128457" y="4252825"/>
              <a:ext cx="3011488" cy="2590800"/>
            </a:xfrm>
            <a:custGeom>
              <a:avLst/>
              <a:gdLst>
                <a:gd name="T0" fmla="*/ 0 w 3151"/>
                <a:gd name="T1" fmla="*/ 2710 h 2710"/>
                <a:gd name="T2" fmla="*/ 0 w 3151"/>
                <a:gd name="T3" fmla="*/ 2710 h 2710"/>
                <a:gd name="T4" fmla="*/ 511 w 3151"/>
                <a:gd name="T5" fmla="*/ 2710 h 2710"/>
                <a:gd name="T6" fmla="*/ 3151 w 3151"/>
                <a:gd name="T7" fmla="*/ 439 h 2710"/>
                <a:gd name="T8" fmla="*/ 3151 w 3151"/>
                <a:gd name="T9" fmla="*/ 0 h 2710"/>
                <a:gd name="T10" fmla="*/ 0 w 3151"/>
                <a:gd name="T11" fmla="*/ 2710 h 2710"/>
              </a:gdLst>
              <a:ahLst/>
              <a:cxnLst>
                <a:cxn ang="0">
                  <a:pos x="T0" y="T1"/>
                </a:cxn>
                <a:cxn ang="0">
                  <a:pos x="T2" y="T3"/>
                </a:cxn>
                <a:cxn ang="0">
                  <a:pos x="T4" y="T5"/>
                </a:cxn>
                <a:cxn ang="0">
                  <a:pos x="T6" y="T7"/>
                </a:cxn>
                <a:cxn ang="0">
                  <a:pos x="T8" y="T9"/>
                </a:cxn>
                <a:cxn ang="0">
                  <a:pos x="T10" y="T11"/>
                </a:cxn>
              </a:cxnLst>
              <a:rect l="0" t="0" r="r" b="b"/>
              <a:pathLst>
                <a:path w="3151" h="2710">
                  <a:moveTo>
                    <a:pt x="0" y="2710"/>
                  </a:moveTo>
                  <a:lnTo>
                    <a:pt x="0" y="2710"/>
                  </a:lnTo>
                  <a:lnTo>
                    <a:pt x="511" y="2710"/>
                  </a:lnTo>
                  <a:lnTo>
                    <a:pt x="3151" y="439"/>
                  </a:lnTo>
                  <a:lnTo>
                    <a:pt x="3151" y="0"/>
                  </a:lnTo>
                  <a:lnTo>
                    <a:pt x="0" y="27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21" name="Freeform 6"/>
            <p:cNvSpPr>
              <a:spLocks/>
            </p:cNvSpPr>
            <p:nvPr userDrawn="1"/>
          </p:nvSpPr>
          <p:spPr bwMode="gray">
            <a:xfrm>
              <a:off x="6820607" y="5232312"/>
              <a:ext cx="2319338" cy="1611313"/>
            </a:xfrm>
            <a:custGeom>
              <a:avLst/>
              <a:gdLst>
                <a:gd name="T0" fmla="*/ 0 w 2427"/>
                <a:gd name="T1" fmla="*/ 1686 h 1686"/>
                <a:gd name="T2" fmla="*/ 0 w 2427"/>
                <a:gd name="T3" fmla="*/ 1686 h 1686"/>
                <a:gd name="T4" fmla="*/ 510 w 2427"/>
                <a:gd name="T5" fmla="*/ 1686 h 1686"/>
                <a:gd name="T6" fmla="*/ 2427 w 2427"/>
                <a:gd name="T7" fmla="*/ 355 h 1686"/>
                <a:gd name="T8" fmla="*/ 2427 w 2427"/>
                <a:gd name="T9" fmla="*/ 0 h 1686"/>
                <a:gd name="T10" fmla="*/ 0 w 2427"/>
                <a:gd name="T11" fmla="*/ 1686 h 1686"/>
              </a:gdLst>
              <a:ahLst/>
              <a:cxnLst>
                <a:cxn ang="0">
                  <a:pos x="T0" y="T1"/>
                </a:cxn>
                <a:cxn ang="0">
                  <a:pos x="T2" y="T3"/>
                </a:cxn>
                <a:cxn ang="0">
                  <a:pos x="T4" y="T5"/>
                </a:cxn>
                <a:cxn ang="0">
                  <a:pos x="T6" y="T7"/>
                </a:cxn>
                <a:cxn ang="0">
                  <a:pos x="T8" y="T9"/>
                </a:cxn>
                <a:cxn ang="0">
                  <a:pos x="T10" y="T11"/>
                </a:cxn>
              </a:cxnLst>
              <a:rect l="0" t="0" r="r" b="b"/>
              <a:pathLst>
                <a:path w="2427" h="1686">
                  <a:moveTo>
                    <a:pt x="0" y="1686"/>
                  </a:moveTo>
                  <a:lnTo>
                    <a:pt x="0" y="1686"/>
                  </a:lnTo>
                  <a:lnTo>
                    <a:pt x="510" y="1686"/>
                  </a:lnTo>
                  <a:lnTo>
                    <a:pt x="2427" y="355"/>
                  </a:lnTo>
                  <a:lnTo>
                    <a:pt x="2427" y="0"/>
                  </a:lnTo>
                  <a:lnTo>
                    <a:pt x="0" y="168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22" name="Freeform 7"/>
            <p:cNvSpPr>
              <a:spLocks/>
            </p:cNvSpPr>
            <p:nvPr userDrawn="1"/>
          </p:nvSpPr>
          <p:spPr bwMode="gray">
            <a:xfrm>
              <a:off x="7620707" y="5972087"/>
              <a:ext cx="1519238" cy="871538"/>
            </a:xfrm>
            <a:custGeom>
              <a:avLst/>
              <a:gdLst>
                <a:gd name="T0" fmla="*/ 0 w 1589"/>
                <a:gd name="T1" fmla="*/ 912 h 912"/>
                <a:gd name="T2" fmla="*/ 0 w 1589"/>
                <a:gd name="T3" fmla="*/ 912 h 912"/>
                <a:gd name="T4" fmla="*/ 418 w 1589"/>
                <a:gd name="T5" fmla="*/ 912 h 912"/>
                <a:gd name="T6" fmla="*/ 1589 w 1589"/>
                <a:gd name="T7" fmla="*/ 240 h 912"/>
                <a:gd name="T8" fmla="*/ 1589 w 1589"/>
                <a:gd name="T9" fmla="*/ 0 h 912"/>
                <a:gd name="T10" fmla="*/ 0 w 1589"/>
                <a:gd name="T11" fmla="*/ 912 h 912"/>
              </a:gdLst>
              <a:ahLst/>
              <a:cxnLst>
                <a:cxn ang="0">
                  <a:pos x="T0" y="T1"/>
                </a:cxn>
                <a:cxn ang="0">
                  <a:pos x="T2" y="T3"/>
                </a:cxn>
                <a:cxn ang="0">
                  <a:pos x="T4" y="T5"/>
                </a:cxn>
                <a:cxn ang="0">
                  <a:pos x="T6" y="T7"/>
                </a:cxn>
                <a:cxn ang="0">
                  <a:pos x="T8" y="T9"/>
                </a:cxn>
                <a:cxn ang="0">
                  <a:pos x="T10" y="T11"/>
                </a:cxn>
              </a:cxnLst>
              <a:rect l="0" t="0" r="r" b="b"/>
              <a:pathLst>
                <a:path w="1589" h="912">
                  <a:moveTo>
                    <a:pt x="0" y="912"/>
                  </a:moveTo>
                  <a:lnTo>
                    <a:pt x="0" y="912"/>
                  </a:lnTo>
                  <a:lnTo>
                    <a:pt x="418" y="912"/>
                  </a:lnTo>
                  <a:lnTo>
                    <a:pt x="1589" y="240"/>
                  </a:lnTo>
                  <a:lnTo>
                    <a:pt x="1589" y="0"/>
                  </a:lnTo>
                  <a:lnTo>
                    <a:pt x="0" y="91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grpSp>
      <p:sp>
        <p:nvSpPr>
          <p:cNvPr id="7" name="Titre 6"/>
          <p:cNvSpPr>
            <a:spLocks noGrp="1"/>
          </p:cNvSpPr>
          <p:nvPr>
            <p:ph type="title" hasCustomPrompt="1"/>
          </p:nvPr>
        </p:nvSpPr>
        <p:spPr bwMode="gray">
          <a:xfrm>
            <a:off x="503238" y="3331646"/>
            <a:ext cx="8137525" cy="1800000"/>
          </a:xfrm>
        </p:spPr>
        <p:txBody>
          <a:bodyPr/>
          <a:lstStyle>
            <a:lvl1pPr algn="ctr">
              <a:defRPr sz="2500">
                <a:solidFill>
                  <a:schemeClr val="accent1"/>
                </a:solidFill>
              </a:defRPr>
            </a:lvl1pPr>
          </a:lstStyle>
          <a:p>
            <a:r>
              <a:rPr lang="fr-FR"/>
              <a:t>Titre de la présentation</a:t>
            </a:r>
          </a:p>
        </p:txBody>
      </p:sp>
      <p:pic>
        <p:nvPicPr>
          <p:cNvPr id="17" name="Image 16" descr="Logo_groupe_80x70_rvb.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3132000" y="720000"/>
            <a:ext cx="2882900" cy="2514600"/>
          </a:xfrm>
          <a:prstGeom prst="rect">
            <a:avLst/>
          </a:prstGeom>
        </p:spPr>
      </p:pic>
    </p:spTree>
    <p:extLst>
      <p:ext uri="{BB962C8B-B14F-4D97-AF65-F5344CB8AC3E}">
        <p14:creationId xmlns:p14="http://schemas.microsoft.com/office/powerpoint/2010/main" val="32831307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tercalaire / Partie 1">
    <p:bg>
      <p:bgPr>
        <a:blipFill dpi="0" rotWithShape="1">
          <a:blip r:embed="rId3"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75578" y="2491605"/>
            <a:ext cx="4614786" cy="1362075"/>
          </a:xfrm>
        </p:spPr>
        <p:txBody>
          <a:bodyPr anchor="b"/>
          <a:lstStyle>
            <a:lvl1pPr algn="l">
              <a:defRPr sz="4000" b="1" cap="none" baseline="0">
                <a:solidFill>
                  <a:schemeClr val="accent3"/>
                </a:solidFill>
              </a:defRPr>
            </a:lvl1pPr>
          </a:lstStyle>
          <a:p>
            <a:r>
              <a:rPr lang="fr-FR" noProof="0"/>
              <a:t>Intercalaire</a:t>
            </a:r>
          </a:p>
        </p:txBody>
      </p:sp>
      <p:cxnSp>
        <p:nvCxnSpPr>
          <p:cNvPr id="10" name="Connecteur droit 32"/>
          <p:cNvCxnSpPr/>
          <p:nvPr userDrawn="1">
            <p:custDataLst>
              <p:tags r:id="rId1"/>
            </p:custDataLst>
          </p:nvPr>
        </p:nvCxnSpPr>
        <p:spPr>
          <a:xfrm>
            <a:off x="3275579" y="3833633"/>
            <a:ext cx="5868422" cy="0"/>
          </a:xfrm>
          <a:prstGeom prst="line">
            <a:avLst/>
          </a:prstGeom>
          <a:noFill/>
          <a:ln w="9525" cap="flat" cmpd="sng" algn="ctr">
            <a:solidFill>
              <a:srgbClr val="4F81BD">
                <a:lumMod val="75000"/>
              </a:srgbClr>
            </a:solidFill>
            <a:prstDash val="solid"/>
          </a:ln>
          <a:effectLst/>
        </p:spPr>
      </p:cxnSp>
      <p:cxnSp>
        <p:nvCxnSpPr>
          <p:cNvPr id="14" name="Connecteur droit 8"/>
          <p:cNvCxnSpPr/>
          <p:nvPr userDrawn="1"/>
        </p:nvCxnSpPr>
        <p:spPr>
          <a:xfrm>
            <a:off x="807480" y="6519411"/>
            <a:ext cx="0" cy="238496"/>
          </a:xfrm>
          <a:prstGeom prst="line">
            <a:avLst/>
          </a:prstGeom>
          <a:noFill/>
          <a:ln w="9525" cap="flat" cmpd="sng" algn="ctr">
            <a:solidFill>
              <a:srgbClr val="1F497D"/>
            </a:solidFill>
            <a:prstDash val="solid"/>
          </a:ln>
          <a:effectLst/>
        </p:spPr>
      </p:cxnSp>
      <p:cxnSp>
        <p:nvCxnSpPr>
          <p:cNvPr id="15" name="Connecteur droit 10"/>
          <p:cNvCxnSpPr/>
          <p:nvPr userDrawn="1"/>
        </p:nvCxnSpPr>
        <p:spPr>
          <a:xfrm>
            <a:off x="1612496" y="6519411"/>
            <a:ext cx="0" cy="238496"/>
          </a:xfrm>
          <a:prstGeom prst="line">
            <a:avLst/>
          </a:prstGeom>
          <a:noFill/>
          <a:ln w="9525" cap="flat" cmpd="sng" algn="ctr">
            <a:solidFill>
              <a:srgbClr val="1F497D"/>
            </a:solidFill>
            <a:prstDash val="solid"/>
          </a:ln>
          <a:effectLst/>
        </p:spPr>
      </p:cxnSp>
      <p:cxnSp>
        <p:nvCxnSpPr>
          <p:cNvPr id="16" name="Connecteur droit 12"/>
          <p:cNvCxnSpPr/>
          <p:nvPr userDrawn="1"/>
        </p:nvCxnSpPr>
        <p:spPr>
          <a:xfrm>
            <a:off x="8784581" y="6519411"/>
            <a:ext cx="0" cy="238496"/>
          </a:xfrm>
          <a:prstGeom prst="line">
            <a:avLst/>
          </a:prstGeom>
          <a:noFill/>
          <a:ln w="9525" cap="flat" cmpd="sng" algn="ctr">
            <a:solidFill>
              <a:srgbClr val="1F497D"/>
            </a:solidFill>
            <a:prstDash val="solid"/>
          </a:ln>
          <a:effectLst/>
        </p:spPr>
      </p:cxnSp>
      <p:grpSp>
        <p:nvGrpSpPr>
          <p:cNvPr id="7" name="Group 6"/>
          <p:cNvGrpSpPr/>
          <p:nvPr userDrawn="1"/>
        </p:nvGrpSpPr>
        <p:grpSpPr>
          <a:xfrm>
            <a:off x="8036169" y="170645"/>
            <a:ext cx="1023570" cy="586593"/>
            <a:chOff x="3813175" y="1435101"/>
            <a:chExt cx="1368425" cy="723899"/>
          </a:xfrm>
        </p:grpSpPr>
        <p:grpSp>
          <p:nvGrpSpPr>
            <p:cNvPr id="8" name="Group 32"/>
            <p:cNvGrpSpPr/>
            <p:nvPr userDrawn="1"/>
          </p:nvGrpSpPr>
          <p:grpSpPr>
            <a:xfrm>
              <a:off x="3813175" y="1801813"/>
              <a:ext cx="1358900" cy="138112"/>
              <a:chOff x="3813175" y="1801813"/>
              <a:chExt cx="1358900" cy="138112"/>
            </a:xfrm>
          </p:grpSpPr>
          <p:sp>
            <p:nvSpPr>
              <p:cNvPr id="22" name="Freeform 5"/>
              <p:cNvSpPr>
                <a:spLocks/>
              </p:cNvSpPr>
              <p:nvPr userDrawn="1"/>
            </p:nvSpPr>
            <p:spPr bwMode="auto">
              <a:xfrm>
                <a:off x="3813175" y="1801813"/>
                <a:ext cx="103188" cy="138112"/>
              </a:xfrm>
              <a:custGeom>
                <a:avLst/>
                <a:gdLst/>
                <a:ahLst/>
                <a:cxnLst>
                  <a:cxn ang="0">
                    <a:pos x="74" y="20"/>
                  </a:cxn>
                  <a:cxn ang="0">
                    <a:pos x="34" y="79"/>
                  </a:cxn>
                  <a:cxn ang="0">
                    <a:pos x="86" y="152"/>
                  </a:cxn>
                  <a:cxn ang="0">
                    <a:pos x="115" y="142"/>
                  </a:cxn>
                  <a:cxn ang="0">
                    <a:pos x="123" y="138"/>
                  </a:cxn>
                  <a:cxn ang="0">
                    <a:pos x="131" y="146"/>
                  </a:cxn>
                  <a:cxn ang="0">
                    <a:pos x="78" y="177"/>
                  </a:cxn>
                  <a:cxn ang="0">
                    <a:pos x="0" y="87"/>
                  </a:cxn>
                  <a:cxn ang="0">
                    <a:pos x="77" y="0"/>
                  </a:cxn>
                  <a:cxn ang="0">
                    <a:pos x="133" y="35"/>
                  </a:cxn>
                  <a:cxn ang="0">
                    <a:pos x="119" y="49"/>
                  </a:cxn>
                  <a:cxn ang="0">
                    <a:pos x="106" y="42"/>
                  </a:cxn>
                  <a:cxn ang="0">
                    <a:pos x="74" y="20"/>
                  </a:cxn>
                </a:cxnLst>
                <a:rect l="0" t="0" r="r" b="b"/>
                <a:pathLst>
                  <a:path w="133" h="177">
                    <a:moveTo>
                      <a:pt x="74" y="20"/>
                    </a:moveTo>
                    <a:cubicBezTo>
                      <a:pt x="52" y="20"/>
                      <a:pt x="34" y="41"/>
                      <a:pt x="34" y="79"/>
                    </a:cubicBezTo>
                    <a:cubicBezTo>
                      <a:pt x="34" y="126"/>
                      <a:pt x="58" y="152"/>
                      <a:pt x="86" y="152"/>
                    </a:cubicBezTo>
                    <a:cubicBezTo>
                      <a:pt x="101" y="152"/>
                      <a:pt x="111" y="145"/>
                      <a:pt x="115" y="142"/>
                    </a:cubicBezTo>
                    <a:cubicBezTo>
                      <a:pt x="119" y="139"/>
                      <a:pt x="121" y="138"/>
                      <a:pt x="123" y="138"/>
                    </a:cubicBezTo>
                    <a:cubicBezTo>
                      <a:pt x="128" y="138"/>
                      <a:pt x="131" y="141"/>
                      <a:pt x="131" y="146"/>
                    </a:cubicBezTo>
                    <a:cubicBezTo>
                      <a:pt x="131" y="156"/>
                      <a:pt x="112" y="177"/>
                      <a:pt x="78" y="177"/>
                    </a:cubicBezTo>
                    <a:cubicBezTo>
                      <a:pt x="24" y="177"/>
                      <a:pt x="0" y="133"/>
                      <a:pt x="0" y="87"/>
                    </a:cubicBezTo>
                    <a:cubicBezTo>
                      <a:pt x="0" y="39"/>
                      <a:pt x="28" y="0"/>
                      <a:pt x="77" y="0"/>
                    </a:cubicBezTo>
                    <a:cubicBezTo>
                      <a:pt x="112" y="0"/>
                      <a:pt x="133" y="21"/>
                      <a:pt x="133" y="35"/>
                    </a:cubicBezTo>
                    <a:cubicBezTo>
                      <a:pt x="133" y="43"/>
                      <a:pt x="127" y="49"/>
                      <a:pt x="119" y="49"/>
                    </a:cubicBezTo>
                    <a:cubicBezTo>
                      <a:pt x="113" y="49"/>
                      <a:pt x="109" y="46"/>
                      <a:pt x="106" y="42"/>
                    </a:cubicBezTo>
                    <a:cubicBezTo>
                      <a:pt x="99" y="31"/>
                      <a:pt x="92" y="20"/>
                      <a:pt x="74" y="20"/>
                    </a:cubicBezTo>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3" name="Freeform 6"/>
              <p:cNvSpPr>
                <a:spLocks noEditPoints="1"/>
              </p:cNvSpPr>
              <p:nvPr userDrawn="1"/>
            </p:nvSpPr>
            <p:spPr bwMode="auto">
              <a:xfrm>
                <a:off x="3948113" y="1801813"/>
                <a:ext cx="119063" cy="138112"/>
              </a:xfrm>
              <a:custGeom>
                <a:avLst/>
                <a:gdLst/>
                <a:ahLst/>
                <a:cxnLst>
                  <a:cxn ang="0">
                    <a:pos x="108" y="39"/>
                  </a:cxn>
                  <a:cxn ang="0">
                    <a:pos x="76" y="20"/>
                  </a:cxn>
                  <a:cxn ang="0">
                    <a:pos x="58" y="25"/>
                  </a:cxn>
                  <a:cxn ang="0">
                    <a:pos x="34" y="86"/>
                  </a:cxn>
                  <a:cxn ang="0">
                    <a:pos x="36" y="110"/>
                  </a:cxn>
                  <a:cxn ang="0">
                    <a:pos x="77" y="154"/>
                  </a:cxn>
                  <a:cxn ang="0">
                    <a:pos x="110" y="133"/>
                  </a:cxn>
                  <a:cxn ang="0">
                    <a:pos x="119" y="84"/>
                  </a:cxn>
                  <a:cxn ang="0">
                    <a:pos x="108" y="39"/>
                  </a:cxn>
                  <a:cxn ang="0">
                    <a:pos x="77" y="177"/>
                  </a:cxn>
                  <a:cxn ang="0">
                    <a:pos x="0" y="89"/>
                  </a:cxn>
                  <a:cxn ang="0">
                    <a:pos x="77" y="0"/>
                  </a:cxn>
                  <a:cxn ang="0">
                    <a:pos x="153" y="84"/>
                  </a:cxn>
                  <a:cxn ang="0">
                    <a:pos x="77" y="177"/>
                  </a:cxn>
                </a:cxnLst>
                <a:rect l="0" t="0" r="r" b="b"/>
                <a:pathLst>
                  <a:path w="155" h="177">
                    <a:moveTo>
                      <a:pt x="108" y="39"/>
                    </a:moveTo>
                    <a:cubicBezTo>
                      <a:pt x="96" y="21"/>
                      <a:pt x="81" y="20"/>
                      <a:pt x="76" y="20"/>
                    </a:cubicBezTo>
                    <a:cubicBezTo>
                      <a:pt x="70" y="20"/>
                      <a:pt x="64" y="22"/>
                      <a:pt x="58" y="25"/>
                    </a:cubicBezTo>
                    <a:cubicBezTo>
                      <a:pt x="35" y="39"/>
                      <a:pt x="34" y="73"/>
                      <a:pt x="34" y="86"/>
                    </a:cubicBezTo>
                    <a:cubicBezTo>
                      <a:pt x="34" y="96"/>
                      <a:pt x="35" y="103"/>
                      <a:pt x="36" y="110"/>
                    </a:cubicBezTo>
                    <a:cubicBezTo>
                      <a:pt x="43" y="149"/>
                      <a:pt x="67" y="154"/>
                      <a:pt x="77" y="154"/>
                    </a:cubicBezTo>
                    <a:cubicBezTo>
                      <a:pt x="88" y="154"/>
                      <a:pt x="101" y="149"/>
                      <a:pt x="110" y="133"/>
                    </a:cubicBezTo>
                    <a:cubicBezTo>
                      <a:pt x="117" y="119"/>
                      <a:pt x="119" y="101"/>
                      <a:pt x="119" y="84"/>
                    </a:cubicBezTo>
                    <a:cubicBezTo>
                      <a:pt x="119" y="72"/>
                      <a:pt x="117" y="54"/>
                      <a:pt x="108" y="39"/>
                    </a:cubicBezTo>
                    <a:moveTo>
                      <a:pt x="77" y="177"/>
                    </a:moveTo>
                    <a:cubicBezTo>
                      <a:pt x="36" y="177"/>
                      <a:pt x="0" y="147"/>
                      <a:pt x="0" y="89"/>
                    </a:cubicBezTo>
                    <a:cubicBezTo>
                      <a:pt x="0" y="39"/>
                      <a:pt x="28" y="0"/>
                      <a:pt x="77" y="0"/>
                    </a:cubicBezTo>
                    <a:cubicBezTo>
                      <a:pt x="125" y="0"/>
                      <a:pt x="151" y="39"/>
                      <a:pt x="153" y="84"/>
                    </a:cubicBezTo>
                    <a:cubicBezTo>
                      <a:pt x="155" y="138"/>
                      <a:pt x="123" y="177"/>
                      <a:pt x="77" y="177"/>
                    </a:cubicBezTo>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4" name="Freeform 7"/>
              <p:cNvSpPr>
                <a:spLocks/>
              </p:cNvSpPr>
              <p:nvPr userDrawn="1"/>
            </p:nvSpPr>
            <p:spPr bwMode="auto">
              <a:xfrm>
                <a:off x="4108450" y="1804988"/>
                <a:ext cx="103188" cy="131762"/>
              </a:xfrm>
              <a:custGeom>
                <a:avLst/>
                <a:gdLst/>
                <a:ahLst/>
                <a:cxnLst>
                  <a:cxn ang="0">
                    <a:pos x="108" y="111"/>
                  </a:cxn>
                  <a:cxn ang="0">
                    <a:pos x="108" y="5"/>
                  </a:cxn>
                  <a:cxn ang="0">
                    <a:pos x="113" y="0"/>
                  </a:cxn>
                  <a:cxn ang="0">
                    <a:pos x="128" y="0"/>
                  </a:cxn>
                  <a:cxn ang="0">
                    <a:pos x="133" y="5"/>
                  </a:cxn>
                  <a:cxn ang="0">
                    <a:pos x="133" y="164"/>
                  </a:cxn>
                  <a:cxn ang="0">
                    <a:pos x="128" y="169"/>
                  </a:cxn>
                  <a:cxn ang="0">
                    <a:pos x="114" y="169"/>
                  </a:cxn>
                  <a:cxn ang="0">
                    <a:pos x="108" y="164"/>
                  </a:cxn>
                  <a:cxn ang="0">
                    <a:pos x="26" y="48"/>
                  </a:cxn>
                  <a:cxn ang="0">
                    <a:pos x="26" y="164"/>
                  </a:cxn>
                  <a:cxn ang="0">
                    <a:pos x="21" y="169"/>
                  </a:cxn>
                  <a:cxn ang="0">
                    <a:pos x="6" y="169"/>
                  </a:cxn>
                  <a:cxn ang="0">
                    <a:pos x="0" y="164"/>
                  </a:cxn>
                  <a:cxn ang="0">
                    <a:pos x="0" y="5"/>
                  </a:cxn>
                  <a:cxn ang="0">
                    <a:pos x="6" y="0"/>
                  </a:cxn>
                  <a:cxn ang="0">
                    <a:pos x="24" y="0"/>
                  </a:cxn>
                  <a:cxn ang="0">
                    <a:pos x="32" y="4"/>
                  </a:cxn>
                  <a:cxn ang="0">
                    <a:pos x="108" y="111"/>
                  </a:cxn>
                </a:cxnLst>
                <a:rect l="0" t="0" r="r" b="b"/>
                <a:pathLst>
                  <a:path w="133" h="169">
                    <a:moveTo>
                      <a:pt x="108" y="111"/>
                    </a:moveTo>
                    <a:cubicBezTo>
                      <a:pt x="108" y="5"/>
                      <a:pt x="108" y="5"/>
                      <a:pt x="108" y="5"/>
                    </a:cubicBezTo>
                    <a:cubicBezTo>
                      <a:pt x="108" y="1"/>
                      <a:pt x="109" y="0"/>
                      <a:pt x="113" y="0"/>
                    </a:cubicBezTo>
                    <a:cubicBezTo>
                      <a:pt x="128" y="0"/>
                      <a:pt x="128" y="0"/>
                      <a:pt x="128" y="0"/>
                    </a:cubicBezTo>
                    <a:cubicBezTo>
                      <a:pt x="132" y="0"/>
                      <a:pt x="133" y="1"/>
                      <a:pt x="133" y="5"/>
                    </a:cubicBezTo>
                    <a:cubicBezTo>
                      <a:pt x="133" y="164"/>
                      <a:pt x="133" y="164"/>
                      <a:pt x="133" y="164"/>
                    </a:cubicBezTo>
                    <a:cubicBezTo>
                      <a:pt x="133" y="168"/>
                      <a:pt x="131" y="169"/>
                      <a:pt x="128" y="169"/>
                    </a:cubicBezTo>
                    <a:cubicBezTo>
                      <a:pt x="114" y="169"/>
                      <a:pt x="114" y="169"/>
                      <a:pt x="114" y="169"/>
                    </a:cubicBezTo>
                    <a:cubicBezTo>
                      <a:pt x="111" y="169"/>
                      <a:pt x="111" y="168"/>
                      <a:pt x="108" y="164"/>
                    </a:cubicBezTo>
                    <a:cubicBezTo>
                      <a:pt x="26" y="48"/>
                      <a:pt x="26" y="48"/>
                      <a:pt x="26" y="48"/>
                    </a:cubicBezTo>
                    <a:cubicBezTo>
                      <a:pt x="26" y="164"/>
                      <a:pt x="26" y="164"/>
                      <a:pt x="26" y="164"/>
                    </a:cubicBezTo>
                    <a:cubicBezTo>
                      <a:pt x="26" y="168"/>
                      <a:pt x="25" y="169"/>
                      <a:pt x="21" y="169"/>
                    </a:cubicBezTo>
                    <a:cubicBezTo>
                      <a:pt x="6" y="169"/>
                      <a:pt x="6" y="169"/>
                      <a:pt x="6" y="169"/>
                    </a:cubicBezTo>
                    <a:cubicBezTo>
                      <a:pt x="2" y="169"/>
                      <a:pt x="0" y="169"/>
                      <a:pt x="0" y="164"/>
                    </a:cubicBezTo>
                    <a:cubicBezTo>
                      <a:pt x="0" y="5"/>
                      <a:pt x="0" y="5"/>
                      <a:pt x="0" y="5"/>
                    </a:cubicBezTo>
                    <a:cubicBezTo>
                      <a:pt x="0" y="0"/>
                      <a:pt x="2" y="0"/>
                      <a:pt x="6" y="0"/>
                    </a:cubicBezTo>
                    <a:cubicBezTo>
                      <a:pt x="24" y="0"/>
                      <a:pt x="24" y="0"/>
                      <a:pt x="24" y="0"/>
                    </a:cubicBezTo>
                    <a:cubicBezTo>
                      <a:pt x="28" y="0"/>
                      <a:pt x="29" y="0"/>
                      <a:pt x="32" y="4"/>
                    </a:cubicBezTo>
                    <a:lnTo>
                      <a:pt x="108" y="11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5" name="Freeform 8"/>
              <p:cNvSpPr>
                <a:spLocks/>
              </p:cNvSpPr>
              <p:nvPr userDrawn="1"/>
            </p:nvSpPr>
            <p:spPr bwMode="auto">
              <a:xfrm>
                <a:off x="4254500" y="1801813"/>
                <a:ext cx="85725" cy="138112"/>
              </a:xfrm>
              <a:custGeom>
                <a:avLst/>
                <a:gdLst/>
                <a:ahLst/>
                <a:cxnLst>
                  <a:cxn ang="0">
                    <a:pos x="71" y="75"/>
                  </a:cxn>
                  <a:cxn ang="0">
                    <a:pos x="110" y="127"/>
                  </a:cxn>
                  <a:cxn ang="0">
                    <a:pos x="55" y="177"/>
                  </a:cxn>
                  <a:cxn ang="0">
                    <a:pos x="0" y="138"/>
                  </a:cxn>
                  <a:cxn ang="0">
                    <a:pos x="14" y="123"/>
                  </a:cxn>
                  <a:cxn ang="0">
                    <a:pos x="31" y="137"/>
                  </a:cxn>
                  <a:cxn ang="0">
                    <a:pos x="57" y="156"/>
                  </a:cxn>
                  <a:cxn ang="0">
                    <a:pos x="80" y="134"/>
                  </a:cxn>
                  <a:cxn ang="0">
                    <a:pos x="48" y="100"/>
                  </a:cxn>
                  <a:cxn ang="0">
                    <a:pos x="35" y="93"/>
                  </a:cxn>
                  <a:cxn ang="0">
                    <a:pos x="2" y="47"/>
                  </a:cxn>
                  <a:cxn ang="0">
                    <a:pos x="54" y="0"/>
                  </a:cxn>
                  <a:cxn ang="0">
                    <a:pos x="104" y="32"/>
                  </a:cxn>
                  <a:cxn ang="0">
                    <a:pos x="90" y="46"/>
                  </a:cxn>
                  <a:cxn ang="0">
                    <a:pos x="76" y="35"/>
                  </a:cxn>
                  <a:cxn ang="0">
                    <a:pos x="53" y="19"/>
                  </a:cxn>
                  <a:cxn ang="0">
                    <a:pos x="32" y="40"/>
                  </a:cxn>
                  <a:cxn ang="0">
                    <a:pos x="60" y="70"/>
                  </a:cxn>
                  <a:cxn ang="0">
                    <a:pos x="71" y="75"/>
                  </a:cxn>
                </a:cxnLst>
                <a:rect l="0" t="0" r="r" b="b"/>
                <a:pathLst>
                  <a:path w="110" h="177">
                    <a:moveTo>
                      <a:pt x="71" y="75"/>
                    </a:moveTo>
                    <a:cubicBezTo>
                      <a:pt x="87" y="83"/>
                      <a:pt x="110" y="96"/>
                      <a:pt x="110" y="127"/>
                    </a:cubicBezTo>
                    <a:cubicBezTo>
                      <a:pt x="110" y="159"/>
                      <a:pt x="86" y="177"/>
                      <a:pt x="55" y="177"/>
                    </a:cubicBezTo>
                    <a:cubicBezTo>
                      <a:pt x="16" y="177"/>
                      <a:pt x="0" y="151"/>
                      <a:pt x="0" y="138"/>
                    </a:cubicBezTo>
                    <a:cubicBezTo>
                      <a:pt x="0" y="127"/>
                      <a:pt x="8" y="123"/>
                      <a:pt x="14" y="123"/>
                    </a:cubicBezTo>
                    <a:cubicBezTo>
                      <a:pt x="24" y="123"/>
                      <a:pt x="28" y="130"/>
                      <a:pt x="31" y="137"/>
                    </a:cubicBezTo>
                    <a:cubicBezTo>
                      <a:pt x="34" y="143"/>
                      <a:pt x="41" y="156"/>
                      <a:pt x="57" y="156"/>
                    </a:cubicBezTo>
                    <a:cubicBezTo>
                      <a:pt x="70" y="156"/>
                      <a:pt x="80" y="147"/>
                      <a:pt x="80" y="134"/>
                    </a:cubicBezTo>
                    <a:cubicBezTo>
                      <a:pt x="80" y="117"/>
                      <a:pt x="67" y="110"/>
                      <a:pt x="48" y="100"/>
                    </a:cubicBezTo>
                    <a:cubicBezTo>
                      <a:pt x="35" y="93"/>
                      <a:pt x="35" y="93"/>
                      <a:pt x="35" y="93"/>
                    </a:cubicBezTo>
                    <a:cubicBezTo>
                      <a:pt x="26" y="88"/>
                      <a:pt x="2" y="76"/>
                      <a:pt x="2" y="47"/>
                    </a:cubicBezTo>
                    <a:cubicBezTo>
                      <a:pt x="2" y="18"/>
                      <a:pt x="24" y="0"/>
                      <a:pt x="54" y="0"/>
                    </a:cubicBezTo>
                    <a:cubicBezTo>
                      <a:pt x="85" y="0"/>
                      <a:pt x="104" y="18"/>
                      <a:pt x="104" y="32"/>
                    </a:cubicBezTo>
                    <a:cubicBezTo>
                      <a:pt x="104" y="40"/>
                      <a:pt x="98" y="46"/>
                      <a:pt x="90" y="46"/>
                    </a:cubicBezTo>
                    <a:cubicBezTo>
                      <a:pt x="82" y="46"/>
                      <a:pt x="79" y="40"/>
                      <a:pt x="76" y="35"/>
                    </a:cubicBezTo>
                    <a:cubicBezTo>
                      <a:pt x="72" y="29"/>
                      <a:pt x="65" y="19"/>
                      <a:pt x="53" y="19"/>
                    </a:cubicBezTo>
                    <a:cubicBezTo>
                      <a:pt x="40" y="19"/>
                      <a:pt x="32" y="28"/>
                      <a:pt x="32" y="40"/>
                    </a:cubicBezTo>
                    <a:cubicBezTo>
                      <a:pt x="32" y="56"/>
                      <a:pt x="44" y="62"/>
                      <a:pt x="60" y="70"/>
                    </a:cubicBezTo>
                    <a:lnTo>
                      <a:pt x="71" y="75"/>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6" name="Freeform 9"/>
              <p:cNvSpPr>
                <a:spLocks/>
              </p:cNvSpPr>
              <p:nvPr userDrawn="1"/>
            </p:nvSpPr>
            <p:spPr bwMode="auto">
              <a:xfrm>
                <a:off x="4383088" y="1804988"/>
                <a:ext cx="88900" cy="134937"/>
              </a:xfrm>
              <a:custGeom>
                <a:avLst/>
                <a:gdLst/>
                <a:ahLst/>
                <a:cxnLst>
                  <a:cxn ang="0">
                    <a:pos x="116" y="119"/>
                  </a:cxn>
                  <a:cxn ang="0">
                    <a:pos x="111" y="146"/>
                  </a:cxn>
                  <a:cxn ang="0">
                    <a:pos x="58" y="173"/>
                  </a:cxn>
                  <a:cxn ang="0">
                    <a:pos x="5" y="146"/>
                  </a:cxn>
                  <a:cxn ang="0">
                    <a:pos x="0" y="117"/>
                  </a:cxn>
                  <a:cxn ang="0">
                    <a:pos x="0" y="4"/>
                  </a:cxn>
                  <a:cxn ang="0">
                    <a:pos x="4" y="0"/>
                  </a:cxn>
                  <a:cxn ang="0">
                    <a:pos x="28" y="0"/>
                  </a:cxn>
                  <a:cxn ang="0">
                    <a:pos x="33" y="4"/>
                  </a:cxn>
                  <a:cxn ang="0">
                    <a:pos x="33" y="114"/>
                  </a:cxn>
                  <a:cxn ang="0">
                    <a:pos x="62" y="148"/>
                  </a:cxn>
                  <a:cxn ang="0">
                    <a:pos x="90" y="116"/>
                  </a:cxn>
                  <a:cxn ang="0">
                    <a:pos x="90" y="5"/>
                  </a:cxn>
                  <a:cxn ang="0">
                    <a:pos x="95" y="0"/>
                  </a:cxn>
                  <a:cxn ang="0">
                    <a:pos x="111" y="0"/>
                  </a:cxn>
                  <a:cxn ang="0">
                    <a:pos x="116" y="4"/>
                  </a:cxn>
                  <a:cxn ang="0">
                    <a:pos x="116" y="119"/>
                  </a:cxn>
                </a:cxnLst>
                <a:rect l="0" t="0" r="r" b="b"/>
                <a:pathLst>
                  <a:path w="116" h="173">
                    <a:moveTo>
                      <a:pt x="116" y="119"/>
                    </a:moveTo>
                    <a:cubicBezTo>
                      <a:pt x="115" y="127"/>
                      <a:pt x="115" y="136"/>
                      <a:pt x="111" y="146"/>
                    </a:cubicBezTo>
                    <a:cubicBezTo>
                      <a:pt x="109" y="151"/>
                      <a:pt x="98" y="173"/>
                      <a:pt x="58" y="173"/>
                    </a:cubicBezTo>
                    <a:cubicBezTo>
                      <a:pt x="36" y="173"/>
                      <a:pt x="14" y="166"/>
                      <a:pt x="5" y="146"/>
                    </a:cubicBezTo>
                    <a:cubicBezTo>
                      <a:pt x="1" y="137"/>
                      <a:pt x="0" y="127"/>
                      <a:pt x="0" y="117"/>
                    </a:cubicBezTo>
                    <a:cubicBezTo>
                      <a:pt x="0" y="4"/>
                      <a:pt x="0" y="4"/>
                      <a:pt x="0" y="4"/>
                    </a:cubicBezTo>
                    <a:cubicBezTo>
                      <a:pt x="0" y="0"/>
                      <a:pt x="1" y="0"/>
                      <a:pt x="4" y="0"/>
                    </a:cubicBezTo>
                    <a:cubicBezTo>
                      <a:pt x="28" y="0"/>
                      <a:pt x="28" y="0"/>
                      <a:pt x="28" y="0"/>
                    </a:cubicBezTo>
                    <a:cubicBezTo>
                      <a:pt x="32" y="0"/>
                      <a:pt x="33" y="0"/>
                      <a:pt x="33" y="4"/>
                    </a:cubicBezTo>
                    <a:cubicBezTo>
                      <a:pt x="33" y="114"/>
                      <a:pt x="33" y="114"/>
                      <a:pt x="33" y="114"/>
                    </a:cubicBezTo>
                    <a:cubicBezTo>
                      <a:pt x="33" y="124"/>
                      <a:pt x="34" y="148"/>
                      <a:pt x="62" y="148"/>
                    </a:cubicBezTo>
                    <a:cubicBezTo>
                      <a:pt x="90" y="148"/>
                      <a:pt x="90" y="123"/>
                      <a:pt x="90" y="116"/>
                    </a:cubicBezTo>
                    <a:cubicBezTo>
                      <a:pt x="90" y="5"/>
                      <a:pt x="90" y="5"/>
                      <a:pt x="90" y="5"/>
                    </a:cubicBezTo>
                    <a:cubicBezTo>
                      <a:pt x="90" y="1"/>
                      <a:pt x="91" y="0"/>
                      <a:pt x="95" y="0"/>
                    </a:cubicBezTo>
                    <a:cubicBezTo>
                      <a:pt x="111" y="0"/>
                      <a:pt x="111" y="0"/>
                      <a:pt x="111" y="0"/>
                    </a:cubicBezTo>
                    <a:cubicBezTo>
                      <a:pt x="114" y="0"/>
                      <a:pt x="116" y="0"/>
                      <a:pt x="116" y="4"/>
                    </a:cubicBezTo>
                    <a:lnTo>
                      <a:pt x="116" y="119"/>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7" name="Freeform 10"/>
              <p:cNvSpPr>
                <a:spLocks/>
              </p:cNvSpPr>
              <p:nvPr userDrawn="1"/>
            </p:nvSpPr>
            <p:spPr bwMode="auto">
              <a:xfrm>
                <a:off x="4521200" y="1804988"/>
                <a:ext cx="71438" cy="131762"/>
              </a:xfrm>
              <a:custGeom>
                <a:avLst/>
                <a:gdLst/>
                <a:ahLst/>
                <a:cxnLst>
                  <a:cxn ang="0">
                    <a:pos x="32" y="147"/>
                  </a:cxn>
                  <a:cxn ang="0">
                    <a:pos x="87" y="147"/>
                  </a:cxn>
                  <a:cxn ang="0">
                    <a:pos x="92" y="152"/>
                  </a:cxn>
                  <a:cxn ang="0">
                    <a:pos x="92" y="164"/>
                  </a:cxn>
                  <a:cxn ang="0">
                    <a:pos x="87" y="169"/>
                  </a:cxn>
                  <a:cxn ang="0">
                    <a:pos x="5" y="169"/>
                  </a:cxn>
                  <a:cxn ang="0">
                    <a:pos x="0" y="164"/>
                  </a:cxn>
                  <a:cxn ang="0">
                    <a:pos x="0" y="5"/>
                  </a:cxn>
                  <a:cxn ang="0">
                    <a:pos x="5" y="0"/>
                  </a:cxn>
                  <a:cxn ang="0">
                    <a:pos x="27" y="0"/>
                  </a:cxn>
                  <a:cxn ang="0">
                    <a:pos x="32" y="5"/>
                  </a:cxn>
                  <a:cxn ang="0">
                    <a:pos x="32" y="147"/>
                  </a:cxn>
                </a:cxnLst>
                <a:rect l="0" t="0" r="r" b="b"/>
                <a:pathLst>
                  <a:path w="92" h="169">
                    <a:moveTo>
                      <a:pt x="32" y="147"/>
                    </a:moveTo>
                    <a:cubicBezTo>
                      <a:pt x="87" y="147"/>
                      <a:pt x="87" y="147"/>
                      <a:pt x="87" y="147"/>
                    </a:cubicBezTo>
                    <a:cubicBezTo>
                      <a:pt x="91" y="147"/>
                      <a:pt x="92" y="148"/>
                      <a:pt x="92" y="152"/>
                    </a:cubicBezTo>
                    <a:cubicBezTo>
                      <a:pt x="92" y="164"/>
                      <a:pt x="92" y="164"/>
                      <a:pt x="92" y="164"/>
                    </a:cubicBezTo>
                    <a:cubicBezTo>
                      <a:pt x="92" y="168"/>
                      <a:pt x="91" y="169"/>
                      <a:pt x="87" y="169"/>
                    </a:cubicBezTo>
                    <a:cubicBezTo>
                      <a:pt x="5" y="169"/>
                      <a:pt x="5" y="169"/>
                      <a:pt x="5" y="169"/>
                    </a:cubicBezTo>
                    <a:cubicBezTo>
                      <a:pt x="2" y="169"/>
                      <a:pt x="0" y="169"/>
                      <a:pt x="0" y="164"/>
                    </a:cubicBezTo>
                    <a:cubicBezTo>
                      <a:pt x="0" y="5"/>
                      <a:pt x="0" y="5"/>
                      <a:pt x="0" y="5"/>
                    </a:cubicBezTo>
                    <a:cubicBezTo>
                      <a:pt x="0" y="1"/>
                      <a:pt x="1" y="0"/>
                      <a:pt x="5" y="0"/>
                    </a:cubicBezTo>
                    <a:cubicBezTo>
                      <a:pt x="27" y="0"/>
                      <a:pt x="27" y="0"/>
                      <a:pt x="27" y="0"/>
                    </a:cubicBezTo>
                    <a:cubicBezTo>
                      <a:pt x="31" y="0"/>
                      <a:pt x="32" y="1"/>
                      <a:pt x="32" y="5"/>
                    </a:cubicBezTo>
                    <a:lnTo>
                      <a:pt x="32" y="147"/>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8" name="Freeform 11"/>
              <p:cNvSpPr>
                <a:spLocks/>
              </p:cNvSpPr>
              <p:nvPr userDrawn="1"/>
            </p:nvSpPr>
            <p:spPr bwMode="auto">
              <a:xfrm>
                <a:off x="4595813" y="1804988"/>
                <a:ext cx="90488" cy="131762"/>
              </a:xfrm>
              <a:custGeom>
                <a:avLst/>
                <a:gdLst/>
                <a:ahLst/>
                <a:cxnLst>
                  <a:cxn ang="0">
                    <a:pos x="74" y="21"/>
                  </a:cxn>
                  <a:cxn ang="0">
                    <a:pos x="74" y="163"/>
                  </a:cxn>
                  <a:cxn ang="0">
                    <a:pos x="69" y="169"/>
                  </a:cxn>
                  <a:cxn ang="0">
                    <a:pos x="47" y="169"/>
                  </a:cxn>
                  <a:cxn ang="0">
                    <a:pos x="41" y="163"/>
                  </a:cxn>
                  <a:cxn ang="0">
                    <a:pos x="41" y="21"/>
                  </a:cxn>
                  <a:cxn ang="0">
                    <a:pos x="5" y="21"/>
                  </a:cxn>
                  <a:cxn ang="0">
                    <a:pos x="0" y="16"/>
                  </a:cxn>
                  <a:cxn ang="0">
                    <a:pos x="0" y="5"/>
                  </a:cxn>
                  <a:cxn ang="0">
                    <a:pos x="5" y="0"/>
                  </a:cxn>
                  <a:cxn ang="0">
                    <a:pos x="110" y="0"/>
                  </a:cxn>
                  <a:cxn ang="0">
                    <a:pos x="116" y="4"/>
                  </a:cxn>
                  <a:cxn ang="0">
                    <a:pos x="116" y="16"/>
                  </a:cxn>
                  <a:cxn ang="0">
                    <a:pos x="110" y="21"/>
                  </a:cxn>
                  <a:cxn ang="0">
                    <a:pos x="74" y="21"/>
                  </a:cxn>
                </a:cxnLst>
                <a:rect l="0" t="0" r="r" b="b"/>
                <a:pathLst>
                  <a:path w="116" h="169">
                    <a:moveTo>
                      <a:pt x="74" y="21"/>
                    </a:moveTo>
                    <a:cubicBezTo>
                      <a:pt x="74" y="163"/>
                      <a:pt x="74" y="163"/>
                      <a:pt x="74" y="163"/>
                    </a:cubicBezTo>
                    <a:cubicBezTo>
                      <a:pt x="74" y="167"/>
                      <a:pt x="73" y="169"/>
                      <a:pt x="69" y="169"/>
                    </a:cubicBezTo>
                    <a:cubicBezTo>
                      <a:pt x="47" y="169"/>
                      <a:pt x="47" y="169"/>
                      <a:pt x="47" y="169"/>
                    </a:cubicBezTo>
                    <a:cubicBezTo>
                      <a:pt x="43" y="169"/>
                      <a:pt x="41" y="168"/>
                      <a:pt x="41" y="163"/>
                    </a:cubicBezTo>
                    <a:cubicBezTo>
                      <a:pt x="41" y="21"/>
                      <a:pt x="41" y="21"/>
                      <a:pt x="41" y="21"/>
                    </a:cubicBezTo>
                    <a:cubicBezTo>
                      <a:pt x="5" y="21"/>
                      <a:pt x="5" y="21"/>
                      <a:pt x="5" y="21"/>
                    </a:cubicBezTo>
                    <a:cubicBezTo>
                      <a:pt x="1" y="21"/>
                      <a:pt x="0" y="20"/>
                      <a:pt x="0" y="16"/>
                    </a:cubicBezTo>
                    <a:cubicBezTo>
                      <a:pt x="0" y="5"/>
                      <a:pt x="0" y="5"/>
                      <a:pt x="0" y="5"/>
                    </a:cubicBezTo>
                    <a:cubicBezTo>
                      <a:pt x="0" y="0"/>
                      <a:pt x="2" y="0"/>
                      <a:pt x="5" y="0"/>
                    </a:cubicBezTo>
                    <a:cubicBezTo>
                      <a:pt x="110" y="0"/>
                      <a:pt x="110" y="0"/>
                      <a:pt x="110" y="0"/>
                    </a:cubicBezTo>
                    <a:cubicBezTo>
                      <a:pt x="114" y="0"/>
                      <a:pt x="116" y="0"/>
                      <a:pt x="116" y="4"/>
                    </a:cubicBezTo>
                    <a:cubicBezTo>
                      <a:pt x="116" y="16"/>
                      <a:pt x="116" y="16"/>
                      <a:pt x="116" y="16"/>
                    </a:cubicBezTo>
                    <a:cubicBezTo>
                      <a:pt x="116" y="20"/>
                      <a:pt x="115" y="21"/>
                      <a:pt x="110" y="21"/>
                    </a:cubicBezTo>
                    <a:lnTo>
                      <a:pt x="74" y="2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9" name="Freeform 12"/>
              <p:cNvSpPr>
                <a:spLocks noEditPoints="1"/>
              </p:cNvSpPr>
              <p:nvPr userDrawn="1"/>
            </p:nvSpPr>
            <p:spPr bwMode="auto">
              <a:xfrm>
                <a:off x="4689475" y="1804988"/>
                <a:ext cx="112713" cy="131762"/>
              </a:xfrm>
              <a:custGeom>
                <a:avLst/>
                <a:gdLst/>
                <a:ahLst/>
                <a:cxnLst>
                  <a:cxn ang="0">
                    <a:pos x="87" y="98"/>
                  </a:cxn>
                  <a:cxn ang="0">
                    <a:pos x="68" y="43"/>
                  </a:cxn>
                  <a:cxn ang="0">
                    <a:pos x="50" y="98"/>
                  </a:cxn>
                  <a:cxn ang="0">
                    <a:pos x="87" y="98"/>
                  </a:cxn>
                  <a:cxn ang="0">
                    <a:pos x="93" y="116"/>
                  </a:cxn>
                  <a:cxn ang="0">
                    <a:pos x="44" y="116"/>
                  </a:cxn>
                  <a:cxn ang="0">
                    <a:pos x="27" y="164"/>
                  </a:cxn>
                  <a:cxn ang="0">
                    <a:pos x="21" y="169"/>
                  </a:cxn>
                  <a:cxn ang="0">
                    <a:pos x="5" y="169"/>
                  </a:cxn>
                  <a:cxn ang="0">
                    <a:pos x="0" y="166"/>
                  </a:cxn>
                  <a:cxn ang="0">
                    <a:pos x="2" y="161"/>
                  </a:cxn>
                  <a:cxn ang="0">
                    <a:pos x="60" y="4"/>
                  </a:cxn>
                  <a:cxn ang="0">
                    <a:pos x="66" y="0"/>
                  </a:cxn>
                  <a:cxn ang="0">
                    <a:pos x="80" y="0"/>
                  </a:cxn>
                  <a:cxn ang="0">
                    <a:pos x="86" y="3"/>
                  </a:cxn>
                  <a:cxn ang="0">
                    <a:pos x="144" y="163"/>
                  </a:cxn>
                  <a:cxn ang="0">
                    <a:pos x="145" y="166"/>
                  </a:cxn>
                  <a:cxn ang="0">
                    <a:pos x="141" y="169"/>
                  </a:cxn>
                  <a:cxn ang="0">
                    <a:pos x="117" y="169"/>
                  </a:cxn>
                  <a:cxn ang="0">
                    <a:pos x="110" y="165"/>
                  </a:cxn>
                  <a:cxn ang="0">
                    <a:pos x="93" y="116"/>
                  </a:cxn>
                </a:cxnLst>
                <a:rect l="0" t="0" r="r" b="b"/>
                <a:pathLst>
                  <a:path w="145" h="169">
                    <a:moveTo>
                      <a:pt x="87" y="98"/>
                    </a:moveTo>
                    <a:cubicBezTo>
                      <a:pt x="68" y="43"/>
                      <a:pt x="68" y="43"/>
                      <a:pt x="68" y="43"/>
                    </a:cubicBezTo>
                    <a:cubicBezTo>
                      <a:pt x="50" y="98"/>
                      <a:pt x="50" y="98"/>
                      <a:pt x="50" y="98"/>
                    </a:cubicBezTo>
                    <a:lnTo>
                      <a:pt x="87" y="98"/>
                    </a:lnTo>
                    <a:close/>
                    <a:moveTo>
                      <a:pt x="93" y="116"/>
                    </a:moveTo>
                    <a:cubicBezTo>
                      <a:pt x="44" y="116"/>
                      <a:pt x="44" y="116"/>
                      <a:pt x="44" y="116"/>
                    </a:cubicBezTo>
                    <a:cubicBezTo>
                      <a:pt x="27" y="164"/>
                      <a:pt x="27" y="164"/>
                      <a:pt x="27" y="164"/>
                    </a:cubicBezTo>
                    <a:cubicBezTo>
                      <a:pt x="26" y="168"/>
                      <a:pt x="25" y="169"/>
                      <a:pt x="21" y="169"/>
                    </a:cubicBezTo>
                    <a:cubicBezTo>
                      <a:pt x="5" y="169"/>
                      <a:pt x="5" y="169"/>
                      <a:pt x="5" y="169"/>
                    </a:cubicBezTo>
                    <a:cubicBezTo>
                      <a:pt x="3" y="169"/>
                      <a:pt x="0" y="169"/>
                      <a:pt x="0" y="166"/>
                    </a:cubicBezTo>
                    <a:cubicBezTo>
                      <a:pt x="0" y="165"/>
                      <a:pt x="2" y="162"/>
                      <a:pt x="2" y="161"/>
                    </a:cubicBezTo>
                    <a:cubicBezTo>
                      <a:pt x="60" y="4"/>
                      <a:pt x="60" y="4"/>
                      <a:pt x="60" y="4"/>
                    </a:cubicBezTo>
                    <a:cubicBezTo>
                      <a:pt x="62" y="1"/>
                      <a:pt x="62" y="0"/>
                      <a:pt x="66" y="0"/>
                    </a:cubicBezTo>
                    <a:cubicBezTo>
                      <a:pt x="80" y="0"/>
                      <a:pt x="80" y="0"/>
                      <a:pt x="80" y="0"/>
                    </a:cubicBezTo>
                    <a:cubicBezTo>
                      <a:pt x="84" y="0"/>
                      <a:pt x="84" y="0"/>
                      <a:pt x="86" y="3"/>
                    </a:cubicBezTo>
                    <a:cubicBezTo>
                      <a:pt x="144" y="163"/>
                      <a:pt x="144" y="163"/>
                      <a:pt x="144" y="163"/>
                    </a:cubicBezTo>
                    <a:cubicBezTo>
                      <a:pt x="145" y="164"/>
                      <a:pt x="145" y="165"/>
                      <a:pt x="145" y="166"/>
                    </a:cubicBezTo>
                    <a:cubicBezTo>
                      <a:pt x="145" y="169"/>
                      <a:pt x="143" y="169"/>
                      <a:pt x="141" y="169"/>
                    </a:cubicBezTo>
                    <a:cubicBezTo>
                      <a:pt x="117" y="169"/>
                      <a:pt x="117" y="169"/>
                      <a:pt x="117" y="169"/>
                    </a:cubicBezTo>
                    <a:cubicBezTo>
                      <a:pt x="113" y="169"/>
                      <a:pt x="112" y="169"/>
                      <a:pt x="110" y="165"/>
                    </a:cubicBezTo>
                    <a:lnTo>
                      <a:pt x="93" y="116"/>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0" name="Freeform 13"/>
              <p:cNvSpPr>
                <a:spLocks/>
              </p:cNvSpPr>
              <p:nvPr userDrawn="1"/>
            </p:nvSpPr>
            <p:spPr bwMode="auto">
              <a:xfrm>
                <a:off x="4833938" y="1804988"/>
                <a:ext cx="103188" cy="131762"/>
              </a:xfrm>
              <a:custGeom>
                <a:avLst/>
                <a:gdLst/>
                <a:ahLst/>
                <a:cxnLst>
                  <a:cxn ang="0">
                    <a:pos x="108" y="111"/>
                  </a:cxn>
                  <a:cxn ang="0">
                    <a:pos x="108" y="5"/>
                  </a:cxn>
                  <a:cxn ang="0">
                    <a:pos x="113" y="0"/>
                  </a:cxn>
                  <a:cxn ang="0">
                    <a:pos x="128" y="0"/>
                  </a:cxn>
                  <a:cxn ang="0">
                    <a:pos x="133" y="5"/>
                  </a:cxn>
                  <a:cxn ang="0">
                    <a:pos x="133" y="164"/>
                  </a:cxn>
                  <a:cxn ang="0">
                    <a:pos x="128" y="169"/>
                  </a:cxn>
                  <a:cxn ang="0">
                    <a:pos x="114" y="169"/>
                  </a:cxn>
                  <a:cxn ang="0">
                    <a:pos x="108" y="164"/>
                  </a:cxn>
                  <a:cxn ang="0">
                    <a:pos x="26" y="48"/>
                  </a:cxn>
                  <a:cxn ang="0">
                    <a:pos x="26" y="164"/>
                  </a:cxn>
                  <a:cxn ang="0">
                    <a:pos x="21" y="169"/>
                  </a:cxn>
                  <a:cxn ang="0">
                    <a:pos x="6" y="169"/>
                  </a:cxn>
                  <a:cxn ang="0">
                    <a:pos x="0" y="164"/>
                  </a:cxn>
                  <a:cxn ang="0">
                    <a:pos x="0" y="5"/>
                  </a:cxn>
                  <a:cxn ang="0">
                    <a:pos x="6" y="0"/>
                  </a:cxn>
                  <a:cxn ang="0">
                    <a:pos x="24" y="0"/>
                  </a:cxn>
                  <a:cxn ang="0">
                    <a:pos x="32" y="4"/>
                  </a:cxn>
                  <a:cxn ang="0">
                    <a:pos x="108" y="111"/>
                  </a:cxn>
                </a:cxnLst>
                <a:rect l="0" t="0" r="r" b="b"/>
                <a:pathLst>
                  <a:path w="133" h="169">
                    <a:moveTo>
                      <a:pt x="108" y="111"/>
                    </a:moveTo>
                    <a:cubicBezTo>
                      <a:pt x="108" y="5"/>
                      <a:pt x="108" y="5"/>
                      <a:pt x="108" y="5"/>
                    </a:cubicBezTo>
                    <a:cubicBezTo>
                      <a:pt x="108" y="1"/>
                      <a:pt x="109" y="0"/>
                      <a:pt x="113" y="0"/>
                    </a:cubicBezTo>
                    <a:cubicBezTo>
                      <a:pt x="128" y="0"/>
                      <a:pt x="128" y="0"/>
                      <a:pt x="128" y="0"/>
                    </a:cubicBezTo>
                    <a:cubicBezTo>
                      <a:pt x="132" y="0"/>
                      <a:pt x="133" y="1"/>
                      <a:pt x="133" y="5"/>
                    </a:cubicBezTo>
                    <a:cubicBezTo>
                      <a:pt x="133" y="164"/>
                      <a:pt x="133" y="164"/>
                      <a:pt x="133" y="164"/>
                    </a:cubicBezTo>
                    <a:cubicBezTo>
                      <a:pt x="133" y="168"/>
                      <a:pt x="131" y="169"/>
                      <a:pt x="128" y="169"/>
                    </a:cubicBezTo>
                    <a:cubicBezTo>
                      <a:pt x="114" y="169"/>
                      <a:pt x="114" y="169"/>
                      <a:pt x="114" y="169"/>
                    </a:cubicBezTo>
                    <a:cubicBezTo>
                      <a:pt x="111" y="169"/>
                      <a:pt x="111" y="168"/>
                      <a:pt x="108" y="164"/>
                    </a:cubicBezTo>
                    <a:cubicBezTo>
                      <a:pt x="26" y="48"/>
                      <a:pt x="26" y="48"/>
                      <a:pt x="26" y="48"/>
                    </a:cubicBezTo>
                    <a:cubicBezTo>
                      <a:pt x="26" y="164"/>
                      <a:pt x="26" y="164"/>
                      <a:pt x="26" y="164"/>
                    </a:cubicBezTo>
                    <a:cubicBezTo>
                      <a:pt x="26" y="168"/>
                      <a:pt x="25" y="169"/>
                      <a:pt x="21" y="169"/>
                    </a:cubicBezTo>
                    <a:cubicBezTo>
                      <a:pt x="6" y="169"/>
                      <a:pt x="6" y="169"/>
                      <a:pt x="6" y="169"/>
                    </a:cubicBezTo>
                    <a:cubicBezTo>
                      <a:pt x="2" y="169"/>
                      <a:pt x="0" y="169"/>
                      <a:pt x="0" y="164"/>
                    </a:cubicBezTo>
                    <a:cubicBezTo>
                      <a:pt x="0" y="5"/>
                      <a:pt x="0" y="5"/>
                      <a:pt x="0" y="5"/>
                    </a:cubicBezTo>
                    <a:cubicBezTo>
                      <a:pt x="0" y="0"/>
                      <a:pt x="2" y="0"/>
                      <a:pt x="6" y="0"/>
                    </a:cubicBezTo>
                    <a:cubicBezTo>
                      <a:pt x="24" y="0"/>
                      <a:pt x="24" y="0"/>
                      <a:pt x="24" y="0"/>
                    </a:cubicBezTo>
                    <a:cubicBezTo>
                      <a:pt x="28" y="0"/>
                      <a:pt x="29" y="0"/>
                      <a:pt x="32" y="4"/>
                    </a:cubicBezTo>
                    <a:lnTo>
                      <a:pt x="108" y="11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1" name="Freeform 14"/>
              <p:cNvSpPr>
                <a:spLocks/>
              </p:cNvSpPr>
              <p:nvPr userDrawn="1"/>
            </p:nvSpPr>
            <p:spPr bwMode="auto">
              <a:xfrm>
                <a:off x="4970463" y="1804988"/>
                <a:ext cx="88900" cy="131762"/>
              </a:xfrm>
              <a:custGeom>
                <a:avLst/>
                <a:gdLst/>
                <a:ahLst/>
                <a:cxnLst>
                  <a:cxn ang="0">
                    <a:pos x="74" y="21"/>
                  </a:cxn>
                  <a:cxn ang="0">
                    <a:pos x="74" y="163"/>
                  </a:cxn>
                  <a:cxn ang="0">
                    <a:pos x="69" y="169"/>
                  </a:cxn>
                  <a:cxn ang="0">
                    <a:pos x="48" y="169"/>
                  </a:cxn>
                  <a:cxn ang="0">
                    <a:pos x="42" y="163"/>
                  </a:cxn>
                  <a:cxn ang="0">
                    <a:pos x="42" y="21"/>
                  </a:cxn>
                  <a:cxn ang="0">
                    <a:pos x="6" y="21"/>
                  </a:cxn>
                  <a:cxn ang="0">
                    <a:pos x="0" y="16"/>
                  </a:cxn>
                  <a:cxn ang="0">
                    <a:pos x="0" y="5"/>
                  </a:cxn>
                  <a:cxn ang="0">
                    <a:pos x="6" y="0"/>
                  </a:cxn>
                  <a:cxn ang="0">
                    <a:pos x="111" y="0"/>
                  </a:cxn>
                  <a:cxn ang="0">
                    <a:pos x="116" y="4"/>
                  </a:cxn>
                  <a:cxn ang="0">
                    <a:pos x="116" y="16"/>
                  </a:cxn>
                  <a:cxn ang="0">
                    <a:pos x="111" y="21"/>
                  </a:cxn>
                  <a:cxn ang="0">
                    <a:pos x="74" y="21"/>
                  </a:cxn>
                </a:cxnLst>
                <a:rect l="0" t="0" r="r" b="b"/>
                <a:pathLst>
                  <a:path w="116" h="169">
                    <a:moveTo>
                      <a:pt x="74" y="21"/>
                    </a:moveTo>
                    <a:cubicBezTo>
                      <a:pt x="74" y="163"/>
                      <a:pt x="74" y="163"/>
                      <a:pt x="74" y="163"/>
                    </a:cubicBezTo>
                    <a:cubicBezTo>
                      <a:pt x="74" y="167"/>
                      <a:pt x="74" y="169"/>
                      <a:pt x="69" y="169"/>
                    </a:cubicBezTo>
                    <a:cubicBezTo>
                      <a:pt x="48" y="169"/>
                      <a:pt x="48" y="169"/>
                      <a:pt x="48" y="169"/>
                    </a:cubicBezTo>
                    <a:cubicBezTo>
                      <a:pt x="43" y="169"/>
                      <a:pt x="42" y="168"/>
                      <a:pt x="42" y="163"/>
                    </a:cubicBezTo>
                    <a:cubicBezTo>
                      <a:pt x="42" y="21"/>
                      <a:pt x="42" y="21"/>
                      <a:pt x="42" y="21"/>
                    </a:cubicBezTo>
                    <a:cubicBezTo>
                      <a:pt x="6" y="21"/>
                      <a:pt x="6" y="21"/>
                      <a:pt x="6" y="21"/>
                    </a:cubicBezTo>
                    <a:cubicBezTo>
                      <a:pt x="1" y="21"/>
                      <a:pt x="0" y="20"/>
                      <a:pt x="0" y="16"/>
                    </a:cubicBezTo>
                    <a:cubicBezTo>
                      <a:pt x="0" y="5"/>
                      <a:pt x="0" y="5"/>
                      <a:pt x="0" y="5"/>
                    </a:cubicBezTo>
                    <a:cubicBezTo>
                      <a:pt x="0" y="0"/>
                      <a:pt x="2" y="0"/>
                      <a:pt x="6" y="0"/>
                    </a:cubicBezTo>
                    <a:cubicBezTo>
                      <a:pt x="111" y="0"/>
                      <a:pt x="111" y="0"/>
                      <a:pt x="111" y="0"/>
                    </a:cubicBezTo>
                    <a:cubicBezTo>
                      <a:pt x="114" y="0"/>
                      <a:pt x="116" y="0"/>
                      <a:pt x="116" y="4"/>
                    </a:cubicBezTo>
                    <a:cubicBezTo>
                      <a:pt x="116" y="16"/>
                      <a:pt x="116" y="16"/>
                      <a:pt x="116" y="16"/>
                    </a:cubicBezTo>
                    <a:cubicBezTo>
                      <a:pt x="116" y="20"/>
                      <a:pt x="115" y="21"/>
                      <a:pt x="111" y="21"/>
                    </a:cubicBezTo>
                    <a:lnTo>
                      <a:pt x="74" y="2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2" name="Freeform 15"/>
              <p:cNvSpPr>
                <a:spLocks/>
              </p:cNvSpPr>
              <p:nvPr userDrawn="1"/>
            </p:nvSpPr>
            <p:spPr bwMode="auto">
              <a:xfrm>
                <a:off x="5086350" y="1801813"/>
                <a:ext cx="85725" cy="138112"/>
              </a:xfrm>
              <a:custGeom>
                <a:avLst/>
                <a:gdLst/>
                <a:ahLst/>
                <a:cxnLst>
                  <a:cxn ang="0">
                    <a:pos x="71" y="75"/>
                  </a:cxn>
                  <a:cxn ang="0">
                    <a:pos x="110" y="127"/>
                  </a:cxn>
                  <a:cxn ang="0">
                    <a:pos x="55" y="177"/>
                  </a:cxn>
                  <a:cxn ang="0">
                    <a:pos x="0" y="138"/>
                  </a:cxn>
                  <a:cxn ang="0">
                    <a:pos x="14" y="123"/>
                  </a:cxn>
                  <a:cxn ang="0">
                    <a:pos x="31" y="137"/>
                  </a:cxn>
                  <a:cxn ang="0">
                    <a:pos x="57" y="156"/>
                  </a:cxn>
                  <a:cxn ang="0">
                    <a:pos x="79" y="134"/>
                  </a:cxn>
                  <a:cxn ang="0">
                    <a:pos x="48" y="100"/>
                  </a:cxn>
                  <a:cxn ang="0">
                    <a:pos x="34" y="93"/>
                  </a:cxn>
                  <a:cxn ang="0">
                    <a:pos x="2" y="47"/>
                  </a:cxn>
                  <a:cxn ang="0">
                    <a:pos x="53" y="0"/>
                  </a:cxn>
                  <a:cxn ang="0">
                    <a:pos x="104" y="32"/>
                  </a:cxn>
                  <a:cxn ang="0">
                    <a:pos x="90" y="46"/>
                  </a:cxn>
                  <a:cxn ang="0">
                    <a:pos x="75" y="35"/>
                  </a:cxn>
                  <a:cxn ang="0">
                    <a:pos x="52" y="19"/>
                  </a:cxn>
                  <a:cxn ang="0">
                    <a:pos x="31" y="40"/>
                  </a:cxn>
                  <a:cxn ang="0">
                    <a:pos x="60" y="70"/>
                  </a:cxn>
                  <a:cxn ang="0">
                    <a:pos x="71" y="75"/>
                  </a:cxn>
                </a:cxnLst>
                <a:rect l="0" t="0" r="r" b="b"/>
                <a:pathLst>
                  <a:path w="110" h="177">
                    <a:moveTo>
                      <a:pt x="71" y="75"/>
                    </a:moveTo>
                    <a:cubicBezTo>
                      <a:pt x="86" y="83"/>
                      <a:pt x="110" y="96"/>
                      <a:pt x="110" y="127"/>
                    </a:cubicBezTo>
                    <a:cubicBezTo>
                      <a:pt x="110" y="159"/>
                      <a:pt x="86" y="177"/>
                      <a:pt x="55" y="177"/>
                    </a:cubicBezTo>
                    <a:cubicBezTo>
                      <a:pt x="16" y="177"/>
                      <a:pt x="0" y="151"/>
                      <a:pt x="0" y="138"/>
                    </a:cubicBezTo>
                    <a:cubicBezTo>
                      <a:pt x="0" y="127"/>
                      <a:pt x="8" y="123"/>
                      <a:pt x="14" y="123"/>
                    </a:cubicBezTo>
                    <a:cubicBezTo>
                      <a:pt x="23" y="123"/>
                      <a:pt x="27" y="130"/>
                      <a:pt x="31" y="137"/>
                    </a:cubicBezTo>
                    <a:cubicBezTo>
                      <a:pt x="34" y="143"/>
                      <a:pt x="41" y="156"/>
                      <a:pt x="57" y="156"/>
                    </a:cubicBezTo>
                    <a:cubicBezTo>
                      <a:pt x="70" y="156"/>
                      <a:pt x="79" y="147"/>
                      <a:pt x="79" y="134"/>
                    </a:cubicBezTo>
                    <a:cubicBezTo>
                      <a:pt x="79" y="117"/>
                      <a:pt x="67" y="110"/>
                      <a:pt x="48" y="100"/>
                    </a:cubicBezTo>
                    <a:cubicBezTo>
                      <a:pt x="34" y="93"/>
                      <a:pt x="34" y="93"/>
                      <a:pt x="34" y="93"/>
                    </a:cubicBezTo>
                    <a:cubicBezTo>
                      <a:pt x="25" y="88"/>
                      <a:pt x="2" y="76"/>
                      <a:pt x="2" y="47"/>
                    </a:cubicBezTo>
                    <a:cubicBezTo>
                      <a:pt x="2" y="18"/>
                      <a:pt x="23" y="0"/>
                      <a:pt x="53" y="0"/>
                    </a:cubicBezTo>
                    <a:cubicBezTo>
                      <a:pt x="85" y="0"/>
                      <a:pt x="104" y="18"/>
                      <a:pt x="104" y="32"/>
                    </a:cubicBezTo>
                    <a:cubicBezTo>
                      <a:pt x="104" y="40"/>
                      <a:pt x="98" y="46"/>
                      <a:pt x="90" y="46"/>
                    </a:cubicBezTo>
                    <a:cubicBezTo>
                      <a:pt x="82" y="46"/>
                      <a:pt x="79" y="40"/>
                      <a:pt x="75" y="35"/>
                    </a:cubicBezTo>
                    <a:cubicBezTo>
                      <a:pt x="71" y="29"/>
                      <a:pt x="65" y="19"/>
                      <a:pt x="52" y="19"/>
                    </a:cubicBezTo>
                    <a:cubicBezTo>
                      <a:pt x="40" y="19"/>
                      <a:pt x="31" y="28"/>
                      <a:pt x="31" y="40"/>
                    </a:cubicBezTo>
                    <a:cubicBezTo>
                      <a:pt x="31" y="56"/>
                      <a:pt x="44" y="62"/>
                      <a:pt x="60" y="70"/>
                    </a:cubicBezTo>
                    <a:lnTo>
                      <a:pt x="71" y="75"/>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sp>
          <p:nvSpPr>
            <p:cNvPr id="9" name="Rectangle 16"/>
            <p:cNvSpPr>
              <a:spLocks noChangeArrowheads="1"/>
            </p:cNvSpPr>
            <p:nvPr userDrawn="1"/>
          </p:nvSpPr>
          <p:spPr bwMode="auto">
            <a:xfrm>
              <a:off x="3813175" y="1984375"/>
              <a:ext cx="1368425" cy="9525"/>
            </a:xfrm>
            <a:prstGeom prst="rect">
              <a:avLst/>
            </a:prstGeom>
            <a:solidFill>
              <a:srgbClr val="225696"/>
            </a:solidFill>
            <a:ln w="9525">
              <a:noFill/>
              <a:miter lim="800000"/>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nvGrpSpPr>
            <p:cNvPr id="11" name="Group 31"/>
            <p:cNvGrpSpPr/>
            <p:nvPr userDrawn="1"/>
          </p:nvGrpSpPr>
          <p:grpSpPr>
            <a:xfrm>
              <a:off x="3813175" y="1435101"/>
              <a:ext cx="1358901" cy="317499"/>
              <a:chOff x="3813175" y="1435101"/>
              <a:chExt cx="1358901" cy="317499"/>
            </a:xfrm>
          </p:grpSpPr>
          <p:sp>
            <p:nvSpPr>
              <p:cNvPr id="18" name="Freeform 17"/>
              <p:cNvSpPr>
                <a:spLocks/>
              </p:cNvSpPr>
              <p:nvPr userDrawn="1"/>
            </p:nvSpPr>
            <p:spPr bwMode="auto">
              <a:xfrm>
                <a:off x="4551363" y="1452563"/>
                <a:ext cx="285750" cy="300037"/>
              </a:xfrm>
              <a:custGeom>
                <a:avLst/>
                <a:gdLst/>
                <a:ahLst/>
                <a:cxnLst>
                  <a:cxn ang="0">
                    <a:pos x="54" y="0"/>
                  </a:cxn>
                  <a:cxn ang="0">
                    <a:pos x="201" y="207"/>
                  </a:cxn>
                  <a:cxn ang="0">
                    <a:pos x="330" y="0"/>
                  </a:cxn>
                  <a:cxn ang="0">
                    <a:pos x="368" y="38"/>
                  </a:cxn>
                  <a:cxn ang="0">
                    <a:pos x="228" y="314"/>
                  </a:cxn>
                  <a:cxn ang="0">
                    <a:pos x="51" y="387"/>
                  </a:cxn>
                  <a:cxn ang="0">
                    <a:pos x="0" y="357"/>
                  </a:cxn>
                  <a:cxn ang="0">
                    <a:pos x="55" y="325"/>
                  </a:cxn>
                  <a:cxn ang="0">
                    <a:pos x="170" y="272"/>
                  </a:cxn>
                  <a:cxn ang="0">
                    <a:pos x="20" y="50"/>
                  </a:cxn>
                  <a:cxn ang="0">
                    <a:pos x="54" y="0"/>
                  </a:cxn>
                </a:cxnLst>
                <a:rect l="0" t="0" r="r" b="b"/>
                <a:pathLst>
                  <a:path w="368" h="387">
                    <a:moveTo>
                      <a:pt x="54" y="0"/>
                    </a:moveTo>
                    <a:cubicBezTo>
                      <a:pt x="99" y="0"/>
                      <a:pt x="96" y="207"/>
                      <a:pt x="201" y="207"/>
                    </a:cubicBezTo>
                    <a:cubicBezTo>
                      <a:pt x="296" y="207"/>
                      <a:pt x="280" y="0"/>
                      <a:pt x="330" y="0"/>
                    </a:cubicBezTo>
                    <a:cubicBezTo>
                      <a:pt x="368" y="0"/>
                      <a:pt x="368" y="28"/>
                      <a:pt x="368" y="38"/>
                    </a:cubicBezTo>
                    <a:cubicBezTo>
                      <a:pt x="368" y="48"/>
                      <a:pt x="332" y="235"/>
                      <a:pt x="228" y="314"/>
                    </a:cubicBezTo>
                    <a:cubicBezTo>
                      <a:pt x="147" y="376"/>
                      <a:pt x="81" y="387"/>
                      <a:pt x="51" y="387"/>
                    </a:cubicBezTo>
                    <a:cubicBezTo>
                      <a:pt x="21" y="387"/>
                      <a:pt x="0" y="376"/>
                      <a:pt x="0" y="357"/>
                    </a:cubicBezTo>
                    <a:cubicBezTo>
                      <a:pt x="0" y="339"/>
                      <a:pt x="21" y="328"/>
                      <a:pt x="55" y="325"/>
                    </a:cubicBezTo>
                    <a:cubicBezTo>
                      <a:pt x="95" y="322"/>
                      <a:pt x="170" y="287"/>
                      <a:pt x="170" y="272"/>
                    </a:cubicBezTo>
                    <a:cubicBezTo>
                      <a:pt x="74" y="272"/>
                      <a:pt x="22" y="64"/>
                      <a:pt x="20" y="50"/>
                    </a:cubicBezTo>
                    <a:cubicBezTo>
                      <a:pt x="16" y="11"/>
                      <a:pt x="32" y="0"/>
                      <a:pt x="54" y="0"/>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19" name="Freeform 18"/>
              <p:cNvSpPr>
                <a:spLocks/>
              </p:cNvSpPr>
              <p:nvPr userDrawn="1"/>
            </p:nvSpPr>
            <p:spPr bwMode="auto">
              <a:xfrm>
                <a:off x="4189413" y="1444625"/>
                <a:ext cx="309563" cy="233362"/>
              </a:xfrm>
              <a:custGeom>
                <a:avLst/>
                <a:gdLst/>
                <a:ahLst/>
                <a:cxnLst>
                  <a:cxn ang="0">
                    <a:pos x="371" y="251"/>
                  </a:cxn>
                  <a:cxn ang="0">
                    <a:pos x="258" y="158"/>
                  </a:cxn>
                  <a:cxn ang="0">
                    <a:pos x="361" y="48"/>
                  </a:cxn>
                  <a:cxn ang="0">
                    <a:pos x="384" y="19"/>
                  </a:cxn>
                  <a:cxn ang="0">
                    <a:pos x="349" y="2"/>
                  </a:cxn>
                  <a:cxn ang="0">
                    <a:pos x="200" y="91"/>
                  </a:cxn>
                  <a:cxn ang="0">
                    <a:pos x="51" y="2"/>
                  </a:cxn>
                  <a:cxn ang="0">
                    <a:pos x="16" y="19"/>
                  </a:cxn>
                  <a:cxn ang="0">
                    <a:pos x="39" y="48"/>
                  </a:cxn>
                  <a:cxn ang="0">
                    <a:pos x="142" y="158"/>
                  </a:cxn>
                  <a:cxn ang="0">
                    <a:pos x="29" y="251"/>
                  </a:cxn>
                  <a:cxn ang="0">
                    <a:pos x="4" y="280"/>
                  </a:cxn>
                  <a:cxn ang="0">
                    <a:pos x="41" y="298"/>
                  </a:cxn>
                  <a:cxn ang="0">
                    <a:pos x="200" y="218"/>
                  </a:cxn>
                  <a:cxn ang="0">
                    <a:pos x="359" y="298"/>
                  </a:cxn>
                  <a:cxn ang="0">
                    <a:pos x="396" y="280"/>
                  </a:cxn>
                  <a:cxn ang="0">
                    <a:pos x="371" y="251"/>
                  </a:cxn>
                </a:cxnLst>
                <a:rect l="0" t="0" r="r" b="b"/>
                <a:pathLst>
                  <a:path w="399" h="300">
                    <a:moveTo>
                      <a:pt x="371" y="251"/>
                    </a:moveTo>
                    <a:cubicBezTo>
                      <a:pt x="370" y="251"/>
                      <a:pt x="258" y="225"/>
                      <a:pt x="258" y="158"/>
                    </a:cubicBezTo>
                    <a:cubicBezTo>
                      <a:pt x="258" y="79"/>
                      <a:pt x="360" y="48"/>
                      <a:pt x="361" y="48"/>
                    </a:cubicBezTo>
                    <a:cubicBezTo>
                      <a:pt x="373" y="44"/>
                      <a:pt x="387" y="31"/>
                      <a:pt x="384" y="19"/>
                    </a:cubicBezTo>
                    <a:cubicBezTo>
                      <a:pt x="379" y="2"/>
                      <a:pt x="365" y="0"/>
                      <a:pt x="349" y="2"/>
                    </a:cubicBezTo>
                    <a:cubicBezTo>
                      <a:pt x="345" y="2"/>
                      <a:pt x="247" y="26"/>
                      <a:pt x="200" y="91"/>
                    </a:cubicBezTo>
                    <a:cubicBezTo>
                      <a:pt x="152" y="26"/>
                      <a:pt x="55" y="3"/>
                      <a:pt x="51" y="2"/>
                    </a:cubicBezTo>
                    <a:cubicBezTo>
                      <a:pt x="39" y="0"/>
                      <a:pt x="19" y="6"/>
                      <a:pt x="16" y="19"/>
                    </a:cubicBezTo>
                    <a:cubicBezTo>
                      <a:pt x="12" y="31"/>
                      <a:pt x="27" y="44"/>
                      <a:pt x="39" y="48"/>
                    </a:cubicBezTo>
                    <a:cubicBezTo>
                      <a:pt x="40" y="48"/>
                      <a:pt x="142" y="79"/>
                      <a:pt x="142" y="158"/>
                    </a:cubicBezTo>
                    <a:cubicBezTo>
                      <a:pt x="142" y="225"/>
                      <a:pt x="30" y="251"/>
                      <a:pt x="29" y="251"/>
                    </a:cubicBezTo>
                    <a:cubicBezTo>
                      <a:pt x="16" y="254"/>
                      <a:pt x="0" y="267"/>
                      <a:pt x="4" y="280"/>
                    </a:cubicBezTo>
                    <a:cubicBezTo>
                      <a:pt x="7" y="293"/>
                      <a:pt x="26" y="300"/>
                      <a:pt x="41" y="298"/>
                    </a:cubicBezTo>
                    <a:cubicBezTo>
                      <a:pt x="45" y="297"/>
                      <a:pt x="152" y="277"/>
                      <a:pt x="200" y="218"/>
                    </a:cubicBezTo>
                    <a:cubicBezTo>
                      <a:pt x="248" y="277"/>
                      <a:pt x="355" y="297"/>
                      <a:pt x="359" y="298"/>
                    </a:cubicBezTo>
                    <a:cubicBezTo>
                      <a:pt x="374" y="300"/>
                      <a:pt x="392" y="297"/>
                      <a:pt x="396" y="280"/>
                    </a:cubicBezTo>
                    <a:cubicBezTo>
                      <a:pt x="399" y="267"/>
                      <a:pt x="384" y="254"/>
                      <a:pt x="371" y="251"/>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0" name="Freeform 19"/>
              <p:cNvSpPr>
                <a:spLocks/>
              </p:cNvSpPr>
              <p:nvPr userDrawn="1"/>
            </p:nvSpPr>
            <p:spPr bwMode="auto">
              <a:xfrm>
                <a:off x="4887913" y="1435101"/>
                <a:ext cx="284163" cy="265112"/>
              </a:xfrm>
              <a:custGeom>
                <a:avLst/>
                <a:gdLst/>
                <a:ahLst/>
                <a:cxnLst>
                  <a:cxn ang="0">
                    <a:pos x="208" y="143"/>
                  </a:cxn>
                  <a:cxn ang="0">
                    <a:pos x="200" y="142"/>
                  </a:cxn>
                  <a:cxn ang="0">
                    <a:pos x="105" y="105"/>
                  </a:cxn>
                  <a:cxn ang="0">
                    <a:pos x="115" y="84"/>
                  </a:cxn>
                  <a:cxn ang="0">
                    <a:pos x="295" y="87"/>
                  </a:cxn>
                  <a:cxn ang="0">
                    <a:pos x="333" y="70"/>
                  </a:cxn>
                  <a:cxn ang="0">
                    <a:pos x="305" y="35"/>
                  </a:cxn>
                  <a:cxn ang="0">
                    <a:pos x="62" y="46"/>
                  </a:cxn>
                  <a:cxn ang="0">
                    <a:pos x="34" y="104"/>
                  </a:cxn>
                  <a:cxn ang="0">
                    <a:pos x="170" y="194"/>
                  </a:cxn>
                  <a:cxn ang="0">
                    <a:pos x="296" y="231"/>
                  </a:cxn>
                  <a:cxn ang="0">
                    <a:pos x="285" y="249"/>
                  </a:cxn>
                  <a:cxn ang="0">
                    <a:pos x="45" y="236"/>
                  </a:cxn>
                  <a:cxn ang="0">
                    <a:pos x="2" y="248"/>
                  </a:cxn>
                  <a:cxn ang="0">
                    <a:pos x="2" y="265"/>
                  </a:cxn>
                  <a:cxn ang="0">
                    <a:pos x="23" y="287"/>
                  </a:cxn>
                  <a:cxn ang="0">
                    <a:pos x="331" y="294"/>
                  </a:cxn>
                  <a:cxn ang="0">
                    <a:pos x="367" y="231"/>
                  </a:cxn>
                  <a:cxn ang="0">
                    <a:pos x="208" y="143"/>
                  </a:cxn>
                </a:cxnLst>
                <a:rect l="0" t="0" r="r" b="b"/>
                <a:pathLst>
                  <a:path w="367" h="342">
                    <a:moveTo>
                      <a:pt x="208" y="143"/>
                    </a:moveTo>
                    <a:cubicBezTo>
                      <a:pt x="200" y="142"/>
                      <a:pt x="200" y="142"/>
                      <a:pt x="200" y="142"/>
                    </a:cubicBezTo>
                    <a:cubicBezTo>
                      <a:pt x="177" y="139"/>
                      <a:pt x="105" y="130"/>
                      <a:pt x="105" y="105"/>
                    </a:cubicBezTo>
                    <a:cubicBezTo>
                      <a:pt x="105" y="96"/>
                      <a:pt x="108" y="89"/>
                      <a:pt x="115" y="84"/>
                    </a:cubicBezTo>
                    <a:cubicBezTo>
                      <a:pt x="148" y="57"/>
                      <a:pt x="252" y="77"/>
                      <a:pt x="295" y="87"/>
                    </a:cubicBezTo>
                    <a:cubicBezTo>
                      <a:pt x="311" y="90"/>
                      <a:pt x="330" y="86"/>
                      <a:pt x="333" y="70"/>
                    </a:cubicBezTo>
                    <a:cubicBezTo>
                      <a:pt x="337" y="54"/>
                      <a:pt x="320" y="39"/>
                      <a:pt x="305" y="35"/>
                    </a:cubicBezTo>
                    <a:cubicBezTo>
                      <a:pt x="258" y="23"/>
                      <a:pt x="121" y="0"/>
                      <a:pt x="62" y="46"/>
                    </a:cubicBezTo>
                    <a:cubicBezTo>
                      <a:pt x="43" y="60"/>
                      <a:pt x="34" y="79"/>
                      <a:pt x="34" y="104"/>
                    </a:cubicBezTo>
                    <a:cubicBezTo>
                      <a:pt x="34" y="162"/>
                      <a:pt x="88" y="182"/>
                      <a:pt x="170" y="194"/>
                    </a:cubicBezTo>
                    <a:cubicBezTo>
                      <a:pt x="237" y="204"/>
                      <a:pt x="296" y="212"/>
                      <a:pt x="296" y="231"/>
                    </a:cubicBezTo>
                    <a:cubicBezTo>
                      <a:pt x="296" y="238"/>
                      <a:pt x="292" y="244"/>
                      <a:pt x="285" y="249"/>
                    </a:cubicBezTo>
                    <a:cubicBezTo>
                      <a:pt x="241" y="277"/>
                      <a:pt x="94" y="257"/>
                      <a:pt x="45" y="236"/>
                    </a:cubicBezTo>
                    <a:cubicBezTo>
                      <a:pt x="30" y="230"/>
                      <a:pt x="9" y="233"/>
                      <a:pt x="2" y="248"/>
                    </a:cubicBezTo>
                    <a:cubicBezTo>
                      <a:pt x="0" y="253"/>
                      <a:pt x="0" y="259"/>
                      <a:pt x="2" y="265"/>
                    </a:cubicBezTo>
                    <a:cubicBezTo>
                      <a:pt x="5" y="274"/>
                      <a:pt x="14" y="283"/>
                      <a:pt x="23" y="287"/>
                    </a:cubicBezTo>
                    <a:cubicBezTo>
                      <a:pt x="78" y="313"/>
                      <a:pt x="256" y="342"/>
                      <a:pt x="331" y="294"/>
                    </a:cubicBezTo>
                    <a:cubicBezTo>
                      <a:pt x="355" y="279"/>
                      <a:pt x="367" y="258"/>
                      <a:pt x="367" y="231"/>
                    </a:cubicBezTo>
                    <a:cubicBezTo>
                      <a:pt x="367" y="162"/>
                      <a:pt x="293" y="153"/>
                      <a:pt x="208" y="143"/>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1" name="Freeform 20"/>
              <p:cNvSpPr>
                <a:spLocks noEditPoints="1"/>
              </p:cNvSpPr>
              <p:nvPr userDrawn="1"/>
            </p:nvSpPr>
            <p:spPr bwMode="auto">
              <a:xfrm>
                <a:off x="3813175" y="1441451"/>
                <a:ext cx="341313" cy="234950"/>
              </a:xfrm>
              <a:custGeom>
                <a:avLst/>
                <a:gdLst/>
                <a:ahLst/>
                <a:cxnLst>
                  <a:cxn ang="0">
                    <a:pos x="286" y="219"/>
                  </a:cxn>
                  <a:cxn ang="0">
                    <a:pos x="222" y="258"/>
                  </a:cxn>
                  <a:cxn ang="0">
                    <a:pos x="103" y="208"/>
                  </a:cxn>
                  <a:cxn ang="0">
                    <a:pos x="163" y="165"/>
                  </a:cxn>
                  <a:cxn ang="0">
                    <a:pos x="163" y="165"/>
                  </a:cxn>
                  <a:cxn ang="0">
                    <a:pos x="287" y="155"/>
                  </a:cxn>
                  <a:cxn ang="0">
                    <a:pos x="286" y="219"/>
                  </a:cxn>
                  <a:cxn ang="0">
                    <a:pos x="282" y="112"/>
                  </a:cxn>
                  <a:cxn ang="0">
                    <a:pos x="143" y="117"/>
                  </a:cxn>
                  <a:cxn ang="0">
                    <a:pos x="0" y="211"/>
                  </a:cxn>
                  <a:cxn ang="0">
                    <a:pos x="35" y="270"/>
                  </a:cxn>
                  <a:cxn ang="0">
                    <a:pos x="186" y="304"/>
                  </a:cxn>
                  <a:cxn ang="0">
                    <a:pos x="287" y="290"/>
                  </a:cxn>
                  <a:cxn ang="0">
                    <a:pos x="335" y="275"/>
                  </a:cxn>
                  <a:cxn ang="0">
                    <a:pos x="398" y="304"/>
                  </a:cxn>
                  <a:cxn ang="0">
                    <a:pos x="395" y="246"/>
                  </a:cxn>
                  <a:cxn ang="0">
                    <a:pos x="388" y="157"/>
                  </a:cxn>
                  <a:cxn ang="0">
                    <a:pos x="312" y="21"/>
                  </a:cxn>
                  <a:cxn ang="0">
                    <a:pos x="186" y="1"/>
                  </a:cxn>
                  <a:cxn ang="0">
                    <a:pos x="34" y="42"/>
                  </a:cxn>
                  <a:cxn ang="0">
                    <a:pos x="55" y="79"/>
                  </a:cxn>
                  <a:cxn ang="0">
                    <a:pos x="195" y="47"/>
                  </a:cxn>
                  <a:cxn ang="0">
                    <a:pos x="282" y="112"/>
                  </a:cxn>
                </a:cxnLst>
                <a:rect l="0" t="0" r="r" b="b"/>
                <a:pathLst>
                  <a:path w="440" h="304">
                    <a:moveTo>
                      <a:pt x="286" y="219"/>
                    </a:moveTo>
                    <a:cubicBezTo>
                      <a:pt x="279" y="241"/>
                      <a:pt x="260" y="258"/>
                      <a:pt x="222" y="258"/>
                    </a:cubicBezTo>
                    <a:cubicBezTo>
                      <a:pt x="164" y="258"/>
                      <a:pt x="103" y="236"/>
                      <a:pt x="103" y="208"/>
                    </a:cubicBezTo>
                    <a:cubicBezTo>
                      <a:pt x="103" y="190"/>
                      <a:pt x="129" y="174"/>
                      <a:pt x="163" y="165"/>
                    </a:cubicBezTo>
                    <a:cubicBezTo>
                      <a:pt x="163" y="165"/>
                      <a:pt x="163" y="165"/>
                      <a:pt x="163" y="165"/>
                    </a:cubicBezTo>
                    <a:cubicBezTo>
                      <a:pt x="163" y="165"/>
                      <a:pt x="221" y="150"/>
                      <a:pt x="287" y="155"/>
                    </a:cubicBezTo>
                    <a:cubicBezTo>
                      <a:pt x="291" y="169"/>
                      <a:pt x="292" y="200"/>
                      <a:pt x="286" y="219"/>
                    </a:cubicBezTo>
                    <a:moveTo>
                      <a:pt x="282" y="112"/>
                    </a:moveTo>
                    <a:cubicBezTo>
                      <a:pt x="265" y="111"/>
                      <a:pt x="189" y="111"/>
                      <a:pt x="143" y="117"/>
                    </a:cubicBezTo>
                    <a:cubicBezTo>
                      <a:pt x="35" y="133"/>
                      <a:pt x="0" y="175"/>
                      <a:pt x="0" y="211"/>
                    </a:cubicBezTo>
                    <a:cubicBezTo>
                      <a:pt x="0" y="233"/>
                      <a:pt x="11" y="256"/>
                      <a:pt x="35" y="270"/>
                    </a:cubicBezTo>
                    <a:cubicBezTo>
                      <a:pt x="67" y="290"/>
                      <a:pt x="120" y="304"/>
                      <a:pt x="186" y="304"/>
                    </a:cubicBezTo>
                    <a:cubicBezTo>
                      <a:pt x="222" y="304"/>
                      <a:pt x="257" y="300"/>
                      <a:pt x="287" y="290"/>
                    </a:cubicBezTo>
                    <a:cubicBezTo>
                      <a:pt x="287" y="290"/>
                      <a:pt x="327" y="275"/>
                      <a:pt x="335" y="275"/>
                    </a:cubicBezTo>
                    <a:cubicBezTo>
                      <a:pt x="360" y="275"/>
                      <a:pt x="354" y="304"/>
                      <a:pt x="398" y="304"/>
                    </a:cubicBezTo>
                    <a:cubicBezTo>
                      <a:pt x="440" y="304"/>
                      <a:pt x="402" y="272"/>
                      <a:pt x="395" y="246"/>
                    </a:cubicBezTo>
                    <a:cubicBezTo>
                      <a:pt x="388" y="218"/>
                      <a:pt x="389" y="173"/>
                      <a:pt x="388" y="157"/>
                    </a:cubicBezTo>
                    <a:cubicBezTo>
                      <a:pt x="385" y="98"/>
                      <a:pt x="366" y="48"/>
                      <a:pt x="312" y="21"/>
                    </a:cubicBezTo>
                    <a:cubicBezTo>
                      <a:pt x="279" y="5"/>
                      <a:pt x="244" y="0"/>
                      <a:pt x="186" y="1"/>
                    </a:cubicBezTo>
                    <a:cubicBezTo>
                      <a:pt x="139" y="2"/>
                      <a:pt x="67" y="22"/>
                      <a:pt x="34" y="42"/>
                    </a:cubicBezTo>
                    <a:cubicBezTo>
                      <a:pt x="6" y="60"/>
                      <a:pt x="26" y="91"/>
                      <a:pt x="55" y="79"/>
                    </a:cubicBezTo>
                    <a:cubicBezTo>
                      <a:pt x="108" y="56"/>
                      <a:pt x="141" y="46"/>
                      <a:pt x="195" y="47"/>
                    </a:cubicBezTo>
                    <a:cubicBezTo>
                      <a:pt x="234" y="48"/>
                      <a:pt x="273" y="57"/>
                      <a:pt x="282" y="112"/>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grpSp>
          <p:nvGrpSpPr>
            <p:cNvPr id="12" name="Group 33"/>
            <p:cNvGrpSpPr/>
            <p:nvPr userDrawn="1"/>
          </p:nvGrpSpPr>
          <p:grpSpPr>
            <a:xfrm>
              <a:off x="3825875" y="2044700"/>
              <a:ext cx="1347788" cy="114300"/>
              <a:chOff x="3825875" y="2044700"/>
              <a:chExt cx="1347788" cy="114300"/>
            </a:xfrm>
          </p:grpSpPr>
          <p:sp>
            <p:nvSpPr>
              <p:cNvPr id="13" name="Freeform 21"/>
              <p:cNvSpPr>
                <a:spLocks noEditPoints="1"/>
              </p:cNvSpPr>
              <p:nvPr userDrawn="1"/>
            </p:nvSpPr>
            <p:spPr bwMode="auto">
              <a:xfrm>
                <a:off x="3825875" y="2044700"/>
                <a:ext cx="1347788" cy="114300"/>
              </a:xfrm>
              <a:custGeom>
                <a:avLst/>
                <a:gdLst/>
                <a:ahLst/>
                <a:cxnLst>
                  <a:cxn ang="0">
                    <a:pos x="1726" y="117"/>
                  </a:cxn>
                  <a:cxn ang="0">
                    <a:pos x="1670" y="43"/>
                  </a:cxn>
                  <a:cxn ang="0">
                    <a:pos x="1648" y="17"/>
                  </a:cxn>
                  <a:cxn ang="0">
                    <a:pos x="1557" y="60"/>
                  </a:cxn>
                  <a:cxn ang="0">
                    <a:pos x="1605" y="92"/>
                  </a:cxn>
                  <a:cxn ang="0">
                    <a:pos x="1547" y="57"/>
                  </a:cxn>
                  <a:cxn ang="0">
                    <a:pos x="1615" y="95"/>
                  </a:cxn>
                  <a:cxn ang="0">
                    <a:pos x="1526" y="5"/>
                  </a:cxn>
                  <a:cxn ang="0">
                    <a:pos x="1448" y="114"/>
                  </a:cxn>
                  <a:cxn ang="0">
                    <a:pos x="1430" y="69"/>
                  </a:cxn>
                  <a:cxn ang="0">
                    <a:pos x="1456" y="44"/>
                  </a:cxn>
                  <a:cxn ang="0">
                    <a:pos x="1411" y="46"/>
                  </a:cxn>
                  <a:cxn ang="0">
                    <a:pos x="1435" y="83"/>
                  </a:cxn>
                  <a:cxn ang="0">
                    <a:pos x="1431" y="111"/>
                  </a:cxn>
                  <a:cxn ang="0">
                    <a:pos x="1369" y="110"/>
                  </a:cxn>
                  <a:cxn ang="0">
                    <a:pos x="1332" y="109"/>
                  </a:cxn>
                  <a:cxn ang="0">
                    <a:pos x="1304" y="5"/>
                  </a:cxn>
                  <a:cxn ang="0">
                    <a:pos x="1261" y="63"/>
                  </a:cxn>
                  <a:cxn ang="0">
                    <a:pos x="1218" y="44"/>
                  </a:cxn>
                  <a:cxn ang="0">
                    <a:pos x="1271" y="60"/>
                  </a:cxn>
                  <a:cxn ang="0">
                    <a:pos x="1218" y="114"/>
                  </a:cxn>
                  <a:cxn ang="0">
                    <a:pos x="1155" y="36"/>
                  </a:cxn>
                  <a:cxn ang="0">
                    <a:pos x="1059" y="43"/>
                  </a:cxn>
                  <a:cxn ang="0">
                    <a:pos x="1060" y="111"/>
                  </a:cxn>
                  <a:cxn ang="0">
                    <a:pos x="1059" y="36"/>
                  </a:cxn>
                  <a:cxn ang="0">
                    <a:pos x="1060" y="118"/>
                  </a:cxn>
                  <a:cxn ang="0">
                    <a:pos x="1007" y="5"/>
                  </a:cxn>
                  <a:cxn ang="0">
                    <a:pos x="930" y="107"/>
                  </a:cxn>
                  <a:cxn ang="0">
                    <a:pos x="930" y="107"/>
                  </a:cxn>
                  <a:cxn ang="0">
                    <a:pos x="885" y="78"/>
                  </a:cxn>
                  <a:cxn ang="0">
                    <a:pos x="913" y="36"/>
                  </a:cxn>
                  <a:cxn ang="0">
                    <a:pos x="842" y="34"/>
                  </a:cxn>
                  <a:cxn ang="0">
                    <a:pos x="768" y="61"/>
                  </a:cxn>
                  <a:cxn ang="0">
                    <a:pos x="801" y="37"/>
                  </a:cxn>
                  <a:cxn ang="0">
                    <a:pos x="778" y="116"/>
                  </a:cxn>
                  <a:cxn ang="0">
                    <a:pos x="643" y="117"/>
                  </a:cxn>
                  <a:cxn ang="0">
                    <a:pos x="700" y="75"/>
                  </a:cxn>
                  <a:cxn ang="0">
                    <a:pos x="564" y="109"/>
                  </a:cxn>
                  <a:cxn ang="0">
                    <a:pos x="588" y="45"/>
                  </a:cxn>
                  <a:cxn ang="0">
                    <a:pos x="564" y="109"/>
                  </a:cxn>
                  <a:cxn ang="0">
                    <a:pos x="559" y="116"/>
                  </a:cxn>
                  <a:cxn ang="0">
                    <a:pos x="592" y="38"/>
                  </a:cxn>
                  <a:cxn ang="0">
                    <a:pos x="522" y="17"/>
                  </a:cxn>
                  <a:cxn ang="0">
                    <a:pos x="467" y="45"/>
                  </a:cxn>
                  <a:cxn ang="0">
                    <a:pos x="496" y="110"/>
                  </a:cxn>
                  <a:cxn ang="0">
                    <a:pos x="477" y="45"/>
                  </a:cxn>
                  <a:cxn ang="0">
                    <a:pos x="440" y="37"/>
                  </a:cxn>
                  <a:cxn ang="0">
                    <a:pos x="353" y="47"/>
                  </a:cxn>
                  <a:cxn ang="0">
                    <a:pos x="392" y="102"/>
                  </a:cxn>
                  <a:cxn ang="0">
                    <a:pos x="354" y="118"/>
                  </a:cxn>
                  <a:cxn ang="0">
                    <a:pos x="392" y="38"/>
                  </a:cxn>
                  <a:cxn ang="0">
                    <a:pos x="212" y="47"/>
                  </a:cxn>
                  <a:cxn ang="0">
                    <a:pos x="267" y="117"/>
                  </a:cxn>
                  <a:cxn ang="0">
                    <a:pos x="309" y="60"/>
                  </a:cxn>
                  <a:cxn ang="0">
                    <a:pos x="289" y="36"/>
                  </a:cxn>
                  <a:cxn ang="0">
                    <a:pos x="201" y="117"/>
                  </a:cxn>
                  <a:cxn ang="0">
                    <a:pos x="169" y="76"/>
                  </a:cxn>
                  <a:cxn ang="0">
                    <a:pos x="143" y="71"/>
                  </a:cxn>
                  <a:cxn ang="0">
                    <a:pos x="173" y="42"/>
                  </a:cxn>
                  <a:cxn ang="0">
                    <a:pos x="89" y="0"/>
                  </a:cxn>
                  <a:cxn ang="0">
                    <a:pos x="70" y="117"/>
                  </a:cxn>
                </a:cxnLst>
                <a:rect l="0" t="0" r="r" b="b"/>
                <a:pathLst>
                  <a:path w="1737" h="148">
                    <a:moveTo>
                      <a:pt x="1670" y="117"/>
                    </a:moveTo>
                    <a:cubicBezTo>
                      <a:pt x="1680" y="117"/>
                      <a:pt x="1680" y="117"/>
                      <a:pt x="1680" y="117"/>
                    </a:cubicBezTo>
                    <a:cubicBezTo>
                      <a:pt x="1680" y="47"/>
                      <a:pt x="1680" y="47"/>
                      <a:pt x="1680" y="47"/>
                    </a:cubicBezTo>
                    <a:cubicBezTo>
                      <a:pt x="1683" y="46"/>
                      <a:pt x="1686" y="45"/>
                      <a:pt x="1690" y="44"/>
                    </a:cubicBezTo>
                    <a:cubicBezTo>
                      <a:pt x="1694" y="43"/>
                      <a:pt x="1698" y="43"/>
                      <a:pt x="1703" y="43"/>
                    </a:cubicBezTo>
                    <a:cubicBezTo>
                      <a:pt x="1712" y="43"/>
                      <a:pt x="1718" y="45"/>
                      <a:pt x="1721" y="51"/>
                    </a:cubicBezTo>
                    <a:cubicBezTo>
                      <a:pt x="1725" y="56"/>
                      <a:pt x="1726" y="64"/>
                      <a:pt x="1726" y="75"/>
                    </a:cubicBezTo>
                    <a:cubicBezTo>
                      <a:pt x="1726" y="117"/>
                      <a:pt x="1726" y="117"/>
                      <a:pt x="1726" y="117"/>
                    </a:cubicBezTo>
                    <a:cubicBezTo>
                      <a:pt x="1737" y="117"/>
                      <a:pt x="1737" y="117"/>
                      <a:pt x="1737" y="117"/>
                    </a:cubicBezTo>
                    <a:cubicBezTo>
                      <a:pt x="1737" y="75"/>
                      <a:pt x="1737" y="75"/>
                      <a:pt x="1737" y="75"/>
                    </a:cubicBezTo>
                    <a:cubicBezTo>
                      <a:pt x="1737" y="69"/>
                      <a:pt x="1737" y="63"/>
                      <a:pt x="1736" y="58"/>
                    </a:cubicBezTo>
                    <a:cubicBezTo>
                      <a:pt x="1734" y="53"/>
                      <a:pt x="1732" y="49"/>
                      <a:pt x="1730" y="45"/>
                    </a:cubicBezTo>
                    <a:cubicBezTo>
                      <a:pt x="1727" y="42"/>
                      <a:pt x="1723" y="40"/>
                      <a:pt x="1719" y="38"/>
                    </a:cubicBezTo>
                    <a:cubicBezTo>
                      <a:pt x="1715" y="37"/>
                      <a:pt x="1709" y="36"/>
                      <a:pt x="1703" y="36"/>
                    </a:cubicBezTo>
                    <a:cubicBezTo>
                      <a:pt x="1697" y="36"/>
                      <a:pt x="1692" y="36"/>
                      <a:pt x="1686" y="37"/>
                    </a:cubicBezTo>
                    <a:cubicBezTo>
                      <a:pt x="1681" y="39"/>
                      <a:pt x="1676" y="40"/>
                      <a:pt x="1670" y="43"/>
                    </a:cubicBezTo>
                    <a:lnTo>
                      <a:pt x="1670" y="117"/>
                    </a:lnTo>
                    <a:close/>
                    <a:moveTo>
                      <a:pt x="1637" y="117"/>
                    </a:moveTo>
                    <a:cubicBezTo>
                      <a:pt x="1648" y="117"/>
                      <a:pt x="1648" y="117"/>
                      <a:pt x="1648" y="117"/>
                    </a:cubicBezTo>
                    <a:cubicBezTo>
                      <a:pt x="1648" y="37"/>
                      <a:pt x="1648" y="37"/>
                      <a:pt x="1648" y="37"/>
                    </a:cubicBezTo>
                    <a:cubicBezTo>
                      <a:pt x="1637" y="37"/>
                      <a:pt x="1637" y="37"/>
                      <a:pt x="1637" y="37"/>
                    </a:cubicBezTo>
                    <a:lnTo>
                      <a:pt x="1637" y="117"/>
                    </a:lnTo>
                    <a:close/>
                    <a:moveTo>
                      <a:pt x="1637" y="17"/>
                    </a:moveTo>
                    <a:cubicBezTo>
                      <a:pt x="1648" y="17"/>
                      <a:pt x="1648" y="17"/>
                      <a:pt x="1648" y="17"/>
                    </a:cubicBezTo>
                    <a:cubicBezTo>
                      <a:pt x="1648" y="6"/>
                      <a:pt x="1648" y="6"/>
                      <a:pt x="1648" y="6"/>
                    </a:cubicBezTo>
                    <a:cubicBezTo>
                      <a:pt x="1637" y="6"/>
                      <a:pt x="1637" y="6"/>
                      <a:pt x="1637" y="6"/>
                    </a:cubicBezTo>
                    <a:lnTo>
                      <a:pt x="1637" y="17"/>
                    </a:lnTo>
                    <a:close/>
                    <a:moveTo>
                      <a:pt x="1568" y="109"/>
                    </a:moveTo>
                    <a:cubicBezTo>
                      <a:pt x="1565" y="108"/>
                      <a:pt x="1562" y="106"/>
                      <a:pt x="1560" y="103"/>
                    </a:cubicBezTo>
                    <a:cubicBezTo>
                      <a:pt x="1558" y="100"/>
                      <a:pt x="1557" y="97"/>
                      <a:pt x="1556" y="92"/>
                    </a:cubicBezTo>
                    <a:cubicBezTo>
                      <a:pt x="1556" y="88"/>
                      <a:pt x="1556" y="82"/>
                      <a:pt x="1556" y="76"/>
                    </a:cubicBezTo>
                    <a:cubicBezTo>
                      <a:pt x="1556" y="69"/>
                      <a:pt x="1556" y="64"/>
                      <a:pt x="1557" y="60"/>
                    </a:cubicBezTo>
                    <a:cubicBezTo>
                      <a:pt x="1558" y="56"/>
                      <a:pt x="1559" y="52"/>
                      <a:pt x="1561" y="50"/>
                    </a:cubicBezTo>
                    <a:cubicBezTo>
                      <a:pt x="1563" y="47"/>
                      <a:pt x="1566" y="46"/>
                      <a:pt x="1569" y="45"/>
                    </a:cubicBezTo>
                    <a:cubicBezTo>
                      <a:pt x="1572" y="44"/>
                      <a:pt x="1576" y="43"/>
                      <a:pt x="1581" y="43"/>
                    </a:cubicBezTo>
                    <a:cubicBezTo>
                      <a:pt x="1585" y="43"/>
                      <a:pt x="1588" y="44"/>
                      <a:pt x="1592" y="45"/>
                    </a:cubicBezTo>
                    <a:cubicBezTo>
                      <a:pt x="1595" y="46"/>
                      <a:pt x="1597" y="48"/>
                      <a:pt x="1599" y="50"/>
                    </a:cubicBezTo>
                    <a:cubicBezTo>
                      <a:pt x="1602" y="53"/>
                      <a:pt x="1603" y="56"/>
                      <a:pt x="1604" y="61"/>
                    </a:cubicBezTo>
                    <a:cubicBezTo>
                      <a:pt x="1605" y="65"/>
                      <a:pt x="1606" y="70"/>
                      <a:pt x="1606" y="76"/>
                    </a:cubicBezTo>
                    <a:cubicBezTo>
                      <a:pt x="1606" y="82"/>
                      <a:pt x="1606" y="87"/>
                      <a:pt x="1605" y="92"/>
                    </a:cubicBezTo>
                    <a:cubicBezTo>
                      <a:pt x="1605" y="96"/>
                      <a:pt x="1603" y="100"/>
                      <a:pt x="1602" y="103"/>
                    </a:cubicBezTo>
                    <a:cubicBezTo>
                      <a:pt x="1600" y="106"/>
                      <a:pt x="1597" y="108"/>
                      <a:pt x="1594" y="109"/>
                    </a:cubicBezTo>
                    <a:cubicBezTo>
                      <a:pt x="1591" y="110"/>
                      <a:pt x="1587" y="111"/>
                      <a:pt x="1581" y="111"/>
                    </a:cubicBezTo>
                    <a:cubicBezTo>
                      <a:pt x="1576" y="111"/>
                      <a:pt x="1571" y="111"/>
                      <a:pt x="1568" y="109"/>
                    </a:cubicBezTo>
                    <a:moveTo>
                      <a:pt x="1581" y="36"/>
                    </a:moveTo>
                    <a:cubicBezTo>
                      <a:pt x="1575" y="36"/>
                      <a:pt x="1569" y="36"/>
                      <a:pt x="1565" y="38"/>
                    </a:cubicBezTo>
                    <a:cubicBezTo>
                      <a:pt x="1560" y="39"/>
                      <a:pt x="1557" y="41"/>
                      <a:pt x="1554" y="45"/>
                    </a:cubicBezTo>
                    <a:cubicBezTo>
                      <a:pt x="1551" y="48"/>
                      <a:pt x="1548" y="52"/>
                      <a:pt x="1547" y="57"/>
                    </a:cubicBezTo>
                    <a:cubicBezTo>
                      <a:pt x="1546" y="62"/>
                      <a:pt x="1545" y="68"/>
                      <a:pt x="1545" y="75"/>
                    </a:cubicBezTo>
                    <a:cubicBezTo>
                      <a:pt x="1545" y="83"/>
                      <a:pt x="1545" y="90"/>
                      <a:pt x="1547" y="95"/>
                    </a:cubicBezTo>
                    <a:cubicBezTo>
                      <a:pt x="1548" y="101"/>
                      <a:pt x="1550" y="105"/>
                      <a:pt x="1552" y="109"/>
                    </a:cubicBezTo>
                    <a:cubicBezTo>
                      <a:pt x="1555" y="112"/>
                      <a:pt x="1559" y="114"/>
                      <a:pt x="1563" y="116"/>
                    </a:cubicBezTo>
                    <a:cubicBezTo>
                      <a:pt x="1568" y="118"/>
                      <a:pt x="1574" y="118"/>
                      <a:pt x="1581" y="118"/>
                    </a:cubicBezTo>
                    <a:cubicBezTo>
                      <a:pt x="1588" y="118"/>
                      <a:pt x="1594" y="117"/>
                      <a:pt x="1599" y="116"/>
                    </a:cubicBezTo>
                    <a:cubicBezTo>
                      <a:pt x="1603" y="114"/>
                      <a:pt x="1607" y="111"/>
                      <a:pt x="1610" y="108"/>
                    </a:cubicBezTo>
                    <a:cubicBezTo>
                      <a:pt x="1612" y="104"/>
                      <a:pt x="1614" y="100"/>
                      <a:pt x="1615" y="95"/>
                    </a:cubicBezTo>
                    <a:cubicBezTo>
                      <a:pt x="1616" y="89"/>
                      <a:pt x="1617" y="83"/>
                      <a:pt x="1617" y="76"/>
                    </a:cubicBezTo>
                    <a:cubicBezTo>
                      <a:pt x="1617" y="69"/>
                      <a:pt x="1616" y="63"/>
                      <a:pt x="1614" y="57"/>
                    </a:cubicBezTo>
                    <a:cubicBezTo>
                      <a:pt x="1613" y="52"/>
                      <a:pt x="1610" y="48"/>
                      <a:pt x="1607" y="45"/>
                    </a:cubicBezTo>
                    <a:cubicBezTo>
                      <a:pt x="1604" y="42"/>
                      <a:pt x="1601" y="40"/>
                      <a:pt x="1596" y="38"/>
                    </a:cubicBezTo>
                    <a:cubicBezTo>
                      <a:pt x="1592" y="37"/>
                      <a:pt x="1587" y="36"/>
                      <a:pt x="1581" y="36"/>
                    </a:cubicBezTo>
                    <a:close/>
                    <a:moveTo>
                      <a:pt x="1516" y="117"/>
                    </a:moveTo>
                    <a:cubicBezTo>
                      <a:pt x="1526" y="117"/>
                      <a:pt x="1526" y="117"/>
                      <a:pt x="1526" y="117"/>
                    </a:cubicBezTo>
                    <a:cubicBezTo>
                      <a:pt x="1526" y="5"/>
                      <a:pt x="1526" y="5"/>
                      <a:pt x="1526" y="5"/>
                    </a:cubicBezTo>
                    <a:cubicBezTo>
                      <a:pt x="1516" y="5"/>
                      <a:pt x="1516" y="5"/>
                      <a:pt x="1516" y="5"/>
                    </a:cubicBezTo>
                    <a:lnTo>
                      <a:pt x="1516" y="117"/>
                    </a:lnTo>
                    <a:close/>
                    <a:moveTo>
                      <a:pt x="1408" y="115"/>
                    </a:moveTo>
                    <a:cubicBezTo>
                      <a:pt x="1412" y="116"/>
                      <a:pt x="1415" y="116"/>
                      <a:pt x="1419" y="117"/>
                    </a:cubicBezTo>
                    <a:cubicBezTo>
                      <a:pt x="1422" y="117"/>
                      <a:pt x="1426" y="117"/>
                      <a:pt x="1429" y="117"/>
                    </a:cubicBezTo>
                    <a:cubicBezTo>
                      <a:pt x="1432" y="117"/>
                      <a:pt x="1432" y="117"/>
                      <a:pt x="1432" y="117"/>
                    </a:cubicBezTo>
                    <a:cubicBezTo>
                      <a:pt x="1434" y="117"/>
                      <a:pt x="1437" y="117"/>
                      <a:pt x="1440" y="117"/>
                    </a:cubicBezTo>
                    <a:cubicBezTo>
                      <a:pt x="1443" y="116"/>
                      <a:pt x="1446" y="115"/>
                      <a:pt x="1448" y="114"/>
                    </a:cubicBezTo>
                    <a:cubicBezTo>
                      <a:pt x="1451" y="113"/>
                      <a:pt x="1453" y="111"/>
                      <a:pt x="1455" y="108"/>
                    </a:cubicBezTo>
                    <a:cubicBezTo>
                      <a:pt x="1457" y="106"/>
                      <a:pt x="1457" y="102"/>
                      <a:pt x="1457" y="98"/>
                    </a:cubicBezTo>
                    <a:cubicBezTo>
                      <a:pt x="1457" y="96"/>
                      <a:pt x="1457" y="94"/>
                      <a:pt x="1456" y="91"/>
                    </a:cubicBezTo>
                    <a:cubicBezTo>
                      <a:pt x="1455" y="88"/>
                      <a:pt x="1453" y="85"/>
                      <a:pt x="1450" y="83"/>
                    </a:cubicBezTo>
                    <a:cubicBezTo>
                      <a:pt x="1449" y="82"/>
                      <a:pt x="1448" y="81"/>
                      <a:pt x="1447" y="80"/>
                    </a:cubicBezTo>
                    <a:cubicBezTo>
                      <a:pt x="1445" y="79"/>
                      <a:pt x="1444" y="78"/>
                      <a:pt x="1442" y="77"/>
                    </a:cubicBezTo>
                    <a:cubicBezTo>
                      <a:pt x="1440" y="76"/>
                      <a:pt x="1438" y="74"/>
                      <a:pt x="1436" y="73"/>
                    </a:cubicBezTo>
                    <a:cubicBezTo>
                      <a:pt x="1434" y="72"/>
                      <a:pt x="1432" y="70"/>
                      <a:pt x="1430" y="69"/>
                    </a:cubicBezTo>
                    <a:cubicBezTo>
                      <a:pt x="1426" y="67"/>
                      <a:pt x="1424" y="64"/>
                      <a:pt x="1422" y="62"/>
                    </a:cubicBezTo>
                    <a:cubicBezTo>
                      <a:pt x="1421" y="61"/>
                      <a:pt x="1420" y="58"/>
                      <a:pt x="1420" y="55"/>
                    </a:cubicBezTo>
                    <a:cubicBezTo>
                      <a:pt x="1420" y="53"/>
                      <a:pt x="1420" y="53"/>
                      <a:pt x="1420" y="53"/>
                    </a:cubicBezTo>
                    <a:cubicBezTo>
                      <a:pt x="1420" y="50"/>
                      <a:pt x="1422" y="48"/>
                      <a:pt x="1424" y="46"/>
                    </a:cubicBezTo>
                    <a:cubicBezTo>
                      <a:pt x="1426" y="44"/>
                      <a:pt x="1430" y="43"/>
                      <a:pt x="1435" y="43"/>
                    </a:cubicBezTo>
                    <a:cubicBezTo>
                      <a:pt x="1438" y="43"/>
                      <a:pt x="1438" y="43"/>
                      <a:pt x="1438" y="43"/>
                    </a:cubicBezTo>
                    <a:cubicBezTo>
                      <a:pt x="1441" y="43"/>
                      <a:pt x="1444" y="43"/>
                      <a:pt x="1446" y="43"/>
                    </a:cubicBezTo>
                    <a:cubicBezTo>
                      <a:pt x="1449" y="43"/>
                      <a:pt x="1452" y="44"/>
                      <a:pt x="1456" y="44"/>
                    </a:cubicBezTo>
                    <a:cubicBezTo>
                      <a:pt x="1457" y="37"/>
                      <a:pt x="1457" y="37"/>
                      <a:pt x="1457" y="37"/>
                    </a:cubicBezTo>
                    <a:cubicBezTo>
                      <a:pt x="1455" y="37"/>
                      <a:pt x="1453" y="37"/>
                      <a:pt x="1451" y="37"/>
                    </a:cubicBezTo>
                    <a:cubicBezTo>
                      <a:pt x="1449" y="36"/>
                      <a:pt x="1448" y="36"/>
                      <a:pt x="1446" y="36"/>
                    </a:cubicBezTo>
                    <a:cubicBezTo>
                      <a:pt x="1444" y="36"/>
                      <a:pt x="1443" y="36"/>
                      <a:pt x="1441" y="36"/>
                    </a:cubicBezTo>
                    <a:cubicBezTo>
                      <a:pt x="1439" y="36"/>
                      <a:pt x="1437" y="36"/>
                      <a:pt x="1435" y="36"/>
                    </a:cubicBezTo>
                    <a:cubicBezTo>
                      <a:pt x="1431" y="36"/>
                      <a:pt x="1427" y="36"/>
                      <a:pt x="1424" y="37"/>
                    </a:cubicBezTo>
                    <a:cubicBezTo>
                      <a:pt x="1421" y="38"/>
                      <a:pt x="1418" y="39"/>
                      <a:pt x="1416" y="41"/>
                    </a:cubicBezTo>
                    <a:cubicBezTo>
                      <a:pt x="1414" y="42"/>
                      <a:pt x="1412" y="44"/>
                      <a:pt x="1411" y="46"/>
                    </a:cubicBezTo>
                    <a:cubicBezTo>
                      <a:pt x="1410" y="48"/>
                      <a:pt x="1410" y="50"/>
                      <a:pt x="1410" y="52"/>
                    </a:cubicBezTo>
                    <a:cubicBezTo>
                      <a:pt x="1410" y="55"/>
                      <a:pt x="1410" y="55"/>
                      <a:pt x="1410" y="55"/>
                    </a:cubicBezTo>
                    <a:cubicBezTo>
                      <a:pt x="1410" y="57"/>
                      <a:pt x="1410" y="59"/>
                      <a:pt x="1410" y="61"/>
                    </a:cubicBezTo>
                    <a:cubicBezTo>
                      <a:pt x="1411" y="63"/>
                      <a:pt x="1412" y="65"/>
                      <a:pt x="1413" y="66"/>
                    </a:cubicBezTo>
                    <a:cubicBezTo>
                      <a:pt x="1414" y="68"/>
                      <a:pt x="1416" y="70"/>
                      <a:pt x="1417" y="71"/>
                    </a:cubicBezTo>
                    <a:cubicBezTo>
                      <a:pt x="1419" y="72"/>
                      <a:pt x="1421" y="74"/>
                      <a:pt x="1424" y="75"/>
                    </a:cubicBezTo>
                    <a:cubicBezTo>
                      <a:pt x="1425" y="77"/>
                      <a:pt x="1427" y="78"/>
                      <a:pt x="1429" y="79"/>
                    </a:cubicBezTo>
                    <a:cubicBezTo>
                      <a:pt x="1431" y="80"/>
                      <a:pt x="1433" y="82"/>
                      <a:pt x="1435" y="83"/>
                    </a:cubicBezTo>
                    <a:cubicBezTo>
                      <a:pt x="1436" y="84"/>
                      <a:pt x="1438" y="85"/>
                      <a:pt x="1439" y="86"/>
                    </a:cubicBezTo>
                    <a:cubicBezTo>
                      <a:pt x="1440" y="87"/>
                      <a:pt x="1441" y="88"/>
                      <a:pt x="1442" y="89"/>
                    </a:cubicBezTo>
                    <a:cubicBezTo>
                      <a:pt x="1444" y="90"/>
                      <a:pt x="1445" y="92"/>
                      <a:pt x="1446" y="94"/>
                    </a:cubicBezTo>
                    <a:cubicBezTo>
                      <a:pt x="1446" y="95"/>
                      <a:pt x="1447" y="97"/>
                      <a:pt x="1447" y="99"/>
                    </a:cubicBezTo>
                    <a:cubicBezTo>
                      <a:pt x="1447" y="101"/>
                      <a:pt x="1446" y="103"/>
                      <a:pt x="1446" y="105"/>
                    </a:cubicBezTo>
                    <a:cubicBezTo>
                      <a:pt x="1445" y="107"/>
                      <a:pt x="1444" y="108"/>
                      <a:pt x="1442" y="109"/>
                    </a:cubicBezTo>
                    <a:cubicBezTo>
                      <a:pt x="1441" y="109"/>
                      <a:pt x="1439" y="110"/>
                      <a:pt x="1437" y="110"/>
                    </a:cubicBezTo>
                    <a:cubicBezTo>
                      <a:pt x="1435" y="111"/>
                      <a:pt x="1433" y="111"/>
                      <a:pt x="1431" y="111"/>
                    </a:cubicBezTo>
                    <a:cubicBezTo>
                      <a:pt x="1428" y="111"/>
                      <a:pt x="1428" y="111"/>
                      <a:pt x="1428" y="111"/>
                    </a:cubicBezTo>
                    <a:cubicBezTo>
                      <a:pt x="1426" y="111"/>
                      <a:pt x="1423" y="111"/>
                      <a:pt x="1420" y="110"/>
                    </a:cubicBezTo>
                    <a:cubicBezTo>
                      <a:pt x="1417" y="110"/>
                      <a:pt x="1413" y="109"/>
                      <a:pt x="1409" y="109"/>
                    </a:cubicBezTo>
                    <a:lnTo>
                      <a:pt x="1408" y="115"/>
                    </a:lnTo>
                    <a:close/>
                    <a:moveTo>
                      <a:pt x="1390" y="37"/>
                    </a:moveTo>
                    <a:cubicBezTo>
                      <a:pt x="1379" y="37"/>
                      <a:pt x="1379" y="37"/>
                      <a:pt x="1379" y="37"/>
                    </a:cubicBezTo>
                    <a:cubicBezTo>
                      <a:pt x="1379" y="107"/>
                      <a:pt x="1379" y="107"/>
                      <a:pt x="1379" y="107"/>
                    </a:cubicBezTo>
                    <a:cubicBezTo>
                      <a:pt x="1376" y="108"/>
                      <a:pt x="1373" y="109"/>
                      <a:pt x="1369" y="110"/>
                    </a:cubicBezTo>
                    <a:cubicBezTo>
                      <a:pt x="1366" y="111"/>
                      <a:pt x="1362" y="111"/>
                      <a:pt x="1359" y="111"/>
                    </a:cubicBezTo>
                    <a:cubicBezTo>
                      <a:pt x="1350" y="111"/>
                      <a:pt x="1344" y="109"/>
                      <a:pt x="1340" y="104"/>
                    </a:cubicBezTo>
                    <a:cubicBezTo>
                      <a:pt x="1337" y="99"/>
                      <a:pt x="1335" y="90"/>
                      <a:pt x="1335" y="79"/>
                    </a:cubicBezTo>
                    <a:cubicBezTo>
                      <a:pt x="1335" y="38"/>
                      <a:pt x="1335" y="38"/>
                      <a:pt x="1335" y="38"/>
                    </a:cubicBezTo>
                    <a:cubicBezTo>
                      <a:pt x="1324" y="38"/>
                      <a:pt x="1324" y="38"/>
                      <a:pt x="1324" y="38"/>
                    </a:cubicBezTo>
                    <a:cubicBezTo>
                      <a:pt x="1324" y="79"/>
                      <a:pt x="1324" y="79"/>
                      <a:pt x="1324" y="79"/>
                    </a:cubicBezTo>
                    <a:cubicBezTo>
                      <a:pt x="1324" y="86"/>
                      <a:pt x="1325" y="92"/>
                      <a:pt x="1326" y="97"/>
                    </a:cubicBezTo>
                    <a:cubicBezTo>
                      <a:pt x="1327" y="102"/>
                      <a:pt x="1329" y="106"/>
                      <a:pt x="1332" y="109"/>
                    </a:cubicBezTo>
                    <a:cubicBezTo>
                      <a:pt x="1335" y="112"/>
                      <a:pt x="1338" y="114"/>
                      <a:pt x="1343" y="116"/>
                    </a:cubicBezTo>
                    <a:cubicBezTo>
                      <a:pt x="1347" y="118"/>
                      <a:pt x="1352" y="118"/>
                      <a:pt x="1359" y="118"/>
                    </a:cubicBezTo>
                    <a:cubicBezTo>
                      <a:pt x="1363" y="118"/>
                      <a:pt x="1368" y="118"/>
                      <a:pt x="1373" y="117"/>
                    </a:cubicBezTo>
                    <a:cubicBezTo>
                      <a:pt x="1378" y="116"/>
                      <a:pt x="1384" y="114"/>
                      <a:pt x="1390" y="112"/>
                    </a:cubicBezTo>
                    <a:lnTo>
                      <a:pt x="1390" y="37"/>
                    </a:lnTo>
                    <a:close/>
                    <a:moveTo>
                      <a:pt x="1293" y="117"/>
                    </a:moveTo>
                    <a:cubicBezTo>
                      <a:pt x="1304" y="117"/>
                      <a:pt x="1304" y="117"/>
                      <a:pt x="1304" y="117"/>
                    </a:cubicBezTo>
                    <a:cubicBezTo>
                      <a:pt x="1304" y="5"/>
                      <a:pt x="1304" y="5"/>
                      <a:pt x="1304" y="5"/>
                    </a:cubicBezTo>
                    <a:cubicBezTo>
                      <a:pt x="1293" y="5"/>
                      <a:pt x="1293" y="5"/>
                      <a:pt x="1293" y="5"/>
                    </a:cubicBezTo>
                    <a:lnTo>
                      <a:pt x="1293" y="117"/>
                    </a:lnTo>
                    <a:close/>
                    <a:moveTo>
                      <a:pt x="1218" y="44"/>
                    </a:moveTo>
                    <a:cubicBezTo>
                      <a:pt x="1220" y="43"/>
                      <a:pt x="1222" y="43"/>
                      <a:pt x="1225" y="43"/>
                    </a:cubicBezTo>
                    <a:cubicBezTo>
                      <a:pt x="1228" y="43"/>
                      <a:pt x="1230" y="43"/>
                      <a:pt x="1232" y="43"/>
                    </a:cubicBezTo>
                    <a:cubicBezTo>
                      <a:pt x="1238" y="43"/>
                      <a:pt x="1243" y="44"/>
                      <a:pt x="1247" y="45"/>
                    </a:cubicBezTo>
                    <a:cubicBezTo>
                      <a:pt x="1251" y="47"/>
                      <a:pt x="1254" y="49"/>
                      <a:pt x="1257" y="52"/>
                    </a:cubicBezTo>
                    <a:cubicBezTo>
                      <a:pt x="1259" y="55"/>
                      <a:pt x="1260" y="58"/>
                      <a:pt x="1261" y="63"/>
                    </a:cubicBezTo>
                    <a:cubicBezTo>
                      <a:pt x="1262" y="67"/>
                      <a:pt x="1262" y="72"/>
                      <a:pt x="1262" y="78"/>
                    </a:cubicBezTo>
                    <a:cubicBezTo>
                      <a:pt x="1262" y="84"/>
                      <a:pt x="1262" y="89"/>
                      <a:pt x="1261" y="93"/>
                    </a:cubicBezTo>
                    <a:cubicBezTo>
                      <a:pt x="1260" y="97"/>
                      <a:pt x="1259" y="101"/>
                      <a:pt x="1258" y="103"/>
                    </a:cubicBezTo>
                    <a:cubicBezTo>
                      <a:pt x="1256" y="106"/>
                      <a:pt x="1254" y="108"/>
                      <a:pt x="1251" y="109"/>
                    </a:cubicBezTo>
                    <a:cubicBezTo>
                      <a:pt x="1249" y="110"/>
                      <a:pt x="1245" y="111"/>
                      <a:pt x="1241" y="111"/>
                    </a:cubicBezTo>
                    <a:cubicBezTo>
                      <a:pt x="1236" y="111"/>
                      <a:pt x="1232" y="111"/>
                      <a:pt x="1228" y="110"/>
                    </a:cubicBezTo>
                    <a:cubicBezTo>
                      <a:pt x="1224" y="109"/>
                      <a:pt x="1220" y="108"/>
                      <a:pt x="1218" y="107"/>
                    </a:cubicBezTo>
                    <a:lnTo>
                      <a:pt x="1218" y="44"/>
                    </a:lnTo>
                    <a:close/>
                    <a:moveTo>
                      <a:pt x="1218" y="114"/>
                    </a:moveTo>
                    <a:cubicBezTo>
                      <a:pt x="1220" y="115"/>
                      <a:pt x="1224" y="116"/>
                      <a:pt x="1228" y="117"/>
                    </a:cubicBezTo>
                    <a:cubicBezTo>
                      <a:pt x="1232" y="118"/>
                      <a:pt x="1236" y="118"/>
                      <a:pt x="1241" y="118"/>
                    </a:cubicBezTo>
                    <a:cubicBezTo>
                      <a:pt x="1247" y="118"/>
                      <a:pt x="1252" y="117"/>
                      <a:pt x="1256" y="116"/>
                    </a:cubicBezTo>
                    <a:cubicBezTo>
                      <a:pt x="1260" y="114"/>
                      <a:pt x="1264" y="112"/>
                      <a:pt x="1266" y="108"/>
                    </a:cubicBezTo>
                    <a:cubicBezTo>
                      <a:pt x="1268" y="105"/>
                      <a:pt x="1270" y="101"/>
                      <a:pt x="1271" y="96"/>
                    </a:cubicBezTo>
                    <a:cubicBezTo>
                      <a:pt x="1272" y="91"/>
                      <a:pt x="1273" y="85"/>
                      <a:pt x="1273" y="79"/>
                    </a:cubicBezTo>
                    <a:cubicBezTo>
                      <a:pt x="1273" y="71"/>
                      <a:pt x="1272" y="65"/>
                      <a:pt x="1271" y="60"/>
                    </a:cubicBezTo>
                    <a:cubicBezTo>
                      <a:pt x="1270" y="54"/>
                      <a:pt x="1267" y="50"/>
                      <a:pt x="1264" y="46"/>
                    </a:cubicBezTo>
                    <a:cubicBezTo>
                      <a:pt x="1261" y="43"/>
                      <a:pt x="1257" y="40"/>
                      <a:pt x="1251" y="38"/>
                    </a:cubicBezTo>
                    <a:cubicBezTo>
                      <a:pt x="1246" y="37"/>
                      <a:pt x="1239" y="36"/>
                      <a:pt x="1230" y="36"/>
                    </a:cubicBezTo>
                    <a:cubicBezTo>
                      <a:pt x="1226" y="36"/>
                      <a:pt x="1222" y="36"/>
                      <a:pt x="1219" y="36"/>
                    </a:cubicBezTo>
                    <a:cubicBezTo>
                      <a:pt x="1215" y="36"/>
                      <a:pt x="1211" y="37"/>
                      <a:pt x="1207" y="37"/>
                    </a:cubicBezTo>
                    <a:cubicBezTo>
                      <a:pt x="1207" y="148"/>
                      <a:pt x="1207" y="148"/>
                      <a:pt x="1207" y="148"/>
                    </a:cubicBezTo>
                    <a:cubicBezTo>
                      <a:pt x="1218" y="148"/>
                      <a:pt x="1218" y="148"/>
                      <a:pt x="1218" y="148"/>
                    </a:cubicBezTo>
                    <a:lnTo>
                      <a:pt x="1218" y="114"/>
                    </a:lnTo>
                    <a:close/>
                    <a:moveTo>
                      <a:pt x="1113" y="117"/>
                    </a:moveTo>
                    <a:cubicBezTo>
                      <a:pt x="1124" y="117"/>
                      <a:pt x="1124" y="117"/>
                      <a:pt x="1124" y="117"/>
                    </a:cubicBezTo>
                    <a:cubicBezTo>
                      <a:pt x="1124" y="47"/>
                      <a:pt x="1124" y="47"/>
                      <a:pt x="1124" y="47"/>
                    </a:cubicBezTo>
                    <a:cubicBezTo>
                      <a:pt x="1126" y="46"/>
                      <a:pt x="1130" y="45"/>
                      <a:pt x="1134" y="44"/>
                    </a:cubicBezTo>
                    <a:cubicBezTo>
                      <a:pt x="1138" y="43"/>
                      <a:pt x="1142" y="43"/>
                      <a:pt x="1146" y="43"/>
                    </a:cubicBezTo>
                    <a:cubicBezTo>
                      <a:pt x="1147" y="43"/>
                      <a:pt x="1149" y="43"/>
                      <a:pt x="1150" y="43"/>
                    </a:cubicBezTo>
                    <a:cubicBezTo>
                      <a:pt x="1151" y="43"/>
                      <a:pt x="1152" y="43"/>
                      <a:pt x="1154" y="44"/>
                    </a:cubicBezTo>
                    <a:cubicBezTo>
                      <a:pt x="1155" y="36"/>
                      <a:pt x="1155" y="36"/>
                      <a:pt x="1155" y="36"/>
                    </a:cubicBezTo>
                    <a:cubicBezTo>
                      <a:pt x="1153" y="36"/>
                      <a:pt x="1151" y="36"/>
                      <a:pt x="1150" y="36"/>
                    </a:cubicBezTo>
                    <a:cubicBezTo>
                      <a:pt x="1149" y="36"/>
                      <a:pt x="1148" y="36"/>
                      <a:pt x="1146" y="36"/>
                    </a:cubicBezTo>
                    <a:cubicBezTo>
                      <a:pt x="1141" y="36"/>
                      <a:pt x="1135" y="36"/>
                      <a:pt x="1130" y="38"/>
                    </a:cubicBezTo>
                    <a:cubicBezTo>
                      <a:pt x="1125" y="39"/>
                      <a:pt x="1119" y="40"/>
                      <a:pt x="1113" y="43"/>
                    </a:cubicBezTo>
                    <a:lnTo>
                      <a:pt x="1113" y="117"/>
                    </a:lnTo>
                    <a:close/>
                    <a:moveTo>
                      <a:pt x="1036" y="73"/>
                    </a:moveTo>
                    <a:cubicBezTo>
                      <a:pt x="1036" y="62"/>
                      <a:pt x="1038" y="54"/>
                      <a:pt x="1042" y="50"/>
                    </a:cubicBezTo>
                    <a:cubicBezTo>
                      <a:pt x="1046" y="45"/>
                      <a:pt x="1051" y="43"/>
                      <a:pt x="1059" y="43"/>
                    </a:cubicBezTo>
                    <a:cubicBezTo>
                      <a:pt x="1068" y="43"/>
                      <a:pt x="1074" y="45"/>
                      <a:pt x="1077" y="50"/>
                    </a:cubicBezTo>
                    <a:cubicBezTo>
                      <a:pt x="1081" y="54"/>
                      <a:pt x="1083" y="62"/>
                      <a:pt x="1083" y="73"/>
                    </a:cubicBezTo>
                    <a:lnTo>
                      <a:pt x="1036" y="73"/>
                    </a:lnTo>
                    <a:close/>
                    <a:moveTo>
                      <a:pt x="1090" y="107"/>
                    </a:moveTo>
                    <a:cubicBezTo>
                      <a:pt x="1088" y="107"/>
                      <a:pt x="1086" y="107"/>
                      <a:pt x="1084" y="108"/>
                    </a:cubicBezTo>
                    <a:cubicBezTo>
                      <a:pt x="1081" y="108"/>
                      <a:pt x="1079" y="109"/>
                      <a:pt x="1076" y="109"/>
                    </a:cubicBezTo>
                    <a:cubicBezTo>
                      <a:pt x="1073" y="110"/>
                      <a:pt x="1071" y="110"/>
                      <a:pt x="1068" y="111"/>
                    </a:cubicBezTo>
                    <a:cubicBezTo>
                      <a:pt x="1065" y="111"/>
                      <a:pt x="1063" y="111"/>
                      <a:pt x="1060" y="111"/>
                    </a:cubicBezTo>
                    <a:cubicBezTo>
                      <a:pt x="1056" y="111"/>
                      <a:pt x="1052" y="110"/>
                      <a:pt x="1049" y="109"/>
                    </a:cubicBezTo>
                    <a:cubicBezTo>
                      <a:pt x="1046" y="108"/>
                      <a:pt x="1043" y="106"/>
                      <a:pt x="1041" y="103"/>
                    </a:cubicBezTo>
                    <a:cubicBezTo>
                      <a:pt x="1040" y="101"/>
                      <a:pt x="1038" y="97"/>
                      <a:pt x="1037" y="93"/>
                    </a:cubicBezTo>
                    <a:cubicBezTo>
                      <a:pt x="1037" y="90"/>
                      <a:pt x="1036" y="85"/>
                      <a:pt x="1036" y="80"/>
                    </a:cubicBezTo>
                    <a:cubicBezTo>
                      <a:pt x="1094" y="80"/>
                      <a:pt x="1094" y="80"/>
                      <a:pt x="1094" y="80"/>
                    </a:cubicBezTo>
                    <a:cubicBezTo>
                      <a:pt x="1094" y="74"/>
                      <a:pt x="1094" y="74"/>
                      <a:pt x="1094" y="74"/>
                    </a:cubicBezTo>
                    <a:cubicBezTo>
                      <a:pt x="1094" y="60"/>
                      <a:pt x="1091" y="51"/>
                      <a:pt x="1085" y="45"/>
                    </a:cubicBezTo>
                    <a:cubicBezTo>
                      <a:pt x="1079" y="39"/>
                      <a:pt x="1071" y="36"/>
                      <a:pt x="1059" y="36"/>
                    </a:cubicBezTo>
                    <a:cubicBezTo>
                      <a:pt x="1054" y="36"/>
                      <a:pt x="1049" y="36"/>
                      <a:pt x="1045" y="38"/>
                    </a:cubicBezTo>
                    <a:cubicBezTo>
                      <a:pt x="1041" y="39"/>
                      <a:pt x="1037" y="41"/>
                      <a:pt x="1034" y="45"/>
                    </a:cubicBezTo>
                    <a:cubicBezTo>
                      <a:pt x="1031" y="48"/>
                      <a:pt x="1029" y="52"/>
                      <a:pt x="1028" y="57"/>
                    </a:cubicBezTo>
                    <a:cubicBezTo>
                      <a:pt x="1026" y="63"/>
                      <a:pt x="1025" y="69"/>
                      <a:pt x="1025" y="77"/>
                    </a:cubicBezTo>
                    <a:cubicBezTo>
                      <a:pt x="1025" y="83"/>
                      <a:pt x="1026" y="89"/>
                      <a:pt x="1027" y="94"/>
                    </a:cubicBezTo>
                    <a:cubicBezTo>
                      <a:pt x="1028" y="99"/>
                      <a:pt x="1030" y="104"/>
                      <a:pt x="1032" y="107"/>
                    </a:cubicBezTo>
                    <a:cubicBezTo>
                      <a:pt x="1035" y="111"/>
                      <a:pt x="1039" y="113"/>
                      <a:pt x="1043" y="115"/>
                    </a:cubicBezTo>
                    <a:cubicBezTo>
                      <a:pt x="1048" y="117"/>
                      <a:pt x="1053" y="118"/>
                      <a:pt x="1060" y="118"/>
                    </a:cubicBezTo>
                    <a:cubicBezTo>
                      <a:pt x="1063" y="118"/>
                      <a:pt x="1066" y="118"/>
                      <a:pt x="1068" y="118"/>
                    </a:cubicBezTo>
                    <a:cubicBezTo>
                      <a:pt x="1071" y="117"/>
                      <a:pt x="1074" y="117"/>
                      <a:pt x="1077" y="116"/>
                    </a:cubicBezTo>
                    <a:cubicBezTo>
                      <a:pt x="1080" y="116"/>
                      <a:pt x="1082" y="116"/>
                      <a:pt x="1085" y="115"/>
                    </a:cubicBezTo>
                    <a:cubicBezTo>
                      <a:pt x="1087" y="115"/>
                      <a:pt x="1089" y="114"/>
                      <a:pt x="1091" y="114"/>
                    </a:cubicBezTo>
                    <a:lnTo>
                      <a:pt x="1090" y="107"/>
                    </a:lnTo>
                    <a:close/>
                    <a:moveTo>
                      <a:pt x="996" y="117"/>
                    </a:moveTo>
                    <a:cubicBezTo>
                      <a:pt x="1007" y="117"/>
                      <a:pt x="1007" y="117"/>
                      <a:pt x="1007" y="117"/>
                    </a:cubicBezTo>
                    <a:cubicBezTo>
                      <a:pt x="1007" y="5"/>
                      <a:pt x="1007" y="5"/>
                      <a:pt x="1007" y="5"/>
                    </a:cubicBezTo>
                    <a:cubicBezTo>
                      <a:pt x="996" y="5"/>
                      <a:pt x="996" y="5"/>
                      <a:pt x="996" y="5"/>
                    </a:cubicBezTo>
                    <a:lnTo>
                      <a:pt x="996" y="117"/>
                    </a:lnTo>
                    <a:close/>
                    <a:moveTo>
                      <a:pt x="963" y="117"/>
                    </a:moveTo>
                    <a:cubicBezTo>
                      <a:pt x="974" y="117"/>
                      <a:pt x="974" y="117"/>
                      <a:pt x="974" y="117"/>
                    </a:cubicBezTo>
                    <a:cubicBezTo>
                      <a:pt x="974" y="5"/>
                      <a:pt x="974" y="5"/>
                      <a:pt x="974" y="5"/>
                    </a:cubicBezTo>
                    <a:cubicBezTo>
                      <a:pt x="963" y="5"/>
                      <a:pt x="963" y="5"/>
                      <a:pt x="963" y="5"/>
                    </a:cubicBezTo>
                    <a:lnTo>
                      <a:pt x="963" y="117"/>
                    </a:lnTo>
                    <a:close/>
                    <a:moveTo>
                      <a:pt x="930" y="107"/>
                    </a:moveTo>
                    <a:cubicBezTo>
                      <a:pt x="927" y="108"/>
                      <a:pt x="923" y="108"/>
                      <a:pt x="918" y="109"/>
                    </a:cubicBezTo>
                    <a:cubicBezTo>
                      <a:pt x="913" y="110"/>
                      <a:pt x="908" y="111"/>
                      <a:pt x="903" y="111"/>
                    </a:cubicBezTo>
                    <a:cubicBezTo>
                      <a:pt x="899" y="111"/>
                      <a:pt x="895" y="109"/>
                      <a:pt x="893" y="106"/>
                    </a:cubicBezTo>
                    <a:cubicBezTo>
                      <a:pt x="890" y="103"/>
                      <a:pt x="889" y="99"/>
                      <a:pt x="889" y="94"/>
                    </a:cubicBezTo>
                    <a:cubicBezTo>
                      <a:pt x="889" y="90"/>
                      <a:pt x="890" y="86"/>
                      <a:pt x="893" y="83"/>
                    </a:cubicBezTo>
                    <a:cubicBezTo>
                      <a:pt x="895" y="80"/>
                      <a:pt x="899" y="78"/>
                      <a:pt x="906" y="78"/>
                    </a:cubicBezTo>
                    <a:cubicBezTo>
                      <a:pt x="930" y="76"/>
                      <a:pt x="930" y="76"/>
                      <a:pt x="930" y="76"/>
                    </a:cubicBezTo>
                    <a:lnTo>
                      <a:pt x="930" y="107"/>
                    </a:lnTo>
                    <a:close/>
                    <a:moveTo>
                      <a:pt x="886" y="45"/>
                    </a:moveTo>
                    <a:cubicBezTo>
                      <a:pt x="891" y="45"/>
                      <a:pt x="896" y="44"/>
                      <a:pt x="900" y="44"/>
                    </a:cubicBezTo>
                    <a:cubicBezTo>
                      <a:pt x="905" y="43"/>
                      <a:pt x="909" y="43"/>
                      <a:pt x="913" y="43"/>
                    </a:cubicBezTo>
                    <a:cubicBezTo>
                      <a:pt x="919" y="43"/>
                      <a:pt x="923" y="45"/>
                      <a:pt x="926" y="47"/>
                    </a:cubicBezTo>
                    <a:cubicBezTo>
                      <a:pt x="929" y="50"/>
                      <a:pt x="930" y="54"/>
                      <a:pt x="930" y="61"/>
                    </a:cubicBezTo>
                    <a:cubicBezTo>
                      <a:pt x="930" y="69"/>
                      <a:pt x="930" y="69"/>
                      <a:pt x="930" y="69"/>
                    </a:cubicBezTo>
                    <a:cubicBezTo>
                      <a:pt x="905" y="71"/>
                      <a:pt x="905" y="71"/>
                      <a:pt x="905" y="71"/>
                    </a:cubicBezTo>
                    <a:cubicBezTo>
                      <a:pt x="895" y="72"/>
                      <a:pt x="889" y="74"/>
                      <a:pt x="885" y="78"/>
                    </a:cubicBezTo>
                    <a:cubicBezTo>
                      <a:pt x="881" y="82"/>
                      <a:pt x="879" y="88"/>
                      <a:pt x="879" y="94"/>
                    </a:cubicBezTo>
                    <a:cubicBezTo>
                      <a:pt x="879" y="102"/>
                      <a:pt x="881" y="108"/>
                      <a:pt x="885" y="112"/>
                    </a:cubicBezTo>
                    <a:cubicBezTo>
                      <a:pt x="889" y="116"/>
                      <a:pt x="895" y="118"/>
                      <a:pt x="903" y="118"/>
                    </a:cubicBezTo>
                    <a:cubicBezTo>
                      <a:pt x="911" y="118"/>
                      <a:pt x="918" y="117"/>
                      <a:pt x="924" y="116"/>
                    </a:cubicBezTo>
                    <a:cubicBezTo>
                      <a:pt x="931" y="114"/>
                      <a:pt x="936" y="113"/>
                      <a:pt x="941" y="111"/>
                    </a:cubicBezTo>
                    <a:cubicBezTo>
                      <a:pt x="941" y="61"/>
                      <a:pt x="941" y="61"/>
                      <a:pt x="941" y="61"/>
                    </a:cubicBezTo>
                    <a:cubicBezTo>
                      <a:pt x="941" y="53"/>
                      <a:pt x="939" y="46"/>
                      <a:pt x="934" y="42"/>
                    </a:cubicBezTo>
                    <a:cubicBezTo>
                      <a:pt x="930" y="38"/>
                      <a:pt x="923" y="36"/>
                      <a:pt x="913" y="36"/>
                    </a:cubicBezTo>
                    <a:cubicBezTo>
                      <a:pt x="909" y="36"/>
                      <a:pt x="904" y="36"/>
                      <a:pt x="899" y="36"/>
                    </a:cubicBezTo>
                    <a:cubicBezTo>
                      <a:pt x="894" y="37"/>
                      <a:pt x="889" y="37"/>
                      <a:pt x="884" y="38"/>
                    </a:cubicBezTo>
                    <a:lnTo>
                      <a:pt x="886" y="45"/>
                    </a:lnTo>
                    <a:close/>
                    <a:moveTo>
                      <a:pt x="842" y="34"/>
                    </a:moveTo>
                    <a:cubicBezTo>
                      <a:pt x="852" y="34"/>
                      <a:pt x="852" y="34"/>
                      <a:pt x="852" y="34"/>
                    </a:cubicBezTo>
                    <a:cubicBezTo>
                      <a:pt x="861" y="0"/>
                      <a:pt x="861" y="0"/>
                      <a:pt x="861" y="0"/>
                    </a:cubicBezTo>
                    <a:cubicBezTo>
                      <a:pt x="850" y="0"/>
                      <a:pt x="850" y="0"/>
                      <a:pt x="850" y="0"/>
                    </a:cubicBezTo>
                    <a:lnTo>
                      <a:pt x="842" y="34"/>
                    </a:lnTo>
                    <a:close/>
                    <a:moveTo>
                      <a:pt x="811" y="110"/>
                    </a:moveTo>
                    <a:cubicBezTo>
                      <a:pt x="809" y="110"/>
                      <a:pt x="807" y="111"/>
                      <a:pt x="804" y="111"/>
                    </a:cubicBezTo>
                    <a:cubicBezTo>
                      <a:pt x="802" y="111"/>
                      <a:pt x="799" y="111"/>
                      <a:pt x="798" y="111"/>
                    </a:cubicBezTo>
                    <a:cubicBezTo>
                      <a:pt x="791" y="111"/>
                      <a:pt x="786" y="110"/>
                      <a:pt x="782" y="109"/>
                    </a:cubicBezTo>
                    <a:cubicBezTo>
                      <a:pt x="778" y="107"/>
                      <a:pt x="775" y="105"/>
                      <a:pt x="773" y="102"/>
                    </a:cubicBezTo>
                    <a:cubicBezTo>
                      <a:pt x="771" y="99"/>
                      <a:pt x="769" y="95"/>
                      <a:pt x="768" y="91"/>
                    </a:cubicBezTo>
                    <a:cubicBezTo>
                      <a:pt x="768" y="87"/>
                      <a:pt x="767" y="81"/>
                      <a:pt x="767" y="76"/>
                    </a:cubicBezTo>
                    <a:cubicBezTo>
                      <a:pt x="767" y="70"/>
                      <a:pt x="768" y="65"/>
                      <a:pt x="768" y="61"/>
                    </a:cubicBezTo>
                    <a:cubicBezTo>
                      <a:pt x="769" y="57"/>
                      <a:pt x="770" y="53"/>
                      <a:pt x="771" y="51"/>
                    </a:cubicBezTo>
                    <a:cubicBezTo>
                      <a:pt x="773" y="48"/>
                      <a:pt x="775" y="46"/>
                      <a:pt x="778" y="45"/>
                    </a:cubicBezTo>
                    <a:cubicBezTo>
                      <a:pt x="781" y="44"/>
                      <a:pt x="784" y="43"/>
                      <a:pt x="789" y="43"/>
                    </a:cubicBezTo>
                    <a:cubicBezTo>
                      <a:pt x="793" y="43"/>
                      <a:pt x="797" y="43"/>
                      <a:pt x="801" y="44"/>
                    </a:cubicBezTo>
                    <a:cubicBezTo>
                      <a:pt x="805" y="45"/>
                      <a:pt x="809" y="46"/>
                      <a:pt x="811" y="47"/>
                    </a:cubicBezTo>
                    <a:lnTo>
                      <a:pt x="811" y="110"/>
                    </a:lnTo>
                    <a:close/>
                    <a:moveTo>
                      <a:pt x="811" y="40"/>
                    </a:moveTo>
                    <a:cubicBezTo>
                      <a:pt x="809" y="39"/>
                      <a:pt x="805" y="38"/>
                      <a:pt x="801" y="37"/>
                    </a:cubicBezTo>
                    <a:cubicBezTo>
                      <a:pt x="797" y="36"/>
                      <a:pt x="793" y="36"/>
                      <a:pt x="789" y="36"/>
                    </a:cubicBezTo>
                    <a:cubicBezTo>
                      <a:pt x="782" y="36"/>
                      <a:pt x="777" y="37"/>
                      <a:pt x="773" y="38"/>
                    </a:cubicBezTo>
                    <a:cubicBezTo>
                      <a:pt x="769" y="40"/>
                      <a:pt x="766" y="42"/>
                      <a:pt x="763" y="45"/>
                    </a:cubicBezTo>
                    <a:cubicBezTo>
                      <a:pt x="761" y="49"/>
                      <a:pt x="759" y="53"/>
                      <a:pt x="758" y="58"/>
                    </a:cubicBezTo>
                    <a:cubicBezTo>
                      <a:pt x="757" y="63"/>
                      <a:pt x="757" y="69"/>
                      <a:pt x="757" y="75"/>
                    </a:cubicBezTo>
                    <a:cubicBezTo>
                      <a:pt x="757" y="83"/>
                      <a:pt x="757" y="89"/>
                      <a:pt x="758" y="94"/>
                    </a:cubicBezTo>
                    <a:cubicBezTo>
                      <a:pt x="760" y="100"/>
                      <a:pt x="762" y="104"/>
                      <a:pt x="765" y="108"/>
                    </a:cubicBezTo>
                    <a:cubicBezTo>
                      <a:pt x="768" y="111"/>
                      <a:pt x="772" y="114"/>
                      <a:pt x="778" y="116"/>
                    </a:cubicBezTo>
                    <a:cubicBezTo>
                      <a:pt x="783" y="117"/>
                      <a:pt x="790" y="118"/>
                      <a:pt x="799" y="118"/>
                    </a:cubicBezTo>
                    <a:cubicBezTo>
                      <a:pt x="803" y="118"/>
                      <a:pt x="807" y="118"/>
                      <a:pt x="811" y="118"/>
                    </a:cubicBezTo>
                    <a:cubicBezTo>
                      <a:pt x="814" y="117"/>
                      <a:pt x="818" y="117"/>
                      <a:pt x="822" y="117"/>
                    </a:cubicBezTo>
                    <a:cubicBezTo>
                      <a:pt x="822" y="5"/>
                      <a:pt x="822" y="5"/>
                      <a:pt x="822" y="5"/>
                    </a:cubicBezTo>
                    <a:cubicBezTo>
                      <a:pt x="811" y="5"/>
                      <a:pt x="811" y="5"/>
                      <a:pt x="811" y="5"/>
                    </a:cubicBezTo>
                    <a:lnTo>
                      <a:pt x="811" y="40"/>
                    </a:lnTo>
                    <a:close/>
                    <a:moveTo>
                      <a:pt x="633" y="117"/>
                    </a:moveTo>
                    <a:cubicBezTo>
                      <a:pt x="643" y="117"/>
                      <a:pt x="643" y="117"/>
                      <a:pt x="643" y="117"/>
                    </a:cubicBezTo>
                    <a:cubicBezTo>
                      <a:pt x="643" y="47"/>
                      <a:pt x="643" y="47"/>
                      <a:pt x="643" y="47"/>
                    </a:cubicBezTo>
                    <a:cubicBezTo>
                      <a:pt x="646" y="46"/>
                      <a:pt x="649" y="45"/>
                      <a:pt x="653" y="44"/>
                    </a:cubicBezTo>
                    <a:cubicBezTo>
                      <a:pt x="657" y="43"/>
                      <a:pt x="661" y="43"/>
                      <a:pt x="666" y="43"/>
                    </a:cubicBezTo>
                    <a:cubicBezTo>
                      <a:pt x="675" y="43"/>
                      <a:pt x="681" y="45"/>
                      <a:pt x="684" y="51"/>
                    </a:cubicBezTo>
                    <a:cubicBezTo>
                      <a:pt x="688" y="56"/>
                      <a:pt x="689" y="64"/>
                      <a:pt x="689" y="75"/>
                    </a:cubicBezTo>
                    <a:cubicBezTo>
                      <a:pt x="689" y="117"/>
                      <a:pt x="689" y="117"/>
                      <a:pt x="689" y="117"/>
                    </a:cubicBezTo>
                    <a:cubicBezTo>
                      <a:pt x="700" y="117"/>
                      <a:pt x="700" y="117"/>
                      <a:pt x="700" y="117"/>
                    </a:cubicBezTo>
                    <a:cubicBezTo>
                      <a:pt x="700" y="75"/>
                      <a:pt x="700" y="75"/>
                      <a:pt x="700" y="75"/>
                    </a:cubicBezTo>
                    <a:cubicBezTo>
                      <a:pt x="700" y="69"/>
                      <a:pt x="700" y="63"/>
                      <a:pt x="698" y="58"/>
                    </a:cubicBezTo>
                    <a:cubicBezTo>
                      <a:pt x="697" y="53"/>
                      <a:pt x="695" y="49"/>
                      <a:pt x="693" y="45"/>
                    </a:cubicBezTo>
                    <a:cubicBezTo>
                      <a:pt x="690" y="42"/>
                      <a:pt x="686" y="40"/>
                      <a:pt x="682" y="38"/>
                    </a:cubicBezTo>
                    <a:cubicBezTo>
                      <a:pt x="677" y="37"/>
                      <a:pt x="672" y="36"/>
                      <a:pt x="666" y="36"/>
                    </a:cubicBezTo>
                    <a:cubicBezTo>
                      <a:pt x="660" y="36"/>
                      <a:pt x="654" y="36"/>
                      <a:pt x="649" y="37"/>
                    </a:cubicBezTo>
                    <a:cubicBezTo>
                      <a:pt x="644" y="39"/>
                      <a:pt x="639" y="40"/>
                      <a:pt x="632" y="43"/>
                    </a:cubicBezTo>
                    <a:lnTo>
                      <a:pt x="633" y="117"/>
                    </a:lnTo>
                    <a:close/>
                    <a:moveTo>
                      <a:pt x="564" y="109"/>
                    </a:moveTo>
                    <a:cubicBezTo>
                      <a:pt x="561" y="108"/>
                      <a:pt x="558" y="106"/>
                      <a:pt x="556" y="103"/>
                    </a:cubicBezTo>
                    <a:cubicBezTo>
                      <a:pt x="554" y="100"/>
                      <a:pt x="553" y="97"/>
                      <a:pt x="552" y="92"/>
                    </a:cubicBezTo>
                    <a:cubicBezTo>
                      <a:pt x="552" y="88"/>
                      <a:pt x="551" y="82"/>
                      <a:pt x="551" y="76"/>
                    </a:cubicBezTo>
                    <a:cubicBezTo>
                      <a:pt x="551" y="69"/>
                      <a:pt x="552" y="64"/>
                      <a:pt x="553" y="60"/>
                    </a:cubicBezTo>
                    <a:cubicBezTo>
                      <a:pt x="554" y="56"/>
                      <a:pt x="555" y="52"/>
                      <a:pt x="557" y="50"/>
                    </a:cubicBezTo>
                    <a:cubicBezTo>
                      <a:pt x="559" y="47"/>
                      <a:pt x="562" y="46"/>
                      <a:pt x="565" y="45"/>
                    </a:cubicBezTo>
                    <a:cubicBezTo>
                      <a:pt x="568" y="44"/>
                      <a:pt x="572" y="43"/>
                      <a:pt x="577" y="43"/>
                    </a:cubicBezTo>
                    <a:cubicBezTo>
                      <a:pt x="581" y="43"/>
                      <a:pt x="584" y="44"/>
                      <a:pt x="588" y="45"/>
                    </a:cubicBezTo>
                    <a:cubicBezTo>
                      <a:pt x="591" y="46"/>
                      <a:pt x="593" y="48"/>
                      <a:pt x="595" y="50"/>
                    </a:cubicBezTo>
                    <a:cubicBezTo>
                      <a:pt x="597" y="53"/>
                      <a:pt x="599" y="56"/>
                      <a:pt x="600" y="61"/>
                    </a:cubicBezTo>
                    <a:cubicBezTo>
                      <a:pt x="601" y="65"/>
                      <a:pt x="602" y="70"/>
                      <a:pt x="602" y="76"/>
                    </a:cubicBezTo>
                    <a:cubicBezTo>
                      <a:pt x="602" y="82"/>
                      <a:pt x="602" y="87"/>
                      <a:pt x="601" y="92"/>
                    </a:cubicBezTo>
                    <a:cubicBezTo>
                      <a:pt x="601" y="96"/>
                      <a:pt x="599" y="100"/>
                      <a:pt x="598" y="103"/>
                    </a:cubicBezTo>
                    <a:cubicBezTo>
                      <a:pt x="596" y="106"/>
                      <a:pt x="593" y="108"/>
                      <a:pt x="590" y="109"/>
                    </a:cubicBezTo>
                    <a:cubicBezTo>
                      <a:pt x="587" y="110"/>
                      <a:pt x="582" y="111"/>
                      <a:pt x="577" y="111"/>
                    </a:cubicBezTo>
                    <a:cubicBezTo>
                      <a:pt x="572" y="111"/>
                      <a:pt x="567" y="111"/>
                      <a:pt x="564" y="109"/>
                    </a:cubicBezTo>
                    <a:moveTo>
                      <a:pt x="577" y="36"/>
                    </a:moveTo>
                    <a:cubicBezTo>
                      <a:pt x="571" y="36"/>
                      <a:pt x="565" y="36"/>
                      <a:pt x="561" y="38"/>
                    </a:cubicBezTo>
                    <a:cubicBezTo>
                      <a:pt x="556" y="39"/>
                      <a:pt x="553" y="41"/>
                      <a:pt x="550" y="45"/>
                    </a:cubicBezTo>
                    <a:cubicBezTo>
                      <a:pt x="547" y="48"/>
                      <a:pt x="544" y="52"/>
                      <a:pt x="543" y="57"/>
                    </a:cubicBezTo>
                    <a:cubicBezTo>
                      <a:pt x="542" y="62"/>
                      <a:pt x="541" y="68"/>
                      <a:pt x="541" y="75"/>
                    </a:cubicBezTo>
                    <a:cubicBezTo>
                      <a:pt x="541" y="83"/>
                      <a:pt x="541" y="90"/>
                      <a:pt x="542" y="95"/>
                    </a:cubicBezTo>
                    <a:cubicBezTo>
                      <a:pt x="544" y="101"/>
                      <a:pt x="546" y="105"/>
                      <a:pt x="548" y="109"/>
                    </a:cubicBezTo>
                    <a:cubicBezTo>
                      <a:pt x="551" y="112"/>
                      <a:pt x="555" y="114"/>
                      <a:pt x="559" y="116"/>
                    </a:cubicBezTo>
                    <a:cubicBezTo>
                      <a:pt x="564" y="118"/>
                      <a:pt x="570" y="118"/>
                      <a:pt x="577" y="118"/>
                    </a:cubicBezTo>
                    <a:cubicBezTo>
                      <a:pt x="584" y="118"/>
                      <a:pt x="590" y="117"/>
                      <a:pt x="595" y="116"/>
                    </a:cubicBezTo>
                    <a:cubicBezTo>
                      <a:pt x="599" y="114"/>
                      <a:pt x="603" y="111"/>
                      <a:pt x="605" y="108"/>
                    </a:cubicBezTo>
                    <a:cubicBezTo>
                      <a:pt x="608" y="104"/>
                      <a:pt x="610" y="100"/>
                      <a:pt x="611" y="95"/>
                    </a:cubicBezTo>
                    <a:cubicBezTo>
                      <a:pt x="612" y="89"/>
                      <a:pt x="613" y="83"/>
                      <a:pt x="613" y="76"/>
                    </a:cubicBezTo>
                    <a:cubicBezTo>
                      <a:pt x="613" y="69"/>
                      <a:pt x="612" y="63"/>
                      <a:pt x="610" y="57"/>
                    </a:cubicBezTo>
                    <a:cubicBezTo>
                      <a:pt x="609" y="52"/>
                      <a:pt x="606" y="48"/>
                      <a:pt x="603" y="45"/>
                    </a:cubicBezTo>
                    <a:cubicBezTo>
                      <a:pt x="600" y="42"/>
                      <a:pt x="597" y="40"/>
                      <a:pt x="592" y="38"/>
                    </a:cubicBezTo>
                    <a:cubicBezTo>
                      <a:pt x="588" y="37"/>
                      <a:pt x="583" y="36"/>
                      <a:pt x="577" y="36"/>
                    </a:cubicBezTo>
                    <a:close/>
                    <a:moveTo>
                      <a:pt x="512" y="117"/>
                    </a:moveTo>
                    <a:cubicBezTo>
                      <a:pt x="522" y="117"/>
                      <a:pt x="522" y="117"/>
                      <a:pt x="522" y="117"/>
                    </a:cubicBezTo>
                    <a:cubicBezTo>
                      <a:pt x="522" y="37"/>
                      <a:pt x="522" y="37"/>
                      <a:pt x="522" y="37"/>
                    </a:cubicBezTo>
                    <a:cubicBezTo>
                      <a:pt x="512" y="37"/>
                      <a:pt x="512" y="37"/>
                      <a:pt x="512" y="37"/>
                    </a:cubicBezTo>
                    <a:lnTo>
                      <a:pt x="512" y="117"/>
                    </a:lnTo>
                    <a:close/>
                    <a:moveTo>
                      <a:pt x="512" y="17"/>
                    </a:moveTo>
                    <a:cubicBezTo>
                      <a:pt x="522" y="17"/>
                      <a:pt x="522" y="17"/>
                      <a:pt x="522" y="17"/>
                    </a:cubicBezTo>
                    <a:cubicBezTo>
                      <a:pt x="522" y="6"/>
                      <a:pt x="522" y="6"/>
                      <a:pt x="522" y="6"/>
                    </a:cubicBezTo>
                    <a:cubicBezTo>
                      <a:pt x="512" y="6"/>
                      <a:pt x="512" y="6"/>
                      <a:pt x="512" y="6"/>
                    </a:cubicBezTo>
                    <a:lnTo>
                      <a:pt x="512" y="17"/>
                    </a:lnTo>
                    <a:close/>
                    <a:moveTo>
                      <a:pt x="467" y="17"/>
                    </a:moveTo>
                    <a:cubicBezTo>
                      <a:pt x="467" y="37"/>
                      <a:pt x="467" y="37"/>
                      <a:pt x="467" y="37"/>
                    </a:cubicBezTo>
                    <a:cubicBezTo>
                      <a:pt x="450" y="37"/>
                      <a:pt x="450" y="37"/>
                      <a:pt x="450" y="37"/>
                    </a:cubicBezTo>
                    <a:cubicBezTo>
                      <a:pt x="450" y="45"/>
                      <a:pt x="450" y="45"/>
                      <a:pt x="450" y="45"/>
                    </a:cubicBezTo>
                    <a:cubicBezTo>
                      <a:pt x="467" y="45"/>
                      <a:pt x="467" y="45"/>
                      <a:pt x="467" y="45"/>
                    </a:cubicBezTo>
                    <a:cubicBezTo>
                      <a:pt x="467" y="92"/>
                      <a:pt x="467" y="92"/>
                      <a:pt x="467" y="92"/>
                    </a:cubicBezTo>
                    <a:cubicBezTo>
                      <a:pt x="467" y="96"/>
                      <a:pt x="467" y="101"/>
                      <a:pt x="468" y="104"/>
                    </a:cubicBezTo>
                    <a:cubicBezTo>
                      <a:pt x="468" y="107"/>
                      <a:pt x="469" y="110"/>
                      <a:pt x="470" y="112"/>
                    </a:cubicBezTo>
                    <a:cubicBezTo>
                      <a:pt x="471" y="114"/>
                      <a:pt x="473" y="116"/>
                      <a:pt x="475" y="117"/>
                    </a:cubicBezTo>
                    <a:cubicBezTo>
                      <a:pt x="478" y="118"/>
                      <a:pt x="481" y="118"/>
                      <a:pt x="484" y="118"/>
                    </a:cubicBezTo>
                    <a:cubicBezTo>
                      <a:pt x="486" y="118"/>
                      <a:pt x="487" y="118"/>
                      <a:pt x="488" y="118"/>
                    </a:cubicBezTo>
                    <a:cubicBezTo>
                      <a:pt x="490" y="118"/>
                      <a:pt x="492" y="117"/>
                      <a:pt x="495" y="117"/>
                    </a:cubicBezTo>
                    <a:cubicBezTo>
                      <a:pt x="496" y="110"/>
                      <a:pt x="496" y="110"/>
                      <a:pt x="496" y="110"/>
                    </a:cubicBezTo>
                    <a:cubicBezTo>
                      <a:pt x="494" y="110"/>
                      <a:pt x="492" y="110"/>
                      <a:pt x="490" y="111"/>
                    </a:cubicBezTo>
                    <a:cubicBezTo>
                      <a:pt x="489" y="111"/>
                      <a:pt x="487" y="111"/>
                      <a:pt x="486" y="111"/>
                    </a:cubicBezTo>
                    <a:cubicBezTo>
                      <a:pt x="485" y="111"/>
                      <a:pt x="485" y="111"/>
                      <a:pt x="485" y="111"/>
                    </a:cubicBezTo>
                    <a:cubicBezTo>
                      <a:pt x="484" y="111"/>
                      <a:pt x="482" y="111"/>
                      <a:pt x="481" y="110"/>
                    </a:cubicBezTo>
                    <a:cubicBezTo>
                      <a:pt x="480" y="110"/>
                      <a:pt x="479" y="109"/>
                      <a:pt x="479" y="107"/>
                    </a:cubicBezTo>
                    <a:cubicBezTo>
                      <a:pt x="478" y="106"/>
                      <a:pt x="478" y="104"/>
                      <a:pt x="478" y="101"/>
                    </a:cubicBezTo>
                    <a:cubicBezTo>
                      <a:pt x="477" y="99"/>
                      <a:pt x="477" y="96"/>
                      <a:pt x="477" y="92"/>
                    </a:cubicBezTo>
                    <a:cubicBezTo>
                      <a:pt x="477" y="45"/>
                      <a:pt x="477" y="45"/>
                      <a:pt x="477" y="45"/>
                    </a:cubicBezTo>
                    <a:cubicBezTo>
                      <a:pt x="496" y="45"/>
                      <a:pt x="496" y="45"/>
                      <a:pt x="496" y="45"/>
                    </a:cubicBezTo>
                    <a:cubicBezTo>
                      <a:pt x="496" y="37"/>
                      <a:pt x="496" y="37"/>
                      <a:pt x="496" y="37"/>
                    </a:cubicBezTo>
                    <a:cubicBezTo>
                      <a:pt x="477" y="37"/>
                      <a:pt x="477" y="37"/>
                      <a:pt x="477" y="37"/>
                    </a:cubicBezTo>
                    <a:cubicBezTo>
                      <a:pt x="477" y="17"/>
                      <a:pt x="477" y="17"/>
                      <a:pt x="477" y="17"/>
                    </a:cubicBezTo>
                    <a:lnTo>
                      <a:pt x="467" y="17"/>
                    </a:lnTo>
                    <a:close/>
                    <a:moveTo>
                      <a:pt x="429" y="117"/>
                    </a:moveTo>
                    <a:cubicBezTo>
                      <a:pt x="440" y="117"/>
                      <a:pt x="440" y="117"/>
                      <a:pt x="440" y="117"/>
                    </a:cubicBezTo>
                    <a:cubicBezTo>
                      <a:pt x="440" y="37"/>
                      <a:pt x="440" y="37"/>
                      <a:pt x="440" y="37"/>
                    </a:cubicBezTo>
                    <a:cubicBezTo>
                      <a:pt x="429" y="37"/>
                      <a:pt x="429" y="37"/>
                      <a:pt x="429" y="37"/>
                    </a:cubicBezTo>
                    <a:lnTo>
                      <a:pt x="429" y="117"/>
                    </a:lnTo>
                    <a:close/>
                    <a:moveTo>
                      <a:pt x="429" y="17"/>
                    </a:moveTo>
                    <a:cubicBezTo>
                      <a:pt x="440" y="17"/>
                      <a:pt x="440" y="17"/>
                      <a:pt x="440" y="17"/>
                    </a:cubicBezTo>
                    <a:cubicBezTo>
                      <a:pt x="440" y="6"/>
                      <a:pt x="440" y="6"/>
                      <a:pt x="440" y="6"/>
                    </a:cubicBezTo>
                    <a:cubicBezTo>
                      <a:pt x="429" y="6"/>
                      <a:pt x="429" y="6"/>
                      <a:pt x="429" y="6"/>
                    </a:cubicBezTo>
                    <a:lnTo>
                      <a:pt x="429" y="17"/>
                    </a:lnTo>
                    <a:close/>
                    <a:moveTo>
                      <a:pt x="353" y="47"/>
                    </a:moveTo>
                    <a:cubicBezTo>
                      <a:pt x="356" y="46"/>
                      <a:pt x="359" y="45"/>
                      <a:pt x="363" y="44"/>
                    </a:cubicBezTo>
                    <a:cubicBezTo>
                      <a:pt x="367" y="43"/>
                      <a:pt x="372" y="43"/>
                      <a:pt x="376" y="43"/>
                    </a:cubicBezTo>
                    <a:cubicBezTo>
                      <a:pt x="380" y="43"/>
                      <a:pt x="384" y="43"/>
                      <a:pt x="387" y="45"/>
                    </a:cubicBezTo>
                    <a:cubicBezTo>
                      <a:pt x="390" y="46"/>
                      <a:pt x="392" y="48"/>
                      <a:pt x="393" y="50"/>
                    </a:cubicBezTo>
                    <a:cubicBezTo>
                      <a:pt x="395" y="53"/>
                      <a:pt x="396" y="56"/>
                      <a:pt x="396" y="61"/>
                    </a:cubicBezTo>
                    <a:cubicBezTo>
                      <a:pt x="397" y="65"/>
                      <a:pt x="397" y="70"/>
                      <a:pt x="397" y="75"/>
                    </a:cubicBezTo>
                    <a:cubicBezTo>
                      <a:pt x="397" y="81"/>
                      <a:pt x="397" y="86"/>
                      <a:pt x="396" y="91"/>
                    </a:cubicBezTo>
                    <a:cubicBezTo>
                      <a:pt x="396" y="95"/>
                      <a:pt x="394" y="99"/>
                      <a:pt x="392" y="102"/>
                    </a:cubicBezTo>
                    <a:cubicBezTo>
                      <a:pt x="390" y="105"/>
                      <a:pt x="387" y="107"/>
                      <a:pt x="383" y="108"/>
                    </a:cubicBezTo>
                    <a:cubicBezTo>
                      <a:pt x="379" y="110"/>
                      <a:pt x="374" y="111"/>
                      <a:pt x="367" y="111"/>
                    </a:cubicBezTo>
                    <a:cubicBezTo>
                      <a:pt x="365" y="111"/>
                      <a:pt x="363" y="111"/>
                      <a:pt x="361" y="111"/>
                    </a:cubicBezTo>
                    <a:cubicBezTo>
                      <a:pt x="358" y="110"/>
                      <a:pt x="356" y="110"/>
                      <a:pt x="353" y="110"/>
                    </a:cubicBezTo>
                    <a:lnTo>
                      <a:pt x="353" y="47"/>
                    </a:lnTo>
                    <a:close/>
                    <a:moveTo>
                      <a:pt x="343" y="5"/>
                    </a:moveTo>
                    <a:cubicBezTo>
                      <a:pt x="343" y="117"/>
                      <a:pt x="343" y="117"/>
                      <a:pt x="343" y="117"/>
                    </a:cubicBezTo>
                    <a:cubicBezTo>
                      <a:pt x="346" y="117"/>
                      <a:pt x="350" y="117"/>
                      <a:pt x="354" y="118"/>
                    </a:cubicBezTo>
                    <a:cubicBezTo>
                      <a:pt x="358" y="118"/>
                      <a:pt x="362" y="118"/>
                      <a:pt x="366" y="118"/>
                    </a:cubicBezTo>
                    <a:cubicBezTo>
                      <a:pt x="374" y="118"/>
                      <a:pt x="381" y="117"/>
                      <a:pt x="387" y="116"/>
                    </a:cubicBezTo>
                    <a:cubicBezTo>
                      <a:pt x="392" y="114"/>
                      <a:pt x="397" y="111"/>
                      <a:pt x="400" y="108"/>
                    </a:cubicBezTo>
                    <a:cubicBezTo>
                      <a:pt x="403" y="104"/>
                      <a:pt x="405" y="100"/>
                      <a:pt x="406" y="94"/>
                    </a:cubicBezTo>
                    <a:cubicBezTo>
                      <a:pt x="407" y="89"/>
                      <a:pt x="408" y="83"/>
                      <a:pt x="408" y="75"/>
                    </a:cubicBezTo>
                    <a:cubicBezTo>
                      <a:pt x="408" y="69"/>
                      <a:pt x="407" y="63"/>
                      <a:pt x="406" y="58"/>
                    </a:cubicBezTo>
                    <a:cubicBezTo>
                      <a:pt x="405" y="53"/>
                      <a:pt x="404" y="49"/>
                      <a:pt x="401" y="45"/>
                    </a:cubicBezTo>
                    <a:cubicBezTo>
                      <a:pt x="399" y="42"/>
                      <a:pt x="396" y="40"/>
                      <a:pt x="392" y="38"/>
                    </a:cubicBezTo>
                    <a:cubicBezTo>
                      <a:pt x="388" y="37"/>
                      <a:pt x="382" y="36"/>
                      <a:pt x="376" y="36"/>
                    </a:cubicBezTo>
                    <a:cubicBezTo>
                      <a:pt x="372" y="36"/>
                      <a:pt x="367" y="36"/>
                      <a:pt x="363" y="37"/>
                    </a:cubicBezTo>
                    <a:cubicBezTo>
                      <a:pt x="359" y="38"/>
                      <a:pt x="356" y="39"/>
                      <a:pt x="353" y="40"/>
                    </a:cubicBezTo>
                    <a:cubicBezTo>
                      <a:pt x="353" y="5"/>
                      <a:pt x="353" y="5"/>
                      <a:pt x="353" y="5"/>
                    </a:cubicBezTo>
                    <a:lnTo>
                      <a:pt x="343" y="5"/>
                    </a:lnTo>
                    <a:close/>
                    <a:moveTo>
                      <a:pt x="201" y="117"/>
                    </a:moveTo>
                    <a:cubicBezTo>
                      <a:pt x="212" y="117"/>
                      <a:pt x="212" y="117"/>
                      <a:pt x="212" y="117"/>
                    </a:cubicBezTo>
                    <a:cubicBezTo>
                      <a:pt x="212" y="47"/>
                      <a:pt x="212" y="47"/>
                      <a:pt x="212" y="47"/>
                    </a:cubicBezTo>
                    <a:cubicBezTo>
                      <a:pt x="215" y="46"/>
                      <a:pt x="218" y="45"/>
                      <a:pt x="222" y="44"/>
                    </a:cubicBezTo>
                    <a:cubicBezTo>
                      <a:pt x="226" y="43"/>
                      <a:pt x="230" y="43"/>
                      <a:pt x="235" y="43"/>
                    </a:cubicBezTo>
                    <a:cubicBezTo>
                      <a:pt x="239" y="43"/>
                      <a:pt x="242" y="43"/>
                      <a:pt x="245" y="45"/>
                    </a:cubicBezTo>
                    <a:cubicBezTo>
                      <a:pt x="248" y="46"/>
                      <a:pt x="250" y="48"/>
                      <a:pt x="252" y="50"/>
                    </a:cubicBezTo>
                    <a:cubicBezTo>
                      <a:pt x="253" y="53"/>
                      <a:pt x="254" y="56"/>
                      <a:pt x="255" y="60"/>
                    </a:cubicBezTo>
                    <a:cubicBezTo>
                      <a:pt x="255" y="64"/>
                      <a:pt x="256" y="69"/>
                      <a:pt x="256" y="75"/>
                    </a:cubicBezTo>
                    <a:cubicBezTo>
                      <a:pt x="256" y="117"/>
                      <a:pt x="256" y="117"/>
                      <a:pt x="256" y="117"/>
                    </a:cubicBezTo>
                    <a:cubicBezTo>
                      <a:pt x="267" y="117"/>
                      <a:pt x="267" y="117"/>
                      <a:pt x="267" y="117"/>
                    </a:cubicBezTo>
                    <a:cubicBezTo>
                      <a:pt x="267" y="75"/>
                      <a:pt x="267" y="75"/>
                      <a:pt x="267" y="75"/>
                    </a:cubicBezTo>
                    <a:cubicBezTo>
                      <a:pt x="267" y="69"/>
                      <a:pt x="266" y="64"/>
                      <a:pt x="266" y="59"/>
                    </a:cubicBezTo>
                    <a:cubicBezTo>
                      <a:pt x="265" y="55"/>
                      <a:pt x="264" y="51"/>
                      <a:pt x="262" y="48"/>
                    </a:cubicBezTo>
                    <a:cubicBezTo>
                      <a:pt x="267" y="46"/>
                      <a:pt x="272" y="45"/>
                      <a:pt x="276" y="44"/>
                    </a:cubicBezTo>
                    <a:cubicBezTo>
                      <a:pt x="280" y="43"/>
                      <a:pt x="284" y="43"/>
                      <a:pt x="289" y="43"/>
                    </a:cubicBezTo>
                    <a:cubicBezTo>
                      <a:pt x="293" y="43"/>
                      <a:pt x="297" y="43"/>
                      <a:pt x="300" y="45"/>
                    </a:cubicBezTo>
                    <a:cubicBezTo>
                      <a:pt x="303" y="46"/>
                      <a:pt x="305" y="48"/>
                      <a:pt x="306" y="50"/>
                    </a:cubicBezTo>
                    <a:cubicBezTo>
                      <a:pt x="308" y="53"/>
                      <a:pt x="309" y="56"/>
                      <a:pt x="309" y="60"/>
                    </a:cubicBezTo>
                    <a:cubicBezTo>
                      <a:pt x="310" y="64"/>
                      <a:pt x="310" y="69"/>
                      <a:pt x="310" y="75"/>
                    </a:cubicBezTo>
                    <a:cubicBezTo>
                      <a:pt x="310" y="117"/>
                      <a:pt x="310" y="117"/>
                      <a:pt x="310" y="117"/>
                    </a:cubicBezTo>
                    <a:cubicBezTo>
                      <a:pt x="321" y="117"/>
                      <a:pt x="321" y="117"/>
                      <a:pt x="321" y="117"/>
                    </a:cubicBezTo>
                    <a:cubicBezTo>
                      <a:pt x="321" y="75"/>
                      <a:pt x="321" y="75"/>
                      <a:pt x="321" y="75"/>
                    </a:cubicBezTo>
                    <a:cubicBezTo>
                      <a:pt x="321" y="68"/>
                      <a:pt x="321" y="63"/>
                      <a:pt x="320" y="58"/>
                    </a:cubicBezTo>
                    <a:cubicBezTo>
                      <a:pt x="319" y="53"/>
                      <a:pt x="317" y="48"/>
                      <a:pt x="315" y="45"/>
                    </a:cubicBezTo>
                    <a:cubicBezTo>
                      <a:pt x="312" y="42"/>
                      <a:pt x="309" y="40"/>
                      <a:pt x="305" y="38"/>
                    </a:cubicBezTo>
                    <a:cubicBezTo>
                      <a:pt x="301" y="36"/>
                      <a:pt x="296" y="36"/>
                      <a:pt x="289" y="36"/>
                    </a:cubicBezTo>
                    <a:cubicBezTo>
                      <a:pt x="287" y="36"/>
                      <a:pt x="284" y="36"/>
                      <a:pt x="282" y="36"/>
                    </a:cubicBezTo>
                    <a:cubicBezTo>
                      <a:pt x="279" y="36"/>
                      <a:pt x="277" y="36"/>
                      <a:pt x="274" y="37"/>
                    </a:cubicBezTo>
                    <a:cubicBezTo>
                      <a:pt x="272" y="37"/>
                      <a:pt x="269" y="38"/>
                      <a:pt x="266" y="39"/>
                    </a:cubicBezTo>
                    <a:cubicBezTo>
                      <a:pt x="263" y="40"/>
                      <a:pt x="260" y="41"/>
                      <a:pt x="257" y="42"/>
                    </a:cubicBezTo>
                    <a:cubicBezTo>
                      <a:pt x="252" y="38"/>
                      <a:pt x="245" y="35"/>
                      <a:pt x="235" y="35"/>
                    </a:cubicBezTo>
                    <a:cubicBezTo>
                      <a:pt x="229" y="35"/>
                      <a:pt x="224" y="36"/>
                      <a:pt x="219" y="37"/>
                    </a:cubicBezTo>
                    <a:cubicBezTo>
                      <a:pt x="214" y="38"/>
                      <a:pt x="208" y="40"/>
                      <a:pt x="201" y="42"/>
                    </a:cubicBezTo>
                    <a:lnTo>
                      <a:pt x="201" y="117"/>
                    </a:lnTo>
                    <a:close/>
                    <a:moveTo>
                      <a:pt x="169" y="107"/>
                    </a:moveTo>
                    <a:cubicBezTo>
                      <a:pt x="166" y="108"/>
                      <a:pt x="162" y="108"/>
                      <a:pt x="157" y="109"/>
                    </a:cubicBezTo>
                    <a:cubicBezTo>
                      <a:pt x="152" y="110"/>
                      <a:pt x="147" y="111"/>
                      <a:pt x="142" y="111"/>
                    </a:cubicBezTo>
                    <a:cubicBezTo>
                      <a:pt x="138" y="111"/>
                      <a:pt x="134" y="109"/>
                      <a:pt x="132" y="106"/>
                    </a:cubicBezTo>
                    <a:cubicBezTo>
                      <a:pt x="129" y="103"/>
                      <a:pt x="128" y="99"/>
                      <a:pt x="128" y="94"/>
                    </a:cubicBezTo>
                    <a:cubicBezTo>
                      <a:pt x="128" y="90"/>
                      <a:pt x="129" y="86"/>
                      <a:pt x="132" y="83"/>
                    </a:cubicBezTo>
                    <a:cubicBezTo>
                      <a:pt x="134" y="80"/>
                      <a:pt x="138" y="78"/>
                      <a:pt x="144" y="78"/>
                    </a:cubicBezTo>
                    <a:cubicBezTo>
                      <a:pt x="169" y="76"/>
                      <a:pt x="169" y="76"/>
                      <a:pt x="169" y="76"/>
                    </a:cubicBezTo>
                    <a:lnTo>
                      <a:pt x="169" y="107"/>
                    </a:lnTo>
                    <a:close/>
                    <a:moveTo>
                      <a:pt x="125" y="45"/>
                    </a:moveTo>
                    <a:cubicBezTo>
                      <a:pt x="130" y="45"/>
                      <a:pt x="134" y="44"/>
                      <a:pt x="139" y="44"/>
                    </a:cubicBezTo>
                    <a:cubicBezTo>
                      <a:pt x="144" y="43"/>
                      <a:pt x="148" y="43"/>
                      <a:pt x="152" y="43"/>
                    </a:cubicBezTo>
                    <a:cubicBezTo>
                      <a:pt x="158" y="43"/>
                      <a:pt x="162" y="45"/>
                      <a:pt x="165" y="47"/>
                    </a:cubicBezTo>
                    <a:cubicBezTo>
                      <a:pt x="168" y="50"/>
                      <a:pt x="169" y="54"/>
                      <a:pt x="169" y="61"/>
                    </a:cubicBezTo>
                    <a:cubicBezTo>
                      <a:pt x="169" y="69"/>
                      <a:pt x="169" y="69"/>
                      <a:pt x="169" y="69"/>
                    </a:cubicBezTo>
                    <a:cubicBezTo>
                      <a:pt x="143" y="71"/>
                      <a:pt x="143" y="71"/>
                      <a:pt x="143" y="71"/>
                    </a:cubicBezTo>
                    <a:cubicBezTo>
                      <a:pt x="134" y="72"/>
                      <a:pt x="127" y="74"/>
                      <a:pt x="123" y="78"/>
                    </a:cubicBezTo>
                    <a:cubicBezTo>
                      <a:pt x="119" y="82"/>
                      <a:pt x="117" y="88"/>
                      <a:pt x="117" y="94"/>
                    </a:cubicBezTo>
                    <a:cubicBezTo>
                      <a:pt x="117" y="102"/>
                      <a:pt x="120" y="108"/>
                      <a:pt x="124" y="112"/>
                    </a:cubicBezTo>
                    <a:cubicBezTo>
                      <a:pt x="128" y="116"/>
                      <a:pt x="134" y="118"/>
                      <a:pt x="142" y="118"/>
                    </a:cubicBezTo>
                    <a:cubicBezTo>
                      <a:pt x="150" y="118"/>
                      <a:pt x="157" y="117"/>
                      <a:pt x="163" y="116"/>
                    </a:cubicBezTo>
                    <a:cubicBezTo>
                      <a:pt x="169" y="114"/>
                      <a:pt x="175" y="113"/>
                      <a:pt x="180" y="111"/>
                    </a:cubicBezTo>
                    <a:cubicBezTo>
                      <a:pt x="180" y="61"/>
                      <a:pt x="180" y="61"/>
                      <a:pt x="180" y="61"/>
                    </a:cubicBezTo>
                    <a:cubicBezTo>
                      <a:pt x="180" y="53"/>
                      <a:pt x="177" y="46"/>
                      <a:pt x="173" y="42"/>
                    </a:cubicBezTo>
                    <a:cubicBezTo>
                      <a:pt x="169" y="38"/>
                      <a:pt x="162" y="36"/>
                      <a:pt x="152" y="36"/>
                    </a:cubicBezTo>
                    <a:cubicBezTo>
                      <a:pt x="147" y="36"/>
                      <a:pt x="143" y="36"/>
                      <a:pt x="138" y="36"/>
                    </a:cubicBezTo>
                    <a:cubicBezTo>
                      <a:pt x="133" y="37"/>
                      <a:pt x="128" y="37"/>
                      <a:pt x="123" y="38"/>
                    </a:cubicBezTo>
                    <a:lnTo>
                      <a:pt x="125" y="45"/>
                    </a:lnTo>
                    <a:close/>
                    <a:moveTo>
                      <a:pt x="81" y="34"/>
                    </a:moveTo>
                    <a:cubicBezTo>
                      <a:pt x="91" y="34"/>
                      <a:pt x="91" y="34"/>
                      <a:pt x="91" y="34"/>
                    </a:cubicBezTo>
                    <a:cubicBezTo>
                      <a:pt x="100" y="0"/>
                      <a:pt x="100" y="0"/>
                      <a:pt x="100" y="0"/>
                    </a:cubicBezTo>
                    <a:cubicBezTo>
                      <a:pt x="89" y="0"/>
                      <a:pt x="89" y="0"/>
                      <a:pt x="89" y="0"/>
                    </a:cubicBezTo>
                    <a:lnTo>
                      <a:pt x="81" y="34"/>
                    </a:lnTo>
                    <a:close/>
                    <a:moveTo>
                      <a:pt x="70" y="117"/>
                    </a:moveTo>
                    <a:cubicBezTo>
                      <a:pt x="70" y="109"/>
                      <a:pt x="70" y="109"/>
                      <a:pt x="70" y="109"/>
                    </a:cubicBezTo>
                    <a:cubicBezTo>
                      <a:pt x="11" y="109"/>
                      <a:pt x="11" y="109"/>
                      <a:pt x="11" y="109"/>
                    </a:cubicBezTo>
                    <a:cubicBezTo>
                      <a:pt x="11" y="5"/>
                      <a:pt x="11" y="5"/>
                      <a:pt x="11" y="5"/>
                    </a:cubicBezTo>
                    <a:cubicBezTo>
                      <a:pt x="0" y="5"/>
                      <a:pt x="0" y="5"/>
                      <a:pt x="0" y="5"/>
                    </a:cubicBezTo>
                    <a:cubicBezTo>
                      <a:pt x="0" y="117"/>
                      <a:pt x="0" y="117"/>
                      <a:pt x="0" y="117"/>
                    </a:cubicBezTo>
                    <a:lnTo>
                      <a:pt x="70" y="117"/>
                    </a:lnTo>
                    <a:close/>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17" name="Freeform 22"/>
              <p:cNvSpPr>
                <a:spLocks noEditPoints="1"/>
              </p:cNvSpPr>
              <p:nvPr userDrawn="1"/>
            </p:nvSpPr>
            <p:spPr bwMode="auto">
              <a:xfrm>
                <a:off x="3825875" y="2044700"/>
                <a:ext cx="1347788" cy="114300"/>
              </a:xfrm>
              <a:custGeom>
                <a:avLst/>
                <a:gdLst/>
                <a:ahLst/>
                <a:cxnLst>
                  <a:cxn ang="0">
                    <a:pos x="1726" y="117"/>
                  </a:cxn>
                  <a:cxn ang="0">
                    <a:pos x="1670" y="43"/>
                  </a:cxn>
                  <a:cxn ang="0">
                    <a:pos x="1648" y="17"/>
                  </a:cxn>
                  <a:cxn ang="0">
                    <a:pos x="1557" y="60"/>
                  </a:cxn>
                  <a:cxn ang="0">
                    <a:pos x="1605" y="92"/>
                  </a:cxn>
                  <a:cxn ang="0">
                    <a:pos x="1547" y="57"/>
                  </a:cxn>
                  <a:cxn ang="0">
                    <a:pos x="1615" y="95"/>
                  </a:cxn>
                  <a:cxn ang="0">
                    <a:pos x="1526" y="5"/>
                  </a:cxn>
                  <a:cxn ang="0">
                    <a:pos x="1448" y="114"/>
                  </a:cxn>
                  <a:cxn ang="0">
                    <a:pos x="1430" y="69"/>
                  </a:cxn>
                  <a:cxn ang="0">
                    <a:pos x="1456" y="44"/>
                  </a:cxn>
                  <a:cxn ang="0">
                    <a:pos x="1411" y="46"/>
                  </a:cxn>
                  <a:cxn ang="0">
                    <a:pos x="1435" y="83"/>
                  </a:cxn>
                  <a:cxn ang="0">
                    <a:pos x="1431" y="111"/>
                  </a:cxn>
                  <a:cxn ang="0">
                    <a:pos x="1369" y="110"/>
                  </a:cxn>
                  <a:cxn ang="0">
                    <a:pos x="1332" y="109"/>
                  </a:cxn>
                  <a:cxn ang="0">
                    <a:pos x="1304" y="5"/>
                  </a:cxn>
                  <a:cxn ang="0">
                    <a:pos x="1261" y="63"/>
                  </a:cxn>
                  <a:cxn ang="0">
                    <a:pos x="1218" y="44"/>
                  </a:cxn>
                  <a:cxn ang="0">
                    <a:pos x="1271" y="60"/>
                  </a:cxn>
                  <a:cxn ang="0">
                    <a:pos x="1218" y="114"/>
                  </a:cxn>
                  <a:cxn ang="0">
                    <a:pos x="1155" y="36"/>
                  </a:cxn>
                  <a:cxn ang="0">
                    <a:pos x="1059" y="43"/>
                  </a:cxn>
                  <a:cxn ang="0">
                    <a:pos x="1060" y="111"/>
                  </a:cxn>
                  <a:cxn ang="0">
                    <a:pos x="1059" y="36"/>
                  </a:cxn>
                  <a:cxn ang="0">
                    <a:pos x="1060" y="118"/>
                  </a:cxn>
                  <a:cxn ang="0">
                    <a:pos x="1007" y="5"/>
                  </a:cxn>
                  <a:cxn ang="0">
                    <a:pos x="930" y="107"/>
                  </a:cxn>
                  <a:cxn ang="0">
                    <a:pos x="930" y="107"/>
                  </a:cxn>
                  <a:cxn ang="0">
                    <a:pos x="885" y="78"/>
                  </a:cxn>
                  <a:cxn ang="0">
                    <a:pos x="913" y="36"/>
                  </a:cxn>
                  <a:cxn ang="0">
                    <a:pos x="842" y="34"/>
                  </a:cxn>
                  <a:cxn ang="0">
                    <a:pos x="768" y="61"/>
                  </a:cxn>
                  <a:cxn ang="0">
                    <a:pos x="801" y="37"/>
                  </a:cxn>
                  <a:cxn ang="0">
                    <a:pos x="778" y="116"/>
                  </a:cxn>
                  <a:cxn ang="0">
                    <a:pos x="643" y="117"/>
                  </a:cxn>
                  <a:cxn ang="0">
                    <a:pos x="700" y="75"/>
                  </a:cxn>
                  <a:cxn ang="0">
                    <a:pos x="564" y="109"/>
                  </a:cxn>
                  <a:cxn ang="0">
                    <a:pos x="588" y="45"/>
                  </a:cxn>
                  <a:cxn ang="0">
                    <a:pos x="564" y="109"/>
                  </a:cxn>
                  <a:cxn ang="0">
                    <a:pos x="559" y="116"/>
                  </a:cxn>
                  <a:cxn ang="0">
                    <a:pos x="592" y="38"/>
                  </a:cxn>
                  <a:cxn ang="0">
                    <a:pos x="522" y="17"/>
                  </a:cxn>
                  <a:cxn ang="0">
                    <a:pos x="467" y="45"/>
                  </a:cxn>
                  <a:cxn ang="0">
                    <a:pos x="496" y="110"/>
                  </a:cxn>
                  <a:cxn ang="0">
                    <a:pos x="477" y="45"/>
                  </a:cxn>
                  <a:cxn ang="0">
                    <a:pos x="440" y="37"/>
                  </a:cxn>
                  <a:cxn ang="0">
                    <a:pos x="353" y="47"/>
                  </a:cxn>
                  <a:cxn ang="0">
                    <a:pos x="392" y="102"/>
                  </a:cxn>
                  <a:cxn ang="0">
                    <a:pos x="354" y="118"/>
                  </a:cxn>
                  <a:cxn ang="0">
                    <a:pos x="392" y="38"/>
                  </a:cxn>
                  <a:cxn ang="0">
                    <a:pos x="212" y="47"/>
                  </a:cxn>
                  <a:cxn ang="0">
                    <a:pos x="267" y="117"/>
                  </a:cxn>
                  <a:cxn ang="0">
                    <a:pos x="309" y="60"/>
                  </a:cxn>
                  <a:cxn ang="0">
                    <a:pos x="289" y="36"/>
                  </a:cxn>
                  <a:cxn ang="0">
                    <a:pos x="201" y="117"/>
                  </a:cxn>
                  <a:cxn ang="0">
                    <a:pos x="169" y="76"/>
                  </a:cxn>
                  <a:cxn ang="0">
                    <a:pos x="143" y="71"/>
                  </a:cxn>
                  <a:cxn ang="0">
                    <a:pos x="173" y="42"/>
                  </a:cxn>
                  <a:cxn ang="0">
                    <a:pos x="89" y="0"/>
                  </a:cxn>
                  <a:cxn ang="0">
                    <a:pos x="70" y="117"/>
                  </a:cxn>
                </a:cxnLst>
                <a:rect l="0" t="0" r="r" b="b"/>
                <a:pathLst>
                  <a:path w="1737" h="148">
                    <a:moveTo>
                      <a:pt x="1670" y="117"/>
                    </a:moveTo>
                    <a:cubicBezTo>
                      <a:pt x="1680" y="117"/>
                      <a:pt x="1680" y="117"/>
                      <a:pt x="1680" y="117"/>
                    </a:cubicBezTo>
                    <a:cubicBezTo>
                      <a:pt x="1680" y="47"/>
                      <a:pt x="1680" y="47"/>
                      <a:pt x="1680" y="47"/>
                    </a:cubicBezTo>
                    <a:cubicBezTo>
                      <a:pt x="1683" y="46"/>
                      <a:pt x="1686" y="45"/>
                      <a:pt x="1690" y="44"/>
                    </a:cubicBezTo>
                    <a:cubicBezTo>
                      <a:pt x="1694" y="43"/>
                      <a:pt x="1698" y="43"/>
                      <a:pt x="1703" y="43"/>
                    </a:cubicBezTo>
                    <a:cubicBezTo>
                      <a:pt x="1712" y="43"/>
                      <a:pt x="1718" y="45"/>
                      <a:pt x="1721" y="51"/>
                    </a:cubicBezTo>
                    <a:cubicBezTo>
                      <a:pt x="1725" y="56"/>
                      <a:pt x="1726" y="64"/>
                      <a:pt x="1726" y="75"/>
                    </a:cubicBezTo>
                    <a:cubicBezTo>
                      <a:pt x="1726" y="117"/>
                      <a:pt x="1726" y="117"/>
                      <a:pt x="1726" y="117"/>
                    </a:cubicBezTo>
                    <a:cubicBezTo>
                      <a:pt x="1737" y="117"/>
                      <a:pt x="1737" y="117"/>
                      <a:pt x="1737" y="117"/>
                    </a:cubicBezTo>
                    <a:cubicBezTo>
                      <a:pt x="1737" y="75"/>
                      <a:pt x="1737" y="75"/>
                      <a:pt x="1737" y="75"/>
                    </a:cubicBezTo>
                    <a:cubicBezTo>
                      <a:pt x="1737" y="69"/>
                      <a:pt x="1737" y="63"/>
                      <a:pt x="1736" y="58"/>
                    </a:cubicBezTo>
                    <a:cubicBezTo>
                      <a:pt x="1734" y="53"/>
                      <a:pt x="1732" y="49"/>
                      <a:pt x="1730" y="45"/>
                    </a:cubicBezTo>
                    <a:cubicBezTo>
                      <a:pt x="1727" y="42"/>
                      <a:pt x="1723" y="40"/>
                      <a:pt x="1719" y="38"/>
                    </a:cubicBezTo>
                    <a:cubicBezTo>
                      <a:pt x="1715" y="37"/>
                      <a:pt x="1709" y="36"/>
                      <a:pt x="1703" y="36"/>
                    </a:cubicBezTo>
                    <a:cubicBezTo>
                      <a:pt x="1697" y="36"/>
                      <a:pt x="1692" y="36"/>
                      <a:pt x="1686" y="37"/>
                    </a:cubicBezTo>
                    <a:cubicBezTo>
                      <a:pt x="1681" y="39"/>
                      <a:pt x="1676" y="40"/>
                      <a:pt x="1670" y="43"/>
                    </a:cubicBezTo>
                    <a:lnTo>
                      <a:pt x="1670" y="117"/>
                    </a:lnTo>
                    <a:close/>
                    <a:moveTo>
                      <a:pt x="1637" y="117"/>
                    </a:moveTo>
                    <a:cubicBezTo>
                      <a:pt x="1648" y="117"/>
                      <a:pt x="1648" y="117"/>
                      <a:pt x="1648" y="117"/>
                    </a:cubicBezTo>
                    <a:cubicBezTo>
                      <a:pt x="1648" y="37"/>
                      <a:pt x="1648" y="37"/>
                      <a:pt x="1648" y="37"/>
                    </a:cubicBezTo>
                    <a:cubicBezTo>
                      <a:pt x="1637" y="37"/>
                      <a:pt x="1637" y="37"/>
                      <a:pt x="1637" y="37"/>
                    </a:cubicBezTo>
                    <a:lnTo>
                      <a:pt x="1637" y="117"/>
                    </a:lnTo>
                    <a:close/>
                    <a:moveTo>
                      <a:pt x="1637" y="17"/>
                    </a:moveTo>
                    <a:cubicBezTo>
                      <a:pt x="1648" y="17"/>
                      <a:pt x="1648" y="17"/>
                      <a:pt x="1648" y="17"/>
                    </a:cubicBezTo>
                    <a:cubicBezTo>
                      <a:pt x="1648" y="6"/>
                      <a:pt x="1648" y="6"/>
                      <a:pt x="1648" y="6"/>
                    </a:cubicBezTo>
                    <a:cubicBezTo>
                      <a:pt x="1637" y="6"/>
                      <a:pt x="1637" y="6"/>
                      <a:pt x="1637" y="6"/>
                    </a:cubicBezTo>
                    <a:lnTo>
                      <a:pt x="1637" y="17"/>
                    </a:lnTo>
                    <a:close/>
                    <a:moveTo>
                      <a:pt x="1568" y="109"/>
                    </a:moveTo>
                    <a:cubicBezTo>
                      <a:pt x="1565" y="108"/>
                      <a:pt x="1562" y="106"/>
                      <a:pt x="1560" y="103"/>
                    </a:cubicBezTo>
                    <a:cubicBezTo>
                      <a:pt x="1558" y="100"/>
                      <a:pt x="1557" y="97"/>
                      <a:pt x="1556" y="92"/>
                    </a:cubicBezTo>
                    <a:cubicBezTo>
                      <a:pt x="1556" y="88"/>
                      <a:pt x="1556" y="82"/>
                      <a:pt x="1556" y="76"/>
                    </a:cubicBezTo>
                    <a:cubicBezTo>
                      <a:pt x="1556" y="69"/>
                      <a:pt x="1556" y="64"/>
                      <a:pt x="1557" y="60"/>
                    </a:cubicBezTo>
                    <a:cubicBezTo>
                      <a:pt x="1558" y="56"/>
                      <a:pt x="1559" y="52"/>
                      <a:pt x="1561" y="50"/>
                    </a:cubicBezTo>
                    <a:cubicBezTo>
                      <a:pt x="1563" y="47"/>
                      <a:pt x="1566" y="46"/>
                      <a:pt x="1569" y="45"/>
                    </a:cubicBezTo>
                    <a:cubicBezTo>
                      <a:pt x="1572" y="44"/>
                      <a:pt x="1576" y="43"/>
                      <a:pt x="1581" y="43"/>
                    </a:cubicBezTo>
                    <a:cubicBezTo>
                      <a:pt x="1585" y="43"/>
                      <a:pt x="1588" y="44"/>
                      <a:pt x="1592" y="45"/>
                    </a:cubicBezTo>
                    <a:cubicBezTo>
                      <a:pt x="1595" y="46"/>
                      <a:pt x="1597" y="48"/>
                      <a:pt x="1599" y="50"/>
                    </a:cubicBezTo>
                    <a:cubicBezTo>
                      <a:pt x="1602" y="53"/>
                      <a:pt x="1603" y="56"/>
                      <a:pt x="1604" y="61"/>
                    </a:cubicBezTo>
                    <a:cubicBezTo>
                      <a:pt x="1605" y="65"/>
                      <a:pt x="1606" y="70"/>
                      <a:pt x="1606" y="76"/>
                    </a:cubicBezTo>
                    <a:cubicBezTo>
                      <a:pt x="1606" y="82"/>
                      <a:pt x="1606" y="87"/>
                      <a:pt x="1605" y="92"/>
                    </a:cubicBezTo>
                    <a:cubicBezTo>
                      <a:pt x="1605" y="96"/>
                      <a:pt x="1603" y="100"/>
                      <a:pt x="1602" y="103"/>
                    </a:cubicBezTo>
                    <a:cubicBezTo>
                      <a:pt x="1600" y="106"/>
                      <a:pt x="1597" y="108"/>
                      <a:pt x="1594" y="109"/>
                    </a:cubicBezTo>
                    <a:cubicBezTo>
                      <a:pt x="1591" y="110"/>
                      <a:pt x="1587" y="111"/>
                      <a:pt x="1581" y="111"/>
                    </a:cubicBezTo>
                    <a:cubicBezTo>
                      <a:pt x="1576" y="111"/>
                      <a:pt x="1571" y="111"/>
                      <a:pt x="1568" y="109"/>
                    </a:cubicBezTo>
                    <a:close/>
                    <a:moveTo>
                      <a:pt x="1581" y="36"/>
                    </a:moveTo>
                    <a:cubicBezTo>
                      <a:pt x="1575" y="36"/>
                      <a:pt x="1569" y="36"/>
                      <a:pt x="1565" y="38"/>
                    </a:cubicBezTo>
                    <a:cubicBezTo>
                      <a:pt x="1560" y="39"/>
                      <a:pt x="1557" y="41"/>
                      <a:pt x="1554" y="45"/>
                    </a:cubicBezTo>
                    <a:cubicBezTo>
                      <a:pt x="1551" y="48"/>
                      <a:pt x="1548" y="52"/>
                      <a:pt x="1547" y="57"/>
                    </a:cubicBezTo>
                    <a:cubicBezTo>
                      <a:pt x="1546" y="62"/>
                      <a:pt x="1545" y="68"/>
                      <a:pt x="1545" y="75"/>
                    </a:cubicBezTo>
                    <a:cubicBezTo>
                      <a:pt x="1545" y="83"/>
                      <a:pt x="1545" y="90"/>
                      <a:pt x="1547" y="95"/>
                    </a:cubicBezTo>
                    <a:cubicBezTo>
                      <a:pt x="1548" y="101"/>
                      <a:pt x="1550" y="105"/>
                      <a:pt x="1552" y="109"/>
                    </a:cubicBezTo>
                    <a:cubicBezTo>
                      <a:pt x="1555" y="112"/>
                      <a:pt x="1559" y="114"/>
                      <a:pt x="1563" y="116"/>
                    </a:cubicBezTo>
                    <a:cubicBezTo>
                      <a:pt x="1568" y="118"/>
                      <a:pt x="1574" y="118"/>
                      <a:pt x="1581" y="118"/>
                    </a:cubicBezTo>
                    <a:cubicBezTo>
                      <a:pt x="1588" y="118"/>
                      <a:pt x="1594" y="117"/>
                      <a:pt x="1599" y="116"/>
                    </a:cubicBezTo>
                    <a:cubicBezTo>
                      <a:pt x="1603" y="114"/>
                      <a:pt x="1607" y="111"/>
                      <a:pt x="1610" y="108"/>
                    </a:cubicBezTo>
                    <a:cubicBezTo>
                      <a:pt x="1612" y="104"/>
                      <a:pt x="1614" y="100"/>
                      <a:pt x="1615" y="95"/>
                    </a:cubicBezTo>
                    <a:cubicBezTo>
                      <a:pt x="1616" y="89"/>
                      <a:pt x="1617" y="83"/>
                      <a:pt x="1617" y="76"/>
                    </a:cubicBezTo>
                    <a:cubicBezTo>
                      <a:pt x="1617" y="69"/>
                      <a:pt x="1616" y="63"/>
                      <a:pt x="1614" y="57"/>
                    </a:cubicBezTo>
                    <a:cubicBezTo>
                      <a:pt x="1613" y="52"/>
                      <a:pt x="1610" y="48"/>
                      <a:pt x="1607" y="45"/>
                    </a:cubicBezTo>
                    <a:cubicBezTo>
                      <a:pt x="1604" y="42"/>
                      <a:pt x="1601" y="40"/>
                      <a:pt x="1596" y="38"/>
                    </a:cubicBezTo>
                    <a:cubicBezTo>
                      <a:pt x="1592" y="37"/>
                      <a:pt x="1587" y="36"/>
                      <a:pt x="1581" y="36"/>
                    </a:cubicBezTo>
                    <a:close/>
                    <a:moveTo>
                      <a:pt x="1516" y="117"/>
                    </a:moveTo>
                    <a:cubicBezTo>
                      <a:pt x="1526" y="117"/>
                      <a:pt x="1526" y="117"/>
                      <a:pt x="1526" y="117"/>
                    </a:cubicBezTo>
                    <a:cubicBezTo>
                      <a:pt x="1526" y="5"/>
                      <a:pt x="1526" y="5"/>
                      <a:pt x="1526" y="5"/>
                    </a:cubicBezTo>
                    <a:cubicBezTo>
                      <a:pt x="1516" y="5"/>
                      <a:pt x="1516" y="5"/>
                      <a:pt x="1516" y="5"/>
                    </a:cubicBezTo>
                    <a:lnTo>
                      <a:pt x="1516" y="117"/>
                    </a:lnTo>
                    <a:close/>
                    <a:moveTo>
                      <a:pt x="1408" y="115"/>
                    </a:moveTo>
                    <a:cubicBezTo>
                      <a:pt x="1412" y="116"/>
                      <a:pt x="1415" y="116"/>
                      <a:pt x="1419" y="117"/>
                    </a:cubicBezTo>
                    <a:cubicBezTo>
                      <a:pt x="1422" y="117"/>
                      <a:pt x="1426" y="117"/>
                      <a:pt x="1429" y="117"/>
                    </a:cubicBezTo>
                    <a:cubicBezTo>
                      <a:pt x="1432" y="117"/>
                      <a:pt x="1432" y="117"/>
                      <a:pt x="1432" y="117"/>
                    </a:cubicBezTo>
                    <a:cubicBezTo>
                      <a:pt x="1434" y="117"/>
                      <a:pt x="1437" y="117"/>
                      <a:pt x="1440" y="117"/>
                    </a:cubicBezTo>
                    <a:cubicBezTo>
                      <a:pt x="1443" y="116"/>
                      <a:pt x="1446" y="115"/>
                      <a:pt x="1448" y="114"/>
                    </a:cubicBezTo>
                    <a:cubicBezTo>
                      <a:pt x="1451" y="113"/>
                      <a:pt x="1453" y="111"/>
                      <a:pt x="1455" y="108"/>
                    </a:cubicBezTo>
                    <a:cubicBezTo>
                      <a:pt x="1457" y="106"/>
                      <a:pt x="1457" y="102"/>
                      <a:pt x="1457" y="98"/>
                    </a:cubicBezTo>
                    <a:cubicBezTo>
                      <a:pt x="1457" y="96"/>
                      <a:pt x="1457" y="94"/>
                      <a:pt x="1456" y="91"/>
                    </a:cubicBezTo>
                    <a:cubicBezTo>
                      <a:pt x="1455" y="88"/>
                      <a:pt x="1453" y="85"/>
                      <a:pt x="1450" y="83"/>
                    </a:cubicBezTo>
                    <a:cubicBezTo>
                      <a:pt x="1449" y="82"/>
                      <a:pt x="1448" y="81"/>
                      <a:pt x="1447" y="80"/>
                    </a:cubicBezTo>
                    <a:cubicBezTo>
                      <a:pt x="1445" y="79"/>
                      <a:pt x="1444" y="78"/>
                      <a:pt x="1442" y="77"/>
                    </a:cubicBezTo>
                    <a:cubicBezTo>
                      <a:pt x="1440" y="76"/>
                      <a:pt x="1438" y="74"/>
                      <a:pt x="1436" y="73"/>
                    </a:cubicBezTo>
                    <a:cubicBezTo>
                      <a:pt x="1434" y="72"/>
                      <a:pt x="1432" y="70"/>
                      <a:pt x="1430" y="69"/>
                    </a:cubicBezTo>
                    <a:cubicBezTo>
                      <a:pt x="1426" y="67"/>
                      <a:pt x="1424" y="64"/>
                      <a:pt x="1422" y="62"/>
                    </a:cubicBezTo>
                    <a:cubicBezTo>
                      <a:pt x="1421" y="61"/>
                      <a:pt x="1420" y="58"/>
                      <a:pt x="1420" y="55"/>
                    </a:cubicBezTo>
                    <a:cubicBezTo>
                      <a:pt x="1420" y="53"/>
                      <a:pt x="1420" y="53"/>
                      <a:pt x="1420" y="53"/>
                    </a:cubicBezTo>
                    <a:cubicBezTo>
                      <a:pt x="1420" y="50"/>
                      <a:pt x="1422" y="48"/>
                      <a:pt x="1424" y="46"/>
                    </a:cubicBezTo>
                    <a:cubicBezTo>
                      <a:pt x="1426" y="44"/>
                      <a:pt x="1430" y="43"/>
                      <a:pt x="1435" y="43"/>
                    </a:cubicBezTo>
                    <a:cubicBezTo>
                      <a:pt x="1438" y="43"/>
                      <a:pt x="1438" y="43"/>
                      <a:pt x="1438" y="43"/>
                    </a:cubicBezTo>
                    <a:cubicBezTo>
                      <a:pt x="1441" y="43"/>
                      <a:pt x="1444" y="43"/>
                      <a:pt x="1446" y="43"/>
                    </a:cubicBezTo>
                    <a:cubicBezTo>
                      <a:pt x="1449" y="43"/>
                      <a:pt x="1452" y="44"/>
                      <a:pt x="1456" y="44"/>
                    </a:cubicBezTo>
                    <a:cubicBezTo>
                      <a:pt x="1457" y="37"/>
                      <a:pt x="1457" y="37"/>
                      <a:pt x="1457" y="37"/>
                    </a:cubicBezTo>
                    <a:cubicBezTo>
                      <a:pt x="1455" y="37"/>
                      <a:pt x="1453" y="37"/>
                      <a:pt x="1451" y="37"/>
                    </a:cubicBezTo>
                    <a:cubicBezTo>
                      <a:pt x="1449" y="36"/>
                      <a:pt x="1448" y="36"/>
                      <a:pt x="1446" y="36"/>
                    </a:cubicBezTo>
                    <a:cubicBezTo>
                      <a:pt x="1444" y="36"/>
                      <a:pt x="1443" y="36"/>
                      <a:pt x="1441" y="36"/>
                    </a:cubicBezTo>
                    <a:cubicBezTo>
                      <a:pt x="1439" y="36"/>
                      <a:pt x="1437" y="36"/>
                      <a:pt x="1435" y="36"/>
                    </a:cubicBezTo>
                    <a:cubicBezTo>
                      <a:pt x="1431" y="36"/>
                      <a:pt x="1427" y="36"/>
                      <a:pt x="1424" y="37"/>
                    </a:cubicBezTo>
                    <a:cubicBezTo>
                      <a:pt x="1421" y="38"/>
                      <a:pt x="1418" y="39"/>
                      <a:pt x="1416" y="41"/>
                    </a:cubicBezTo>
                    <a:cubicBezTo>
                      <a:pt x="1414" y="42"/>
                      <a:pt x="1412" y="44"/>
                      <a:pt x="1411" y="46"/>
                    </a:cubicBezTo>
                    <a:cubicBezTo>
                      <a:pt x="1410" y="48"/>
                      <a:pt x="1410" y="50"/>
                      <a:pt x="1410" y="52"/>
                    </a:cubicBezTo>
                    <a:cubicBezTo>
                      <a:pt x="1410" y="55"/>
                      <a:pt x="1410" y="55"/>
                      <a:pt x="1410" y="55"/>
                    </a:cubicBezTo>
                    <a:cubicBezTo>
                      <a:pt x="1410" y="57"/>
                      <a:pt x="1410" y="59"/>
                      <a:pt x="1410" y="61"/>
                    </a:cubicBezTo>
                    <a:cubicBezTo>
                      <a:pt x="1411" y="63"/>
                      <a:pt x="1412" y="65"/>
                      <a:pt x="1413" y="66"/>
                    </a:cubicBezTo>
                    <a:cubicBezTo>
                      <a:pt x="1414" y="68"/>
                      <a:pt x="1416" y="70"/>
                      <a:pt x="1417" y="71"/>
                    </a:cubicBezTo>
                    <a:cubicBezTo>
                      <a:pt x="1419" y="72"/>
                      <a:pt x="1421" y="74"/>
                      <a:pt x="1424" y="75"/>
                    </a:cubicBezTo>
                    <a:cubicBezTo>
                      <a:pt x="1425" y="77"/>
                      <a:pt x="1427" y="78"/>
                      <a:pt x="1429" y="79"/>
                    </a:cubicBezTo>
                    <a:cubicBezTo>
                      <a:pt x="1431" y="80"/>
                      <a:pt x="1433" y="82"/>
                      <a:pt x="1435" y="83"/>
                    </a:cubicBezTo>
                    <a:cubicBezTo>
                      <a:pt x="1436" y="84"/>
                      <a:pt x="1438" y="85"/>
                      <a:pt x="1439" y="86"/>
                    </a:cubicBezTo>
                    <a:cubicBezTo>
                      <a:pt x="1440" y="87"/>
                      <a:pt x="1441" y="88"/>
                      <a:pt x="1442" y="89"/>
                    </a:cubicBezTo>
                    <a:cubicBezTo>
                      <a:pt x="1444" y="90"/>
                      <a:pt x="1445" y="92"/>
                      <a:pt x="1446" y="94"/>
                    </a:cubicBezTo>
                    <a:cubicBezTo>
                      <a:pt x="1446" y="95"/>
                      <a:pt x="1447" y="97"/>
                      <a:pt x="1447" y="99"/>
                    </a:cubicBezTo>
                    <a:cubicBezTo>
                      <a:pt x="1447" y="101"/>
                      <a:pt x="1446" y="103"/>
                      <a:pt x="1446" y="105"/>
                    </a:cubicBezTo>
                    <a:cubicBezTo>
                      <a:pt x="1445" y="107"/>
                      <a:pt x="1444" y="108"/>
                      <a:pt x="1442" y="109"/>
                    </a:cubicBezTo>
                    <a:cubicBezTo>
                      <a:pt x="1441" y="109"/>
                      <a:pt x="1439" y="110"/>
                      <a:pt x="1437" y="110"/>
                    </a:cubicBezTo>
                    <a:cubicBezTo>
                      <a:pt x="1435" y="111"/>
                      <a:pt x="1433" y="111"/>
                      <a:pt x="1431" y="111"/>
                    </a:cubicBezTo>
                    <a:cubicBezTo>
                      <a:pt x="1428" y="111"/>
                      <a:pt x="1428" y="111"/>
                      <a:pt x="1428" y="111"/>
                    </a:cubicBezTo>
                    <a:cubicBezTo>
                      <a:pt x="1426" y="111"/>
                      <a:pt x="1423" y="111"/>
                      <a:pt x="1420" y="110"/>
                    </a:cubicBezTo>
                    <a:cubicBezTo>
                      <a:pt x="1417" y="110"/>
                      <a:pt x="1413" y="109"/>
                      <a:pt x="1409" y="109"/>
                    </a:cubicBezTo>
                    <a:lnTo>
                      <a:pt x="1408" y="115"/>
                    </a:lnTo>
                    <a:close/>
                    <a:moveTo>
                      <a:pt x="1390" y="37"/>
                    </a:moveTo>
                    <a:cubicBezTo>
                      <a:pt x="1379" y="37"/>
                      <a:pt x="1379" y="37"/>
                      <a:pt x="1379" y="37"/>
                    </a:cubicBezTo>
                    <a:cubicBezTo>
                      <a:pt x="1379" y="107"/>
                      <a:pt x="1379" y="107"/>
                      <a:pt x="1379" y="107"/>
                    </a:cubicBezTo>
                    <a:cubicBezTo>
                      <a:pt x="1376" y="108"/>
                      <a:pt x="1373" y="109"/>
                      <a:pt x="1369" y="110"/>
                    </a:cubicBezTo>
                    <a:cubicBezTo>
                      <a:pt x="1366" y="111"/>
                      <a:pt x="1362" y="111"/>
                      <a:pt x="1359" y="111"/>
                    </a:cubicBezTo>
                    <a:cubicBezTo>
                      <a:pt x="1350" y="111"/>
                      <a:pt x="1344" y="109"/>
                      <a:pt x="1340" y="104"/>
                    </a:cubicBezTo>
                    <a:cubicBezTo>
                      <a:pt x="1337" y="99"/>
                      <a:pt x="1335" y="90"/>
                      <a:pt x="1335" y="79"/>
                    </a:cubicBezTo>
                    <a:cubicBezTo>
                      <a:pt x="1335" y="38"/>
                      <a:pt x="1335" y="38"/>
                      <a:pt x="1335" y="38"/>
                    </a:cubicBezTo>
                    <a:cubicBezTo>
                      <a:pt x="1324" y="38"/>
                      <a:pt x="1324" y="38"/>
                      <a:pt x="1324" y="38"/>
                    </a:cubicBezTo>
                    <a:cubicBezTo>
                      <a:pt x="1324" y="79"/>
                      <a:pt x="1324" y="79"/>
                      <a:pt x="1324" y="79"/>
                    </a:cubicBezTo>
                    <a:cubicBezTo>
                      <a:pt x="1324" y="86"/>
                      <a:pt x="1325" y="92"/>
                      <a:pt x="1326" y="97"/>
                    </a:cubicBezTo>
                    <a:cubicBezTo>
                      <a:pt x="1327" y="102"/>
                      <a:pt x="1329" y="106"/>
                      <a:pt x="1332" y="109"/>
                    </a:cubicBezTo>
                    <a:cubicBezTo>
                      <a:pt x="1335" y="112"/>
                      <a:pt x="1338" y="114"/>
                      <a:pt x="1343" y="116"/>
                    </a:cubicBezTo>
                    <a:cubicBezTo>
                      <a:pt x="1347" y="118"/>
                      <a:pt x="1352" y="118"/>
                      <a:pt x="1359" y="118"/>
                    </a:cubicBezTo>
                    <a:cubicBezTo>
                      <a:pt x="1363" y="118"/>
                      <a:pt x="1368" y="118"/>
                      <a:pt x="1373" y="117"/>
                    </a:cubicBezTo>
                    <a:cubicBezTo>
                      <a:pt x="1378" y="116"/>
                      <a:pt x="1384" y="114"/>
                      <a:pt x="1390" y="112"/>
                    </a:cubicBezTo>
                    <a:lnTo>
                      <a:pt x="1390" y="37"/>
                    </a:lnTo>
                    <a:close/>
                    <a:moveTo>
                      <a:pt x="1293" y="117"/>
                    </a:moveTo>
                    <a:cubicBezTo>
                      <a:pt x="1304" y="117"/>
                      <a:pt x="1304" y="117"/>
                      <a:pt x="1304" y="117"/>
                    </a:cubicBezTo>
                    <a:cubicBezTo>
                      <a:pt x="1304" y="5"/>
                      <a:pt x="1304" y="5"/>
                      <a:pt x="1304" y="5"/>
                    </a:cubicBezTo>
                    <a:cubicBezTo>
                      <a:pt x="1293" y="5"/>
                      <a:pt x="1293" y="5"/>
                      <a:pt x="1293" y="5"/>
                    </a:cubicBezTo>
                    <a:lnTo>
                      <a:pt x="1293" y="117"/>
                    </a:lnTo>
                    <a:close/>
                    <a:moveTo>
                      <a:pt x="1218" y="44"/>
                    </a:moveTo>
                    <a:cubicBezTo>
                      <a:pt x="1220" y="43"/>
                      <a:pt x="1222" y="43"/>
                      <a:pt x="1225" y="43"/>
                    </a:cubicBezTo>
                    <a:cubicBezTo>
                      <a:pt x="1228" y="43"/>
                      <a:pt x="1230" y="43"/>
                      <a:pt x="1232" y="43"/>
                    </a:cubicBezTo>
                    <a:cubicBezTo>
                      <a:pt x="1238" y="43"/>
                      <a:pt x="1243" y="44"/>
                      <a:pt x="1247" y="45"/>
                    </a:cubicBezTo>
                    <a:cubicBezTo>
                      <a:pt x="1251" y="47"/>
                      <a:pt x="1254" y="49"/>
                      <a:pt x="1257" y="52"/>
                    </a:cubicBezTo>
                    <a:cubicBezTo>
                      <a:pt x="1259" y="55"/>
                      <a:pt x="1260" y="58"/>
                      <a:pt x="1261" y="63"/>
                    </a:cubicBezTo>
                    <a:cubicBezTo>
                      <a:pt x="1262" y="67"/>
                      <a:pt x="1262" y="72"/>
                      <a:pt x="1262" y="78"/>
                    </a:cubicBezTo>
                    <a:cubicBezTo>
                      <a:pt x="1262" y="84"/>
                      <a:pt x="1262" y="89"/>
                      <a:pt x="1261" y="93"/>
                    </a:cubicBezTo>
                    <a:cubicBezTo>
                      <a:pt x="1260" y="97"/>
                      <a:pt x="1259" y="101"/>
                      <a:pt x="1258" y="103"/>
                    </a:cubicBezTo>
                    <a:cubicBezTo>
                      <a:pt x="1256" y="106"/>
                      <a:pt x="1254" y="108"/>
                      <a:pt x="1251" y="109"/>
                    </a:cubicBezTo>
                    <a:cubicBezTo>
                      <a:pt x="1249" y="110"/>
                      <a:pt x="1245" y="111"/>
                      <a:pt x="1241" y="111"/>
                    </a:cubicBezTo>
                    <a:cubicBezTo>
                      <a:pt x="1236" y="111"/>
                      <a:pt x="1232" y="111"/>
                      <a:pt x="1228" y="110"/>
                    </a:cubicBezTo>
                    <a:cubicBezTo>
                      <a:pt x="1224" y="109"/>
                      <a:pt x="1220" y="108"/>
                      <a:pt x="1218" y="107"/>
                    </a:cubicBezTo>
                    <a:lnTo>
                      <a:pt x="1218" y="44"/>
                    </a:lnTo>
                    <a:close/>
                    <a:moveTo>
                      <a:pt x="1218" y="114"/>
                    </a:moveTo>
                    <a:cubicBezTo>
                      <a:pt x="1220" y="115"/>
                      <a:pt x="1224" y="116"/>
                      <a:pt x="1228" y="117"/>
                    </a:cubicBezTo>
                    <a:cubicBezTo>
                      <a:pt x="1232" y="118"/>
                      <a:pt x="1236" y="118"/>
                      <a:pt x="1241" y="118"/>
                    </a:cubicBezTo>
                    <a:cubicBezTo>
                      <a:pt x="1247" y="118"/>
                      <a:pt x="1252" y="117"/>
                      <a:pt x="1256" y="116"/>
                    </a:cubicBezTo>
                    <a:cubicBezTo>
                      <a:pt x="1260" y="114"/>
                      <a:pt x="1264" y="112"/>
                      <a:pt x="1266" y="108"/>
                    </a:cubicBezTo>
                    <a:cubicBezTo>
                      <a:pt x="1268" y="105"/>
                      <a:pt x="1270" y="101"/>
                      <a:pt x="1271" y="96"/>
                    </a:cubicBezTo>
                    <a:cubicBezTo>
                      <a:pt x="1272" y="91"/>
                      <a:pt x="1273" y="85"/>
                      <a:pt x="1273" y="79"/>
                    </a:cubicBezTo>
                    <a:cubicBezTo>
                      <a:pt x="1273" y="71"/>
                      <a:pt x="1272" y="65"/>
                      <a:pt x="1271" y="60"/>
                    </a:cubicBezTo>
                    <a:cubicBezTo>
                      <a:pt x="1270" y="54"/>
                      <a:pt x="1267" y="50"/>
                      <a:pt x="1264" y="46"/>
                    </a:cubicBezTo>
                    <a:cubicBezTo>
                      <a:pt x="1261" y="43"/>
                      <a:pt x="1257" y="40"/>
                      <a:pt x="1251" y="38"/>
                    </a:cubicBezTo>
                    <a:cubicBezTo>
                      <a:pt x="1246" y="37"/>
                      <a:pt x="1239" y="36"/>
                      <a:pt x="1230" y="36"/>
                    </a:cubicBezTo>
                    <a:cubicBezTo>
                      <a:pt x="1226" y="36"/>
                      <a:pt x="1222" y="36"/>
                      <a:pt x="1219" y="36"/>
                    </a:cubicBezTo>
                    <a:cubicBezTo>
                      <a:pt x="1215" y="36"/>
                      <a:pt x="1211" y="37"/>
                      <a:pt x="1207" y="37"/>
                    </a:cubicBezTo>
                    <a:cubicBezTo>
                      <a:pt x="1207" y="148"/>
                      <a:pt x="1207" y="148"/>
                      <a:pt x="1207" y="148"/>
                    </a:cubicBezTo>
                    <a:cubicBezTo>
                      <a:pt x="1218" y="148"/>
                      <a:pt x="1218" y="148"/>
                      <a:pt x="1218" y="148"/>
                    </a:cubicBezTo>
                    <a:lnTo>
                      <a:pt x="1218" y="114"/>
                    </a:lnTo>
                    <a:close/>
                    <a:moveTo>
                      <a:pt x="1113" y="117"/>
                    </a:moveTo>
                    <a:cubicBezTo>
                      <a:pt x="1124" y="117"/>
                      <a:pt x="1124" y="117"/>
                      <a:pt x="1124" y="117"/>
                    </a:cubicBezTo>
                    <a:cubicBezTo>
                      <a:pt x="1124" y="47"/>
                      <a:pt x="1124" y="47"/>
                      <a:pt x="1124" y="47"/>
                    </a:cubicBezTo>
                    <a:cubicBezTo>
                      <a:pt x="1126" y="46"/>
                      <a:pt x="1130" y="45"/>
                      <a:pt x="1134" y="44"/>
                    </a:cubicBezTo>
                    <a:cubicBezTo>
                      <a:pt x="1138" y="43"/>
                      <a:pt x="1142" y="43"/>
                      <a:pt x="1146" y="43"/>
                    </a:cubicBezTo>
                    <a:cubicBezTo>
                      <a:pt x="1147" y="43"/>
                      <a:pt x="1149" y="43"/>
                      <a:pt x="1150" y="43"/>
                    </a:cubicBezTo>
                    <a:cubicBezTo>
                      <a:pt x="1151" y="43"/>
                      <a:pt x="1152" y="43"/>
                      <a:pt x="1154" y="44"/>
                    </a:cubicBezTo>
                    <a:cubicBezTo>
                      <a:pt x="1155" y="36"/>
                      <a:pt x="1155" y="36"/>
                      <a:pt x="1155" y="36"/>
                    </a:cubicBezTo>
                    <a:cubicBezTo>
                      <a:pt x="1153" y="36"/>
                      <a:pt x="1151" y="36"/>
                      <a:pt x="1150" y="36"/>
                    </a:cubicBezTo>
                    <a:cubicBezTo>
                      <a:pt x="1149" y="36"/>
                      <a:pt x="1148" y="36"/>
                      <a:pt x="1146" y="36"/>
                    </a:cubicBezTo>
                    <a:cubicBezTo>
                      <a:pt x="1141" y="36"/>
                      <a:pt x="1135" y="36"/>
                      <a:pt x="1130" y="38"/>
                    </a:cubicBezTo>
                    <a:cubicBezTo>
                      <a:pt x="1125" y="39"/>
                      <a:pt x="1119" y="40"/>
                      <a:pt x="1113" y="43"/>
                    </a:cubicBezTo>
                    <a:lnTo>
                      <a:pt x="1113" y="117"/>
                    </a:lnTo>
                    <a:close/>
                    <a:moveTo>
                      <a:pt x="1036" y="73"/>
                    </a:moveTo>
                    <a:cubicBezTo>
                      <a:pt x="1036" y="62"/>
                      <a:pt x="1038" y="54"/>
                      <a:pt x="1042" y="50"/>
                    </a:cubicBezTo>
                    <a:cubicBezTo>
                      <a:pt x="1046" y="45"/>
                      <a:pt x="1051" y="43"/>
                      <a:pt x="1059" y="43"/>
                    </a:cubicBezTo>
                    <a:cubicBezTo>
                      <a:pt x="1068" y="43"/>
                      <a:pt x="1074" y="45"/>
                      <a:pt x="1077" y="50"/>
                    </a:cubicBezTo>
                    <a:cubicBezTo>
                      <a:pt x="1081" y="54"/>
                      <a:pt x="1083" y="62"/>
                      <a:pt x="1083" y="73"/>
                    </a:cubicBezTo>
                    <a:lnTo>
                      <a:pt x="1036" y="73"/>
                    </a:lnTo>
                    <a:close/>
                    <a:moveTo>
                      <a:pt x="1090" y="107"/>
                    </a:moveTo>
                    <a:cubicBezTo>
                      <a:pt x="1088" y="107"/>
                      <a:pt x="1086" y="107"/>
                      <a:pt x="1084" y="108"/>
                    </a:cubicBezTo>
                    <a:cubicBezTo>
                      <a:pt x="1081" y="108"/>
                      <a:pt x="1079" y="109"/>
                      <a:pt x="1076" y="109"/>
                    </a:cubicBezTo>
                    <a:cubicBezTo>
                      <a:pt x="1073" y="110"/>
                      <a:pt x="1071" y="110"/>
                      <a:pt x="1068" y="111"/>
                    </a:cubicBezTo>
                    <a:cubicBezTo>
                      <a:pt x="1065" y="111"/>
                      <a:pt x="1063" y="111"/>
                      <a:pt x="1060" y="111"/>
                    </a:cubicBezTo>
                    <a:cubicBezTo>
                      <a:pt x="1056" y="111"/>
                      <a:pt x="1052" y="110"/>
                      <a:pt x="1049" y="109"/>
                    </a:cubicBezTo>
                    <a:cubicBezTo>
                      <a:pt x="1046" y="108"/>
                      <a:pt x="1043" y="106"/>
                      <a:pt x="1041" y="103"/>
                    </a:cubicBezTo>
                    <a:cubicBezTo>
                      <a:pt x="1040" y="101"/>
                      <a:pt x="1038" y="97"/>
                      <a:pt x="1037" y="93"/>
                    </a:cubicBezTo>
                    <a:cubicBezTo>
                      <a:pt x="1037" y="90"/>
                      <a:pt x="1036" y="85"/>
                      <a:pt x="1036" y="80"/>
                    </a:cubicBezTo>
                    <a:cubicBezTo>
                      <a:pt x="1094" y="80"/>
                      <a:pt x="1094" y="80"/>
                      <a:pt x="1094" y="80"/>
                    </a:cubicBezTo>
                    <a:cubicBezTo>
                      <a:pt x="1094" y="74"/>
                      <a:pt x="1094" y="74"/>
                      <a:pt x="1094" y="74"/>
                    </a:cubicBezTo>
                    <a:cubicBezTo>
                      <a:pt x="1094" y="60"/>
                      <a:pt x="1091" y="51"/>
                      <a:pt x="1085" y="45"/>
                    </a:cubicBezTo>
                    <a:cubicBezTo>
                      <a:pt x="1079" y="39"/>
                      <a:pt x="1071" y="36"/>
                      <a:pt x="1059" y="36"/>
                    </a:cubicBezTo>
                    <a:cubicBezTo>
                      <a:pt x="1054" y="36"/>
                      <a:pt x="1049" y="36"/>
                      <a:pt x="1045" y="38"/>
                    </a:cubicBezTo>
                    <a:cubicBezTo>
                      <a:pt x="1041" y="39"/>
                      <a:pt x="1037" y="41"/>
                      <a:pt x="1034" y="45"/>
                    </a:cubicBezTo>
                    <a:cubicBezTo>
                      <a:pt x="1031" y="48"/>
                      <a:pt x="1029" y="52"/>
                      <a:pt x="1028" y="57"/>
                    </a:cubicBezTo>
                    <a:cubicBezTo>
                      <a:pt x="1026" y="63"/>
                      <a:pt x="1025" y="69"/>
                      <a:pt x="1025" y="77"/>
                    </a:cubicBezTo>
                    <a:cubicBezTo>
                      <a:pt x="1025" y="83"/>
                      <a:pt x="1026" y="89"/>
                      <a:pt x="1027" y="94"/>
                    </a:cubicBezTo>
                    <a:cubicBezTo>
                      <a:pt x="1028" y="99"/>
                      <a:pt x="1030" y="104"/>
                      <a:pt x="1032" y="107"/>
                    </a:cubicBezTo>
                    <a:cubicBezTo>
                      <a:pt x="1035" y="111"/>
                      <a:pt x="1039" y="113"/>
                      <a:pt x="1043" y="115"/>
                    </a:cubicBezTo>
                    <a:cubicBezTo>
                      <a:pt x="1048" y="117"/>
                      <a:pt x="1053" y="118"/>
                      <a:pt x="1060" y="118"/>
                    </a:cubicBezTo>
                    <a:cubicBezTo>
                      <a:pt x="1063" y="118"/>
                      <a:pt x="1066" y="118"/>
                      <a:pt x="1068" y="118"/>
                    </a:cubicBezTo>
                    <a:cubicBezTo>
                      <a:pt x="1071" y="117"/>
                      <a:pt x="1074" y="117"/>
                      <a:pt x="1077" y="116"/>
                    </a:cubicBezTo>
                    <a:cubicBezTo>
                      <a:pt x="1080" y="116"/>
                      <a:pt x="1082" y="116"/>
                      <a:pt x="1085" y="115"/>
                    </a:cubicBezTo>
                    <a:cubicBezTo>
                      <a:pt x="1087" y="115"/>
                      <a:pt x="1089" y="114"/>
                      <a:pt x="1091" y="114"/>
                    </a:cubicBezTo>
                    <a:lnTo>
                      <a:pt x="1090" y="107"/>
                    </a:lnTo>
                    <a:close/>
                    <a:moveTo>
                      <a:pt x="996" y="117"/>
                    </a:moveTo>
                    <a:cubicBezTo>
                      <a:pt x="1007" y="117"/>
                      <a:pt x="1007" y="117"/>
                      <a:pt x="1007" y="117"/>
                    </a:cubicBezTo>
                    <a:cubicBezTo>
                      <a:pt x="1007" y="5"/>
                      <a:pt x="1007" y="5"/>
                      <a:pt x="1007" y="5"/>
                    </a:cubicBezTo>
                    <a:cubicBezTo>
                      <a:pt x="996" y="5"/>
                      <a:pt x="996" y="5"/>
                      <a:pt x="996" y="5"/>
                    </a:cubicBezTo>
                    <a:lnTo>
                      <a:pt x="996" y="117"/>
                    </a:lnTo>
                    <a:close/>
                    <a:moveTo>
                      <a:pt x="963" y="117"/>
                    </a:moveTo>
                    <a:cubicBezTo>
                      <a:pt x="974" y="117"/>
                      <a:pt x="974" y="117"/>
                      <a:pt x="974" y="117"/>
                    </a:cubicBezTo>
                    <a:cubicBezTo>
                      <a:pt x="974" y="5"/>
                      <a:pt x="974" y="5"/>
                      <a:pt x="974" y="5"/>
                    </a:cubicBezTo>
                    <a:cubicBezTo>
                      <a:pt x="963" y="5"/>
                      <a:pt x="963" y="5"/>
                      <a:pt x="963" y="5"/>
                    </a:cubicBezTo>
                    <a:lnTo>
                      <a:pt x="963" y="117"/>
                    </a:lnTo>
                    <a:close/>
                    <a:moveTo>
                      <a:pt x="930" y="107"/>
                    </a:moveTo>
                    <a:cubicBezTo>
                      <a:pt x="927" y="108"/>
                      <a:pt x="923" y="108"/>
                      <a:pt x="918" y="109"/>
                    </a:cubicBezTo>
                    <a:cubicBezTo>
                      <a:pt x="913" y="110"/>
                      <a:pt x="908" y="111"/>
                      <a:pt x="903" y="111"/>
                    </a:cubicBezTo>
                    <a:cubicBezTo>
                      <a:pt x="899" y="111"/>
                      <a:pt x="895" y="109"/>
                      <a:pt x="893" y="106"/>
                    </a:cubicBezTo>
                    <a:cubicBezTo>
                      <a:pt x="890" y="103"/>
                      <a:pt x="889" y="99"/>
                      <a:pt x="889" y="94"/>
                    </a:cubicBezTo>
                    <a:cubicBezTo>
                      <a:pt x="889" y="90"/>
                      <a:pt x="890" y="86"/>
                      <a:pt x="893" y="83"/>
                    </a:cubicBezTo>
                    <a:cubicBezTo>
                      <a:pt x="895" y="80"/>
                      <a:pt x="899" y="78"/>
                      <a:pt x="906" y="78"/>
                    </a:cubicBezTo>
                    <a:cubicBezTo>
                      <a:pt x="930" y="76"/>
                      <a:pt x="930" y="76"/>
                      <a:pt x="930" y="76"/>
                    </a:cubicBezTo>
                    <a:lnTo>
                      <a:pt x="930" y="107"/>
                    </a:lnTo>
                    <a:close/>
                    <a:moveTo>
                      <a:pt x="886" y="45"/>
                    </a:moveTo>
                    <a:cubicBezTo>
                      <a:pt x="891" y="45"/>
                      <a:pt x="896" y="44"/>
                      <a:pt x="900" y="44"/>
                    </a:cubicBezTo>
                    <a:cubicBezTo>
                      <a:pt x="905" y="43"/>
                      <a:pt x="909" y="43"/>
                      <a:pt x="913" y="43"/>
                    </a:cubicBezTo>
                    <a:cubicBezTo>
                      <a:pt x="919" y="43"/>
                      <a:pt x="923" y="45"/>
                      <a:pt x="926" y="47"/>
                    </a:cubicBezTo>
                    <a:cubicBezTo>
                      <a:pt x="929" y="50"/>
                      <a:pt x="930" y="54"/>
                      <a:pt x="930" y="61"/>
                    </a:cubicBezTo>
                    <a:cubicBezTo>
                      <a:pt x="930" y="69"/>
                      <a:pt x="930" y="69"/>
                      <a:pt x="930" y="69"/>
                    </a:cubicBezTo>
                    <a:cubicBezTo>
                      <a:pt x="905" y="71"/>
                      <a:pt x="905" y="71"/>
                      <a:pt x="905" y="71"/>
                    </a:cubicBezTo>
                    <a:cubicBezTo>
                      <a:pt x="895" y="72"/>
                      <a:pt x="889" y="74"/>
                      <a:pt x="885" y="78"/>
                    </a:cubicBezTo>
                    <a:cubicBezTo>
                      <a:pt x="881" y="82"/>
                      <a:pt x="879" y="88"/>
                      <a:pt x="879" y="94"/>
                    </a:cubicBezTo>
                    <a:cubicBezTo>
                      <a:pt x="879" y="102"/>
                      <a:pt x="881" y="108"/>
                      <a:pt x="885" y="112"/>
                    </a:cubicBezTo>
                    <a:cubicBezTo>
                      <a:pt x="889" y="116"/>
                      <a:pt x="895" y="118"/>
                      <a:pt x="903" y="118"/>
                    </a:cubicBezTo>
                    <a:cubicBezTo>
                      <a:pt x="911" y="118"/>
                      <a:pt x="918" y="117"/>
                      <a:pt x="924" y="116"/>
                    </a:cubicBezTo>
                    <a:cubicBezTo>
                      <a:pt x="931" y="114"/>
                      <a:pt x="936" y="113"/>
                      <a:pt x="941" y="111"/>
                    </a:cubicBezTo>
                    <a:cubicBezTo>
                      <a:pt x="941" y="61"/>
                      <a:pt x="941" y="61"/>
                      <a:pt x="941" y="61"/>
                    </a:cubicBezTo>
                    <a:cubicBezTo>
                      <a:pt x="941" y="53"/>
                      <a:pt x="939" y="46"/>
                      <a:pt x="934" y="42"/>
                    </a:cubicBezTo>
                    <a:cubicBezTo>
                      <a:pt x="930" y="38"/>
                      <a:pt x="923" y="36"/>
                      <a:pt x="913" y="36"/>
                    </a:cubicBezTo>
                    <a:cubicBezTo>
                      <a:pt x="909" y="36"/>
                      <a:pt x="904" y="36"/>
                      <a:pt x="899" y="36"/>
                    </a:cubicBezTo>
                    <a:cubicBezTo>
                      <a:pt x="894" y="37"/>
                      <a:pt x="889" y="37"/>
                      <a:pt x="884" y="38"/>
                    </a:cubicBezTo>
                    <a:lnTo>
                      <a:pt x="886" y="45"/>
                    </a:lnTo>
                    <a:close/>
                    <a:moveTo>
                      <a:pt x="842" y="34"/>
                    </a:moveTo>
                    <a:cubicBezTo>
                      <a:pt x="852" y="34"/>
                      <a:pt x="852" y="34"/>
                      <a:pt x="852" y="34"/>
                    </a:cubicBezTo>
                    <a:cubicBezTo>
                      <a:pt x="861" y="0"/>
                      <a:pt x="861" y="0"/>
                      <a:pt x="861" y="0"/>
                    </a:cubicBezTo>
                    <a:cubicBezTo>
                      <a:pt x="850" y="0"/>
                      <a:pt x="850" y="0"/>
                      <a:pt x="850" y="0"/>
                    </a:cubicBezTo>
                    <a:lnTo>
                      <a:pt x="842" y="34"/>
                    </a:lnTo>
                    <a:close/>
                    <a:moveTo>
                      <a:pt x="811" y="110"/>
                    </a:moveTo>
                    <a:cubicBezTo>
                      <a:pt x="809" y="110"/>
                      <a:pt x="807" y="111"/>
                      <a:pt x="804" y="111"/>
                    </a:cubicBezTo>
                    <a:cubicBezTo>
                      <a:pt x="802" y="111"/>
                      <a:pt x="799" y="111"/>
                      <a:pt x="798" y="111"/>
                    </a:cubicBezTo>
                    <a:cubicBezTo>
                      <a:pt x="791" y="111"/>
                      <a:pt x="786" y="110"/>
                      <a:pt x="782" y="109"/>
                    </a:cubicBezTo>
                    <a:cubicBezTo>
                      <a:pt x="778" y="107"/>
                      <a:pt x="775" y="105"/>
                      <a:pt x="773" y="102"/>
                    </a:cubicBezTo>
                    <a:cubicBezTo>
                      <a:pt x="771" y="99"/>
                      <a:pt x="769" y="95"/>
                      <a:pt x="768" y="91"/>
                    </a:cubicBezTo>
                    <a:cubicBezTo>
                      <a:pt x="768" y="87"/>
                      <a:pt x="767" y="81"/>
                      <a:pt x="767" y="76"/>
                    </a:cubicBezTo>
                    <a:cubicBezTo>
                      <a:pt x="767" y="70"/>
                      <a:pt x="768" y="65"/>
                      <a:pt x="768" y="61"/>
                    </a:cubicBezTo>
                    <a:cubicBezTo>
                      <a:pt x="769" y="57"/>
                      <a:pt x="770" y="53"/>
                      <a:pt x="771" y="51"/>
                    </a:cubicBezTo>
                    <a:cubicBezTo>
                      <a:pt x="773" y="48"/>
                      <a:pt x="775" y="46"/>
                      <a:pt x="778" y="45"/>
                    </a:cubicBezTo>
                    <a:cubicBezTo>
                      <a:pt x="781" y="44"/>
                      <a:pt x="784" y="43"/>
                      <a:pt x="789" y="43"/>
                    </a:cubicBezTo>
                    <a:cubicBezTo>
                      <a:pt x="793" y="43"/>
                      <a:pt x="797" y="43"/>
                      <a:pt x="801" y="44"/>
                    </a:cubicBezTo>
                    <a:cubicBezTo>
                      <a:pt x="805" y="45"/>
                      <a:pt x="809" y="46"/>
                      <a:pt x="811" y="47"/>
                    </a:cubicBezTo>
                    <a:lnTo>
                      <a:pt x="811" y="110"/>
                    </a:lnTo>
                    <a:close/>
                    <a:moveTo>
                      <a:pt x="811" y="40"/>
                    </a:moveTo>
                    <a:cubicBezTo>
                      <a:pt x="809" y="39"/>
                      <a:pt x="805" y="38"/>
                      <a:pt x="801" y="37"/>
                    </a:cubicBezTo>
                    <a:cubicBezTo>
                      <a:pt x="797" y="36"/>
                      <a:pt x="793" y="36"/>
                      <a:pt x="789" y="36"/>
                    </a:cubicBezTo>
                    <a:cubicBezTo>
                      <a:pt x="782" y="36"/>
                      <a:pt x="777" y="37"/>
                      <a:pt x="773" y="38"/>
                    </a:cubicBezTo>
                    <a:cubicBezTo>
                      <a:pt x="769" y="40"/>
                      <a:pt x="766" y="42"/>
                      <a:pt x="763" y="45"/>
                    </a:cubicBezTo>
                    <a:cubicBezTo>
                      <a:pt x="761" y="49"/>
                      <a:pt x="759" y="53"/>
                      <a:pt x="758" y="58"/>
                    </a:cubicBezTo>
                    <a:cubicBezTo>
                      <a:pt x="757" y="63"/>
                      <a:pt x="757" y="69"/>
                      <a:pt x="757" y="75"/>
                    </a:cubicBezTo>
                    <a:cubicBezTo>
                      <a:pt x="757" y="83"/>
                      <a:pt x="757" y="89"/>
                      <a:pt x="758" y="94"/>
                    </a:cubicBezTo>
                    <a:cubicBezTo>
                      <a:pt x="760" y="100"/>
                      <a:pt x="762" y="104"/>
                      <a:pt x="765" y="108"/>
                    </a:cubicBezTo>
                    <a:cubicBezTo>
                      <a:pt x="768" y="111"/>
                      <a:pt x="772" y="114"/>
                      <a:pt x="778" y="116"/>
                    </a:cubicBezTo>
                    <a:cubicBezTo>
                      <a:pt x="783" y="117"/>
                      <a:pt x="790" y="118"/>
                      <a:pt x="799" y="118"/>
                    </a:cubicBezTo>
                    <a:cubicBezTo>
                      <a:pt x="803" y="118"/>
                      <a:pt x="807" y="118"/>
                      <a:pt x="811" y="118"/>
                    </a:cubicBezTo>
                    <a:cubicBezTo>
                      <a:pt x="814" y="117"/>
                      <a:pt x="818" y="117"/>
                      <a:pt x="822" y="117"/>
                    </a:cubicBezTo>
                    <a:cubicBezTo>
                      <a:pt x="822" y="5"/>
                      <a:pt x="822" y="5"/>
                      <a:pt x="822" y="5"/>
                    </a:cubicBezTo>
                    <a:cubicBezTo>
                      <a:pt x="811" y="5"/>
                      <a:pt x="811" y="5"/>
                      <a:pt x="811" y="5"/>
                    </a:cubicBezTo>
                    <a:lnTo>
                      <a:pt x="811" y="40"/>
                    </a:lnTo>
                    <a:close/>
                    <a:moveTo>
                      <a:pt x="633" y="117"/>
                    </a:moveTo>
                    <a:cubicBezTo>
                      <a:pt x="643" y="117"/>
                      <a:pt x="643" y="117"/>
                      <a:pt x="643" y="117"/>
                    </a:cubicBezTo>
                    <a:cubicBezTo>
                      <a:pt x="643" y="47"/>
                      <a:pt x="643" y="47"/>
                      <a:pt x="643" y="47"/>
                    </a:cubicBezTo>
                    <a:cubicBezTo>
                      <a:pt x="646" y="46"/>
                      <a:pt x="649" y="45"/>
                      <a:pt x="653" y="44"/>
                    </a:cubicBezTo>
                    <a:cubicBezTo>
                      <a:pt x="657" y="43"/>
                      <a:pt x="661" y="43"/>
                      <a:pt x="666" y="43"/>
                    </a:cubicBezTo>
                    <a:cubicBezTo>
                      <a:pt x="675" y="43"/>
                      <a:pt x="681" y="45"/>
                      <a:pt x="684" y="51"/>
                    </a:cubicBezTo>
                    <a:cubicBezTo>
                      <a:pt x="688" y="56"/>
                      <a:pt x="689" y="64"/>
                      <a:pt x="689" y="75"/>
                    </a:cubicBezTo>
                    <a:cubicBezTo>
                      <a:pt x="689" y="117"/>
                      <a:pt x="689" y="117"/>
                      <a:pt x="689" y="117"/>
                    </a:cubicBezTo>
                    <a:cubicBezTo>
                      <a:pt x="700" y="117"/>
                      <a:pt x="700" y="117"/>
                      <a:pt x="700" y="117"/>
                    </a:cubicBezTo>
                    <a:cubicBezTo>
                      <a:pt x="700" y="75"/>
                      <a:pt x="700" y="75"/>
                      <a:pt x="700" y="75"/>
                    </a:cubicBezTo>
                    <a:cubicBezTo>
                      <a:pt x="700" y="69"/>
                      <a:pt x="700" y="63"/>
                      <a:pt x="698" y="58"/>
                    </a:cubicBezTo>
                    <a:cubicBezTo>
                      <a:pt x="697" y="53"/>
                      <a:pt x="695" y="49"/>
                      <a:pt x="693" y="45"/>
                    </a:cubicBezTo>
                    <a:cubicBezTo>
                      <a:pt x="690" y="42"/>
                      <a:pt x="686" y="40"/>
                      <a:pt x="682" y="38"/>
                    </a:cubicBezTo>
                    <a:cubicBezTo>
                      <a:pt x="677" y="37"/>
                      <a:pt x="672" y="36"/>
                      <a:pt x="666" y="36"/>
                    </a:cubicBezTo>
                    <a:cubicBezTo>
                      <a:pt x="660" y="36"/>
                      <a:pt x="654" y="36"/>
                      <a:pt x="649" y="37"/>
                    </a:cubicBezTo>
                    <a:cubicBezTo>
                      <a:pt x="644" y="39"/>
                      <a:pt x="639" y="40"/>
                      <a:pt x="632" y="43"/>
                    </a:cubicBezTo>
                    <a:lnTo>
                      <a:pt x="633" y="117"/>
                    </a:lnTo>
                    <a:close/>
                    <a:moveTo>
                      <a:pt x="564" y="109"/>
                    </a:moveTo>
                    <a:cubicBezTo>
                      <a:pt x="561" y="108"/>
                      <a:pt x="558" y="106"/>
                      <a:pt x="556" y="103"/>
                    </a:cubicBezTo>
                    <a:cubicBezTo>
                      <a:pt x="554" y="100"/>
                      <a:pt x="553" y="97"/>
                      <a:pt x="552" y="92"/>
                    </a:cubicBezTo>
                    <a:cubicBezTo>
                      <a:pt x="552" y="88"/>
                      <a:pt x="551" y="82"/>
                      <a:pt x="551" y="76"/>
                    </a:cubicBezTo>
                    <a:cubicBezTo>
                      <a:pt x="551" y="69"/>
                      <a:pt x="552" y="64"/>
                      <a:pt x="553" y="60"/>
                    </a:cubicBezTo>
                    <a:cubicBezTo>
                      <a:pt x="554" y="56"/>
                      <a:pt x="555" y="52"/>
                      <a:pt x="557" y="50"/>
                    </a:cubicBezTo>
                    <a:cubicBezTo>
                      <a:pt x="559" y="47"/>
                      <a:pt x="562" y="46"/>
                      <a:pt x="565" y="45"/>
                    </a:cubicBezTo>
                    <a:cubicBezTo>
                      <a:pt x="568" y="44"/>
                      <a:pt x="572" y="43"/>
                      <a:pt x="577" y="43"/>
                    </a:cubicBezTo>
                    <a:cubicBezTo>
                      <a:pt x="581" y="43"/>
                      <a:pt x="584" y="44"/>
                      <a:pt x="588" y="45"/>
                    </a:cubicBezTo>
                    <a:cubicBezTo>
                      <a:pt x="591" y="46"/>
                      <a:pt x="593" y="48"/>
                      <a:pt x="595" y="50"/>
                    </a:cubicBezTo>
                    <a:cubicBezTo>
                      <a:pt x="597" y="53"/>
                      <a:pt x="599" y="56"/>
                      <a:pt x="600" y="61"/>
                    </a:cubicBezTo>
                    <a:cubicBezTo>
                      <a:pt x="601" y="65"/>
                      <a:pt x="602" y="70"/>
                      <a:pt x="602" y="76"/>
                    </a:cubicBezTo>
                    <a:cubicBezTo>
                      <a:pt x="602" y="82"/>
                      <a:pt x="602" y="87"/>
                      <a:pt x="601" y="92"/>
                    </a:cubicBezTo>
                    <a:cubicBezTo>
                      <a:pt x="601" y="96"/>
                      <a:pt x="599" y="100"/>
                      <a:pt x="598" y="103"/>
                    </a:cubicBezTo>
                    <a:cubicBezTo>
                      <a:pt x="596" y="106"/>
                      <a:pt x="593" y="108"/>
                      <a:pt x="590" y="109"/>
                    </a:cubicBezTo>
                    <a:cubicBezTo>
                      <a:pt x="587" y="110"/>
                      <a:pt x="582" y="111"/>
                      <a:pt x="577" y="111"/>
                    </a:cubicBezTo>
                    <a:cubicBezTo>
                      <a:pt x="572" y="111"/>
                      <a:pt x="567" y="111"/>
                      <a:pt x="564" y="109"/>
                    </a:cubicBezTo>
                    <a:close/>
                    <a:moveTo>
                      <a:pt x="577" y="36"/>
                    </a:moveTo>
                    <a:cubicBezTo>
                      <a:pt x="571" y="36"/>
                      <a:pt x="565" y="36"/>
                      <a:pt x="561" y="38"/>
                    </a:cubicBezTo>
                    <a:cubicBezTo>
                      <a:pt x="556" y="39"/>
                      <a:pt x="553" y="41"/>
                      <a:pt x="550" y="45"/>
                    </a:cubicBezTo>
                    <a:cubicBezTo>
                      <a:pt x="547" y="48"/>
                      <a:pt x="544" y="52"/>
                      <a:pt x="543" y="57"/>
                    </a:cubicBezTo>
                    <a:cubicBezTo>
                      <a:pt x="542" y="62"/>
                      <a:pt x="541" y="68"/>
                      <a:pt x="541" y="75"/>
                    </a:cubicBezTo>
                    <a:cubicBezTo>
                      <a:pt x="541" y="83"/>
                      <a:pt x="541" y="90"/>
                      <a:pt x="542" y="95"/>
                    </a:cubicBezTo>
                    <a:cubicBezTo>
                      <a:pt x="544" y="101"/>
                      <a:pt x="546" y="105"/>
                      <a:pt x="548" y="109"/>
                    </a:cubicBezTo>
                    <a:cubicBezTo>
                      <a:pt x="551" y="112"/>
                      <a:pt x="555" y="114"/>
                      <a:pt x="559" y="116"/>
                    </a:cubicBezTo>
                    <a:cubicBezTo>
                      <a:pt x="564" y="118"/>
                      <a:pt x="570" y="118"/>
                      <a:pt x="577" y="118"/>
                    </a:cubicBezTo>
                    <a:cubicBezTo>
                      <a:pt x="584" y="118"/>
                      <a:pt x="590" y="117"/>
                      <a:pt x="595" y="116"/>
                    </a:cubicBezTo>
                    <a:cubicBezTo>
                      <a:pt x="599" y="114"/>
                      <a:pt x="603" y="111"/>
                      <a:pt x="605" y="108"/>
                    </a:cubicBezTo>
                    <a:cubicBezTo>
                      <a:pt x="608" y="104"/>
                      <a:pt x="610" y="100"/>
                      <a:pt x="611" y="95"/>
                    </a:cubicBezTo>
                    <a:cubicBezTo>
                      <a:pt x="612" y="89"/>
                      <a:pt x="613" y="83"/>
                      <a:pt x="613" y="76"/>
                    </a:cubicBezTo>
                    <a:cubicBezTo>
                      <a:pt x="613" y="69"/>
                      <a:pt x="612" y="63"/>
                      <a:pt x="610" y="57"/>
                    </a:cubicBezTo>
                    <a:cubicBezTo>
                      <a:pt x="609" y="52"/>
                      <a:pt x="606" y="48"/>
                      <a:pt x="603" y="45"/>
                    </a:cubicBezTo>
                    <a:cubicBezTo>
                      <a:pt x="600" y="42"/>
                      <a:pt x="597" y="40"/>
                      <a:pt x="592" y="38"/>
                    </a:cubicBezTo>
                    <a:cubicBezTo>
                      <a:pt x="588" y="37"/>
                      <a:pt x="583" y="36"/>
                      <a:pt x="577" y="36"/>
                    </a:cubicBezTo>
                    <a:close/>
                    <a:moveTo>
                      <a:pt x="512" y="117"/>
                    </a:moveTo>
                    <a:cubicBezTo>
                      <a:pt x="522" y="117"/>
                      <a:pt x="522" y="117"/>
                      <a:pt x="522" y="117"/>
                    </a:cubicBezTo>
                    <a:cubicBezTo>
                      <a:pt x="522" y="37"/>
                      <a:pt x="522" y="37"/>
                      <a:pt x="522" y="37"/>
                    </a:cubicBezTo>
                    <a:cubicBezTo>
                      <a:pt x="512" y="37"/>
                      <a:pt x="512" y="37"/>
                      <a:pt x="512" y="37"/>
                    </a:cubicBezTo>
                    <a:lnTo>
                      <a:pt x="512" y="117"/>
                    </a:lnTo>
                    <a:close/>
                    <a:moveTo>
                      <a:pt x="512" y="17"/>
                    </a:moveTo>
                    <a:cubicBezTo>
                      <a:pt x="522" y="17"/>
                      <a:pt x="522" y="17"/>
                      <a:pt x="522" y="17"/>
                    </a:cubicBezTo>
                    <a:cubicBezTo>
                      <a:pt x="522" y="6"/>
                      <a:pt x="522" y="6"/>
                      <a:pt x="522" y="6"/>
                    </a:cubicBezTo>
                    <a:cubicBezTo>
                      <a:pt x="512" y="6"/>
                      <a:pt x="512" y="6"/>
                      <a:pt x="512" y="6"/>
                    </a:cubicBezTo>
                    <a:lnTo>
                      <a:pt x="512" y="17"/>
                    </a:lnTo>
                    <a:close/>
                    <a:moveTo>
                      <a:pt x="467" y="17"/>
                    </a:moveTo>
                    <a:cubicBezTo>
                      <a:pt x="467" y="37"/>
                      <a:pt x="467" y="37"/>
                      <a:pt x="467" y="37"/>
                    </a:cubicBezTo>
                    <a:cubicBezTo>
                      <a:pt x="450" y="37"/>
                      <a:pt x="450" y="37"/>
                      <a:pt x="450" y="37"/>
                    </a:cubicBezTo>
                    <a:cubicBezTo>
                      <a:pt x="450" y="45"/>
                      <a:pt x="450" y="45"/>
                      <a:pt x="450" y="45"/>
                    </a:cubicBezTo>
                    <a:cubicBezTo>
                      <a:pt x="467" y="45"/>
                      <a:pt x="467" y="45"/>
                      <a:pt x="467" y="45"/>
                    </a:cubicBezTo>
                    <a:cubicBezTo>
                      <a:pt x="467" y="92"/>
                      <a:pt x="467" y="92"/>
                      <a:pt x="467" y="92"/>
                    </a:cubicBezTo>
                    <a:cubicBezTo>
                      <a:pt x="467" y="96"/>
                      <a:pt x="467" y="101"/>
                      <a:pt x="468" y="104"/>
                    </a:cubicBezTo>
                    <a:cubicBezTo>
                      <a:pt x="468" y="107"/>
                      <a:pt x="469" y="110"/>
                      <a:pt x="470" y="112"/>
                    </a:cubicBezTo>
                    <a:cubicBezTo>
                      <a:pt x="471" y="114"/>
                      <a:pt x="473" y="116"/>
                      <a:pt x="475" y="117"/>
                    </a:cubicBezTo>
                    <a:cubicBezTo>
                      <a:pt x="478" y="118"/>
                      <a:pt x="481" y="118"/>
                      <a:pt x="484" y="118"/>
                    </a:cubicBezTo>
                    <a:cubicBezTo>
                      <a:pt x="486" y="118"/>
                      <a:pt x="487" y="118"/>
                      <a:pt x="488" y="118"/>
                    </a:cubicBezTo>
                    <a:cubicBezTo>
                      <a:pt x="490" y="118"/>
                      <a:pt x="492" y="117"/>
                      <a:pt x="495" y="117"/>
                    </a:cubicBezTo>
                    <a:cubicBezTo>
                      <a:pt x="496" y="110"/>
                      <a:pt x="496" y="110"/>
                      <a:pt x="496" y="110"/>
                    </a:cubicBezTo>
                    <a:cubicBezTo>
                      <a:pt x="494" y="110"/>
                      <a:pt x="492" y="110"/>
                      <a:pt x="490" y="111"/>
                    </a:cubicBezTo>
                    <a:cubicBezTo>
                      <a:pt x="489" y="111"/>
                      <a:pt x="487" y="111"/>
                      <a:pt x="486" y="111"/>
                    </a:cubicBezTo>
                    <a:cubicBezTo>
                      <a:pt x="485" y="111"/>
                      <a:pt x="485" y="111"/>
                      <a:pt x="485" y="111"/>
                    </a:cubicBezTo>
                    <a:cubicBezTo>
                      <a:pt x="484" y="111"/>
                      <a:pt x="482" y="111"/>
                      <a:pt x="481" y="110"/>
                    </a:cubicBezTo>
                    <a:cubicBezTo>
                      <a:pt x="480" y="110"/>
                      <a:pt x="479" y="109"/>
                      <a:pt x="479" y="107"/>
                    </a:cubicBezTo>
                    <a:cubicBezTo>
                      <a:pt x="478" y="106"/>
                      <a:pt x="478" y="104"/>
                      <a:pt x="478" y="101"/>
                    </a:cubicBezTo>
                    <a:cubicBezTo>
                      <a:pt x="477" y="99"/>
                      <a:pt x="477" y="96"/>
                      <a:pt x="477" y="92"/>
                    </a:cubicBezTo>
                    <a:cubicBezTo>
                      <a:pt x="477" y="45"/>
                      <a:pt x="477" y="45"/>
                      <a:pt x="477" y="45"/>
                    </a:cubicBezTo>
                    <a:cubicBezTo>
                      <a:pt x="496" y="45"/>
                      <a:pt x="496" y="45"/>
                      <a:pt x="496" y="45"/>
                    </a:cubicBezTo>
                    <a:cubicBezTo>
                      <a:pt x="496" y="37"/>
                      <a:pt x="496" y="37"/>
                      <a:pt x="496" y="37"/>
                    </a:cubicBezTo>
                    <a:cubicBezTo>
                      <a:pt x="477" y="37"/>
                      <a:pt x="477" y="37"/>
                      <a:pt x="477" y="37"/>
                    </a:cubicBezTo>
                    <a:cubicBezTo>
                      <a:pt x="477" y="17"/>
                      <a:pt x="477" y="17"/>
                      <a:pt x="477" y="17"/>
                    </a:cubicBezTo>
                    <a:lnTo>
                      <a:pt x="467" y="17"/>
                    </a:lnTo>
                    <a:close/>
                    <a:moveTo>
                      <a:pt x="429" y="117"/>
                    </a:moveTo>
                    <a:cubicBezTo>
                      <a:pt x="440" y="117"/>
                      <a:pt x="440" y="117"/>
                      <a:pt x="440" y="117"/>
                    </a:cubicBezTo>
                    <a:cubicBezTo>
                      <a:pt x="440" y="37"/>
                      <a:pt x="440" y="37"/>
                      <a:pt x="440" y="37"/>
                    </a:cubicBezTo>
                    <a:cubicBezTo>
                      <a:pt x="429" y="37"/>
                      <a:pt x="429" y="37"/>
                      <a:pt x="429" y="37"/>
                    </a:cubicBezTo>
                    <a:lnTo>
                      <a:pt x="429" y="117"/>
                    </a:lnTo>
                    <a:close/>
                    <a:moveTo>
                      <a:pt x="429" y="17"/>
                    </a:moveTo>
                    <a:cubicBezTo>
                      <a:pt x="440" y="17"/>
                      <a:pt x="440" y="17"/>
                      <a:pt x="440" y="17"/>
                    </a:cubicBezTo>
                    <a:cubicBezTo>
                      <a:pt x="440" y="6"/>
                      <a:pt x="440" y="6"/>
                      <a:pt x="440" y="6"/>
                    </a:cubicBezTo>
                    <a:cubicBezTo>
                      <a:pt x="429" y="6"/>
                      <a:pt x="429" y="6"/>
                      <a:pt x="429" y="6"/>
                    </a:cubicBezTo>
                    <a:lnTo>
                      <a:pt x="429" y="17"/>
                    </a:lnTo>
                    <a:close/>
                    <a:moveTo>
                      <a:pt x="353" y="47"/>
                    </a:moveTo>
                    <a:cubicBezTo>
                      <a:pt x="356" y="46"/>
                      <a:pt x="359" y="45"/>
                      <a:pt x="363" y="44"/>
                    </a:cubicBezTo>
                    <a:cubicBezTo>
                      <a:pt x="367" y="43"/>
                      <a:pt x="372" y="43"/>
                      <a:pt x="376" y="43"/>
                    </a:cubicBezTo>
                    <a:cubicBezTo>
                      <a:pt x="380" y="43"/>
                      <a:pt x="384" y="43"/>
                      <a:pt x="387" y="45"/>
                    </a:cubicBezTo>
                    <a:cubicBezTo>
                      <a:pt x="390" y="46"/>
                      <a:pt x="392" y="48"/>
                      <a:pt x="393" y="50"/>
                    </a:cubicBezTo>
                    <a:cubicBezTo>
                      <a:pt x="395" y="53"/>
                      <a:pt x="396" y="56"/>
                      <a:pt x="396" y="61"/>
                    </a:cubicBezTo>
                    <a:cubicBezTo>
                      <a:pt x="397" y="65"/>
                      <a:pt x="397" y="70"/>
                      <a:pt x="397" y="75"/>
                    </a:cubicBezTo>
                    <a:cubicBezTo>
                      <a:pt x="397" y="81"/>
                      <a:pt x="397" y="86"/>
                      <a:pt x="396" y="91"/>
                    </a:cubicBezTo>
                    <a:cubicBezTo>
                      <a:pt x="396" y="95"/>
                      <a:pt x="394" y="99"/>
                      <a:pt x="392" y="102"/>
                    </a:cubicBezTo>
                    <a:cubicBezTo>
                      <a:pt x="390" y="105"/>
                      <a:pt x="387" y="107"/>
                      <a:pt x="383" y="108"/>
                    </a:cubicBezTo>
                    <a:cubicBezTo>
                      <a:pt x="379" y="110"/>
                      <a:pt x="374" y="111"/>
                      <a:pt x="367" y="111"/>
                    </a:cubicBezTo>
                    <a:cubicBezTo>
                      <a:pt x="365" y="111"/>
                      <a:pt x="363" y="111"/>
                      <a:pt x="361" y="111"/>
                    </a:cubicBezTo>
                    <a:cubicBezTo>
                      <a:pt x="358" y="110"/>
                      <a:pt x="356" y="110"/>
                      <a:pt x="353" y="110"/>
                    </a:cubicBezTo>
                    <a:lnTo>
                      <a:pt x="353" y="47"/>
                    </a:lnTo>
                    <a:close/>
                    <a:moveTo>
                      <a:pt x="343" y="5"/>
                    </a:moveTo>
                    <a:cubicBezTo>
                      <a:pt x="343" y="117"/>
                      <a:pt x="343" y="117"/>
                      <a:pt x="343" y="117"/>
                    </a:cubicBezTo>
                    <a:cubicBezTo>
                      <a:pt x="346" y="117"/>
                      <a:pt x="350" y="117"/>
                      <a:pt x="354" y="118"/>
                    </a:cubicBezTo>
                    <a:cubicBezTo>
                      <a:pt x="358" y="118"/>
                      <a:pt x="362" y="118"/>
                      <a:pt x="366" y="118"/>
                    </a:cubicBezTo>
                    <a:cubicBezTo>
                      <a:pt x="374" y="118"/>
                      <a:pt x="381" y="117"/>
                      <a:pt x="387" y="116"/>
                    </a:cubicBezTo>
                    <a:cubicBezTo>
                      <a:pt x="392" y="114"/>
                      <a:pt x="397" y="111"/>
                      <a:pt x="400" y="108"/>
                    </a:cubicBezTo>
                    <a:cubicBezTo>
                      <a:pt x="403" y="104"/>
                      <a:pt x="405" y="100"/>
                      <a:pt x="406" y="94"/>
                    </a:cubicBezTo>
                    <a:cubicBezTo>
                      <a:pt x="407" y="89"/>
                      <a:pt x="408" y="83"/>
                      <a:pt x="408" y="75"/>
                    </a:cubicBezTo>
                    <a:cubicBezTo>
                      <a:pt x="408" y="69"/>
                      <a:pt x="407" y="63"/>
                      <a:pt x="406" y="58"/>
                    </a:cubicBezTo>
                    <a:cubicBezTo>
                      <a:pt x="405" y="53"/>
                      <a:pt x="404" y="49"/>
                      <a:pt x="401" y="45"/>
                    </a:cubicBezTo>
                    <a:cubicBezTo>
                      <a:pt x="399" y="42"/>
                      <a:pt x="396" y="40"/>
                      <a:pt x="392" y="38"/>
                    </a:cubicBezTo>
                    <a:cubicBezTo>
                      <a:pt x="388" y="37"/>
                      <a:pt x="382" y="36"/>
                      <a:pt x="376" y="36"/>
                    </a:cubicBezTo>
                    <a:cubicBezTo>
                      <a:pt x="372" y="36"/>
                      <a:pt x="367" y="36"/>
                      <a:pt x="363" y="37"/>
                    </a:cubicBezTo>
                    <a:cubicBezTo>
                      <a:pt x="359" y="38"/>
                      <a:pt x="356" y="39"/>
                      <a:pt x="353" y="40"/>
                    </a:cubicBezTo>
                    <a:cubicBezTo>
                      <a:pt x="353" y="5"/>
                      <a:pt x="353" y="5"/>
                      <a:pt x="353" y="5"/>
                    </a:cubicBezTo>
                    <a:lnTo>
                      <a:pt x="343" y="5"/>
                    </a:lnTo>
                    <a:close/>
                    <a:moveTo>
                      <a:pt x="201" y="117"/>
                    </a:moveTo>
                    <a:cubicBezTo>
                      <a:pt x="212" y="117"/>
                      <a:pt x="212" y="117"/>
                      <a:pt x="212" y="117"/>
                    </a:cubicBezTo>
                    <a:cubicBezTo>
                      <a:pt x="212" y="47"/>
                      <a:pt x="212" y="47"/>
                      <a:pt x="212" y="47"/>
                    </a:cubicBezTo>
                    <a:cubicBezTo>
                      <a:pt x="215" y="46"/>
                      <a:pt x="218" y="45"/>
                      <a:pt x="222" y="44"/>
                    </a:cubicBezTo>
                    <a:cubicBezTo>
                      <a:pt x="226" y="43"/>
                      <a:pt x="230" y="43"/>
                      <a:pt x="235" y="43"/>
                    </a:cubicBezTo>
                    <a:cubicBezTo>
                      <a:pt x="239" y="43"/>
                      <a:pt x="242" y="43"/>
                      <a:pt x="245" y="45"/>
                    </a:cubicBezTo>
                    <a:cubicBezTo>
                      <a:pt x="248" y="46"/>
                      <a:pt x="250" y="48"/>
                      <a:pt x="252" y="50"/>
                    </a:cubicBezTo>
                    <a:cubicBezTo>
                      <a:pt x="253" y="53"/>
                      <a:pt x="254" y="56"/>
                      <a:pt x="255" y="60"/>
                    </a:cubicBezTo>
                    <a:cubicBezTo>
                      <a:pt x="255" y="64"/>
                      <a:pt x="256" y="69"/>
                      <a:pt x="256" y="75"/>
                    </a:cubicBezTo>
                    <a:cubicBezTo>
                      <a:pt x="256" y="117"/>
                      <a:pt x="256" y="117"/>
                      <a:pt x="256" y="117"/>
                    </a:cubicBezTo>
                    <a:cubicBezTo>
                      <a:pt x="267" y="117"/>
                      <a:pt x="267" y="117"/>
                      <a:pt x="267" y="117"/>
                    </a:cubicBezTo>
                    <a:cubicBezTo>
                      <a:pt x="267" y="75"/>
                      <a:pt x="267" y="75"/>
                      <a:pt x="267" y="75"/>
                    </a:cubicBezTo>
                    <a:cubicBezTo>
                      <a:pt x="267" y="69"/>
                      <a:pt x="266" y="64"/>
                      <a:pt x="266" y="59"/>
                    </a:cubicBezTo>
                    <a:cubicBezTo>
                      <a:pt x="265" y="55"/>
                      <a:pt x="264" y="51"/>
                      <a:pt x="262" y="48"/>
                    </a:cubicBezTo>
                    <a:cubicBezTo>
                      <a:pt x="267" y="46"/>
                      <a:pt x="272" y="45"/>
                      <a:pt x="276" y="44"/>
                    </a:cubicBezTo>
                    <a:cubicBezTo>
                      <a:pt x="280" y="43"/>
                      <a:pt x="284" y="43"/>
                      <a:pt x="289" y="43"/>
                    </a:cubicBezTo>
                    <a:cubicBezTo>
                      <a:pt x="293" y="43"/>
                      <a:pt x="297" y="43"/>
                      <a:pt x="300" y="45"/>
                    </a:cubicBezTo>
                    <a:cubicBezTo>
                      <a:pt x="303" y="46"/>
                      <a:pt x="305" y="48"/>
                      <a:pt x="306" y="50"/>
                    </a:cubicBezTo>
                    <a:cubicBezTo>
                      <a:pt x="308" y="53"/>
                      <a:pt x="309" y="56"/>
                      <a:pt x="309" y="60"/>
                    </a:cubicBezTo>
                    <a:cubicBezTo>
                      <a:pt x="310" y="64"/>
                      <a:pt x="310" y="69"/>
                      <a:pt x="310" y="75"/>
                    </a:cubicBezTo>
                    <a:cubicBezTo>
                      <a:pt x="310" y="117"/>
                      <a:pt x="310" y="117"/>
                      <a:pt x="310" y="117"/>
                    </a:cubicBezTo>
                    <a:cubicBezTo>
                      <a:pt x="321" y="117"/>
                      <a:pt x="321" y="117"/>
                      <a:pt x="321" y="117"/>
                    </a:cubicBezTo>
                    <a:cubicBezTo>
                      <a:pt x="321" y="75"/>
                      <a:pt x="321" y="75"/>
                      <a:pt x="321" y="75"/>
                    </a:cubicBezTo>
                    <a:cubicBezTo>
                      <a:pt x="321" y="68"/>
                      <a:pt x="321" y="63"/>
                      <a:pt x="320" y="58"/>
                    </a:cubicBezTo>
                    <a:cubicBezTo>
                      <a:pt x="319" y="53"/>
                      <a:pt x="317" y="48"/>
                      <a:pt x="315" y="45"/>
                    </a:cubicBezTo>
                    <a:cubicBezTo>
                      <a:pt x="312" y="42"/>
                      <a:pt x="309" y="40"/>
                      <a:pt x="305" y="38"/>
                    </a:cubicBezTo>
                    <a:cubicBezTo>
                      <a:pt x="301" y="36"/>
                      <a:pt x="296" y="36"/>
                      <a:pt x="289" y="36"/>
                    </a:cubicBezTo>
                    <a:cubicBezTo>
                      <a:pt x="287" y="36"/>
                      <a:pt x="284" y="36"/>
                      <a:pt x="282" y="36"/>
                    </a:cubicBezTo>
                    <a:cubicBezTo>
                      <a:pt x="279" y="36"/>
                      <a:pt x="277" y="36"/>
                      <a:pt x="274" y="37"/>
                    </a:cubicBezTo>
                    <a:cubicBezTo>
                      <a:pt x="272" y="37"/>
                      <a:pt x="269" y="38"/>
                      <a:pt x="266" y="39"/>
                    </a:cubicBezTo>
                    <a:cubicBezTo>
                      <a:pt x="263" y="40"/>
                      <a:pt x="260" y="41"/>
                      <a:pt x="257" y="42"/>
                    </a:cubicBezTo>
                    <a:cubicBezTo>
                      <a:pt x="252" y="38"/>
                      <a:pt x="245" y="35"/>
                      <a:pt x="235" y="35"/>
                    </a:cubicBezTo>
                    <a:cubicBezTo>
                      <a:pt x="229" y="35"/>
                      <a:pt x="224" y="36"/>
                      <a:pt x="219" y="37"/>
                    </a:cubicBezTo>
                    <a:cubicBezTo>
                      <a:pt x="214" y="38"/>
                      <a:pt x="208" y="40"/>
                      <a:pt x="201" y="42"/>
                    </a:cubicBezTo>
                    <a:lnTo>
                      <a:pt x="201" y="117"/>
                    </a:lnTo>
                    <a:close/>
                    <a:moveTo>
                      <a:pt x="169" y="107"/>
                    </a:moveTo>
                    <a:cubicBezTo>
                      <a:pt x="166" y="108"/>
                      <a:pt x="162" y="108"/>
                      <a:pt x="157" y="109"/>
                    </a:cubicBezTo>
                    <a:cubicBezTo>
                      <a:pt x="152" y="110"/>
                      <a:pt x="147" y="111"/>
                      <a:pt x="142" y="111"/>
                    </a:cubicBezTo>
                    <a:cubicBezTo>
                      <a:pt x="138" y="111"/>
                      <a:pt x="134" y="109"/>
                      <a:pt x="132" y="106"/>
                    </a:cubicBezTo>
                    <a:cubicBezTo>
                      <a:pt x="129" y="103"/>
                      <a:pt x="128" y="99"/>
                      <a:pt x="128" y="94"/>
                    </a:cubicBezTo>
                    <a:cubicBezTo>
                      <a:pt x="128" y="90"/>
                      <a:pt x="129" y="86"/>
                      <a:pt x="132" y="83"/>
                    </a:cubicBezTo>
                    <a:cubicBezTo>
                      <a:pt x="134" y="80"/>
                      <a:pt x="138" y="78"/>
                      <a:pt x="144" y="78"/>
                    </a:cubicBezTo>
                    <a:cubicBezTo>
                      <a:pt x="169" y="76"/>
                      <a:pt x="169" y="76"/>
                      <a:pt x="169" y="76"/>
                    </a:cubicBezTo>
                    <a:lnTo>
                      <a:pt x="169" y="107"/>
                    </a:lnTo>
                    <a:close/>
                    <a:moveTo>
                      <a:pt x="125" y="45"/>
                    </a:moveTo>
                    <a:cubicBezTo>
                      <a:pt x="130" y="45"/>
                      <a:pt x="134" y="44"/>
                      <a:pt x="139" y="44"/>
                    </a:cubicBezTo>
                    <a:cubicBezTo>
                      <a:pt x="144" y="43"/>
                      <a:pt x="148" y="43"/>
                      <a:pt x="152" y="43"/>
                    </a:cubicBezTo>
                    <a:cubicBezTo>
                      <a:pt x="158" y="43"/>
                      <a:pt x="162" y="45"/>
                      <a:pt x="165" y="47"/>
                    </a:cubicBezTo>
                    <a:cubicBezTo>
                      <a:pt x="168" y="50"/>
                      <a:pt x="169" y="54"/>
                      <a:pt x="169" y="61"/>
                    </a:cubicBezTo>
                    <a:cubicBezTo>
                      <a:pt x="169" y="69"/>
                      <a:pt x="169" y="69"/>
                      <a:pt x="169" y="69"/>
                    </a:cubicBezTo>
                    <a:cubicBezTo>
                      <a:pt x="143" y="71"/>
                      <a:pt x="143" y="71"/>
                      <a:pt x="143" y="71"/>
                    </a:cubicBezTo>
                    <a:cubicBezTo>
                      <a:pt x="134" y="72"/>
                      <a:pt x="127" y="74"/>
                      <a:pt x="123" y="78"/>
                    </a:cubicBezTo>
                    <a:cubicBezTo>
                      <a:pt x="119" y="82"/>
                      <a:pt x="117" y="88"/>
                      <a:pt x="117" y="94"/>
                    </a:cubicBezTo>
                    <a:cubicBezTo>
                      <a:pt x="117" y="102"/>
                      <a:pt x="120" y="108"/>
                      <a:pt x="124" y="112"/>
                    </a:cubicBezTo>
                    <a:cubicBezTo>
                      <a:pt x="128" y="116"/>
                      <a:pt x="134" y="118"/>
                      <a:pt x="142" y="118"/>
                    </a:cubicBezTo>
                    <a:cubicBezTo>
                      <a:pt x="150" y="118"/>
                      <a:pt x="157" y="117"/>
                      <a:pt x="163" y="116"/>
                    </a:cubicBezTo>
                    <a:cubicBezTo>
                      <a:pt x="169" y="114"/>
                      <a:pt x="175" y="113"/>
                      <a:pt x="180" y="111"/>
                    </a:cubicBezTo>
                    <a:cubicBezTo>
                      <a:pt x="180" y="61"/>
                      <a:pt x="180" y="61"/>
                      <a:pt x="180" y="61"/>
                    </a:cubicBezTo>
                    <a:cubicBezTo>
                      <a:pt x="180" y="53"/>
                      <a:pt x="177" y="46"/>
                      <a:pt x="173" y="42"/>
                    </a:cubicBezTo>
                    <a:cubicBezTo>
                      <a:pt x="169" y="38"/>
                      <a:pt x="162" y="36"/>
                      <a:pt x="152" y="36"/>
                    </a:cubicBezTo>
                    <a:cubicBezTo>
                      <a:pt x="147" y="36"/>
                      <a:pt x="143" y="36"/>
                      <a:pt x="138" y="36"/>
                    </a:cubicBezTo>
                    <a:cubicBezTo>
                      <a:pt x="133" y="37"/>
                      <a:pt x="128" y="37"/>
                      <a:pt x="123" y="38"/>
                    </a:cubicBezTo>
                    <a:lnTo>
                      <a:pt x="125" y="45"/>
                    </a:lnTo>
                    <a:close/>
                    <a:moveTo>
                      <a:pt x="81" y="34"/>
                    </a:moveTo>
                    <a:cubicBezTo>
                      <a:pt x="91" y="34"/>
                      <a:pt x="91" y="34"/>
                      <a:pt x="91" y="34"/>
                    </a:cubicBezTo>
                    <a:cubicBezTo>
                      <a:pt x="100" y="0"/>
                      <a:pt x="100" y="0"/>
                      <a:pt x="100" y="0"/>
                    </a:cubicBezTo>
                    <a:cubicBezTo>
                      <a:pt x="89" y="0"/>
                      <a:pt x="89" y="0"/>
                      <a:pt x="89" y="0"/>
                    </a:cubicBezTo>
                    <a:lnTo>
                      <a:pt x="81" y="34"/>
                    </a:lnTo>
                    <a:close/>
                    <a:moveTo>
                      <a:pt x="70" y="117"/>
                    </a:moveTo>
                    <a:cubicBezTo>
                      <a:pt x="70" y="109"/>
                      <a:pt x="70" y="109"/>
                      <a:pt x="70" y="109"/>
                    </a:cubicBezTo>
                    <a:cubicBezTo>
                      <a:pt x="11" y="109"/>
                      <a:pt x="11" y="109"/>
                      <a:pt x="11" y="109"/>
                    </a:cubicBezTo>
                    <a:cubicBezTo>
                      <a:pt x="11" y="5"/>
                      <a:pt x="11" y="5"/>
                      <a:pt x="11" y="5"/>
                    </a:cubicBezTo>
                    <a:cubicBezTo>
                      <a:pt x="0" y="5"/>
                      <a:pt x="0" y="5"/>
                      <a:pt x="0" y="5"/>
                    </a:cubicBezTo>
                    <a:cubicBezTo>
                      <a:pt x="0" y="117"/>
                      <a:pt x="0" y="117"/>
                      <a:pt x="0" y="117"/>
                    </a:cubicBezTo>
                    <a:lnTo>
                      <a:pt x="70" y="117"/>
                    </a:lnTo>
                    <a:close/>
                  </a:path>
                </a:pathLst>
              </a:custGeom>
              <a:noFill/>
              <a:ln w="0" cap="flat">
                <a:solidFill>
                  <a:srgbClr val="225696"/>
                </a:solidFill>
                <a:prstDash val="solid"/>
                <a:miter lim="800000"/>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grpSp>
    </p:spTree>
    <p:extLst>
      <p:ext uri="{BB962C8B-B14F-4D97-AF65-F5344CB8AC3E}">
        <p14:creationId xmlns:p14="http://schemas.microsoft.com/office/powerpoint/2010/main" val="334032412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re &amp; Conten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2466" y="4984"/>
            <a:ext cx="6934759" cy="909416"/>
          </a:xfrm>
        </p:spPr>
        <p:txBody>
          <a:bodyPr/>
          <a:lstStyle/>
          <a:p>
            <a:r>
              <a:rPr lang="fr-FR" noProof="0"/>
              <a:t>Titre</a:t>
            </a:r>
            <a:endParaRPr lang="fr-FR"/>
          </a:p>
        </p:txBody>
      </p:sp>
      <p:sp>
        <p:nvSpPr>
          <p:cNvPr id="3" name="Content Placeholder 2"/>
          <p:cNvSpPr>
            <a:spLocks noGrp="1"/>
          </p:cNvSpPr>
          <p:nvPr>
            <p:ph idx="1" hasCustomPrompt="1"/>
          </p:nvPr>
        </p:nvSpPr>
        <p:spPr/>
        <p:txBody>
          <a:bodyPr/>
          <a:lstStyle>
            <a:lvl3pPr>
              <a:defRPr/>
            </a:lvl3pPr>
            <a:lvl4pPr>
              <a:defRPr/>
            </a:lvl4pPr>
          </a:lstStyle>
          <a:p>
            <a:pPr lvl="0"/>
            <a:r>
              <a:rPr lang="fr-FR" noProof="0"/>
              <a:t>Premier niveau</a:t>
            </a:r>
          </a:p>
          <a:p>
            <a:pPr lvl="1"/>
            <a:r>
              <a:rPr lang="fr-FR" noProof="0"/>
              <a:t>Deuxième niveau</a:t>
            </a:r>
          </a:p>
          <a:p>
            <a:pPr lvl="2"/>
            <a:r>
              <a:rPr lang="fr-FR" noProof="0"/>
              <a:t>Troisième niveau</a:t>
            </a:r>
          </a:p>
          <a:p>
            <a:pPr lvl="3"/>
            <a:r>
              <a:rPr lang="fr-FR" noProof="0"/>
              <a:t>Quatrième niveau</a:t>
            </a:r>
          </a:p>
        </p:txBody>
      </p:sp>
      <p:sp>
        <p:nvSpPr>
          <p:cNvPr id="18" name="Text Placeholder 17"/>
          <p:cNvSpPr>
            <a:spLocks noGrp="1"/>
          </p:cNvSpPr>
          <p:nvPr>
            <p:ph type="body" sz="quarter" idx="11" hasCustomPrompt="1"/>
          </p:nvPr>
        </p:nvSpPr>
        <p:spPr>
          <a:xfrm>
            <a:off x="382466" y="934810"/>
            <a:ext cx="6934759" cy="344606"/>
          </a:xfrm>
        </p:spPr>
        <p:txBody>
          <a:bodyPr>
            <a:noAutofit/>
          </a:bodyPr>
          <a:lstStyle>
            <a:lvl1pPr marL="266700" indent="-266700">
              <a:buClr>
                <a:schemeClr val="accent3"/>
              </a:buClr>
              <a:buFont typeface="Calibri" pitchFamily="34" charset="0"/>
              <a:buChar char="↗"/>
              <a:defRPr sz="2000" b="0"/>
            </a:lvl1pPr>
          </a:lstStyle>
          <a:p>
            <a:r>
              <a:rPr lang="fr-FR"/>
              <a:t>Phrase clé - proposition clé</a:t>
            </a:r>
          </a:p>
        </p:txBody>
      </p:sp>
      <p:cxnSp>
        <p:nvCxnSpPr>
          <p:cNvPr id="17" name="Connecteur droit 8"/>
          <p:cNvCxnSpPr/>
          <p:nvPr userDrawn="1"/>
        </p:nvCxnSpPr>
        <p:spPr>
          <a:xfrm>
            <a:off x="807480" y="6519411"/>
            <a:ext cx="0" cy="238496"/>
          </a:xfrm>
          <a:prstGeom prst="line">
            <a:avLst/>
          </a:prstGeom>
          <a:noFill/>
          <a:ln w="9525" cap="flat" cmpd="sng" algn="ctr">
            <a:solidFill>
              <a:srgbClr val="1F497D"/>
            </a:solidFill>
            <a:prstDash val="solid"/>
          </a:ln>
          <a:effectLst/>
        </p:spPr>
      </p:cxnSp>
      <p:cxnSp>
        <p:nvCxnSpPr>
          <p:cNvPr id="20" name="Connecteur droit 10"/>
          <p:cNvCxnSpPr/>
          <p:nvPr userDrawn="1"/>
        </p:nvCxnSpPr>
        <p:spPr>
          <a:xfrm>
            <a:off x="1612496" y="6519411"/>
            <a:ext cx="0" cy="238496"/>
          </a:xfrm>
          <a:prstGeom prst="line">
            <a:avLst/>
          </a:prstGeom>
          <a:noFill/>
          <a:ln w="9525" cap="flat" cmpd="sng" algn="ctr">
            <a:solidFill>
              <a:srgbClr val="1F497D"/>
            </a:solidFill>
            <a:prstDash val="solid"/>
          </a:ln>
          <a:effectLst/>
        </p:spPr>
      </p:cxnSp>
      <p:cxnSp>
        <p:nvCxnSpPr>
          <p:cNvPr id="21" name="Connecteur droit 12"/>
          <p:cNvCxnSpPr/>
          <p:nvPr userDrawn="1"/>
        </p:nvCxnSpPr>
        <p:spPr>
          <a:xfrm>
            <a:off x="8784581" y="6519411"/>
            <a:ext cx="0" cy="238496"/>
          </a:xfrm>
          <a:prstGeom prst="line">
            <a:avLst/>
          </a:prstGeom>
          <a:noFill/>
          <a:ln w="9525" cap="flat" cmpd="sng" algn="ctr">
            <a:solidFill>
              <a:srgbClr val="1F497D"/>
            </a:solidFill>
            <a:prstDash val="solid"/>
          </a:ln>
          <a:effectLst/>
        </p:spPr>
      </p:cxnSp>
      <p:grpSp>
        <p:nvGrpSpPr>
          <p:cNvPr id="8" name="Group 7"/>
          <p:cNvGrpSpPr/>
          <p:nvPr userDrawn="1"/>
        </p:nvGrpSpPr>
        <p:grpSpPr>
          <a:xfrm>
            <a:off x="8460398" y="276993"/>
            <a:ext cx="606670" cy="347673"/>
            <a:chOff x="3813175" y="1435101"/>
            <a:chExt cx="1368425" cy="723899"/>
          </a:xfrm>
        </p:grpSpPr>
        <p:grpSp>
          <p:nvGrpSpPr>
            <p:cNvPr id="9" name="Group 32"/>
            <p:cNvGrpSpPr/>
            <p:nvPr userDrawn="1"/>
          </p:nvGrpSpPr>
          <p:grpSpPr>
            <a:xfrm>
              <a:off x="3813175" y="1801813"/>
              <a:ext cx="1358900" cy="138112"/>
              <a:chOff x="3813175" y="1801813"/>
              <a:chExt cx="1358900" cy="138112"/>
            </a:xfrm>
          </p:grpSpPr>
          <p:sp>
            <p:nvSpPr>
              <p:cNvPr id="23" name="Freeform 5"/>
              <p:cNvSpPr>
                <a:spLocks/>
              </p:cNvSpPr>
              <p:nvPr userDrawn="1"/>
            </p:nvSpPr>
            <p:spPr bwMode="auto">
              <a:xfrm>
                <a:off x="3813175" y="1801813"/>
                <a:ext cx="103188" cy="138112"/>
              </a:xfrm>
              <a:custGeom>
                <a:avLst/>
                <a:gdLst/>
                <a:ahLst/>
                <a:cxnLst>
                  <a:cxn ang="0">
                    <a:pos x="74" y="20"/>
                  </a:cxn>
                  <a:cxn ang="0">
                    <a:pos x="34" y="79"/>
                  </a:cxn>
                  <a:cxn ang="0">
                    <a:pos x="86" y="152"/>
                  </a:cxn>
                  <a:cxn ang="0">
                    <a:pos x="115" y="142"/>
                  </a:cxn>
                  <a:cxn ang="0">
                    <a:pos x="123" y="138"/>
                  </a:cxn>
                  <a:cxn ang="0">
                    <a:pos x="131" y="146"/>
                  </a:cxn>
                  <a:cxn ang="0">
                    <a:pos x="78" y="177"/>
                  </a:cxn>
                  <a:cxn ang="0">
                    <a:pos x="0" y="87"/>
                  </a:cxn>
                  <a:cxn ang="0">
                    <a:pos x="77" y="0"/>
                  </a:cxn>
                  <a:cxn ang="0">
                    <a:pos x="133" y="35"/>
                  </a:cxn>
                  <a:cxn ang="0">
                    <a:pos x="119" y="49"/>
                  </a:cxn>
                  <a:cxn ang="0">
                    <a:pos x="106" y="42"/>
                  </a:cxn>
                  <a:cxn ang="0">
                    <a:pos x="74" y="20"/>
                  </a:cxn>
                </a:cxnLst>
                <a:rect l="0" t="0" r="r" b="b"/>
                <a:pathLst>
                  <a:path w="133" h="177">
                    <a:moveTo>
                      <a:pt x="74" y="20"/>
                    </a:moveTo>
                    <a:cubicBezTo>
                      <a:pt x="52" y="20"/>
                      <a:pt x="34" y="41"/>
                      <a:pt x="34" y="79"/>
                    </a:cubicBezTo>
                    <a:cubicBezTo>
                      <a:pt x="34" y="126"/>
                      <a:pt x="58" y="152"/>
                      <a:pt x="86" y="152"/>
                    </a:cubicBezTo>
                    <a:cubicBezTo>
                      <a:pt x="101" y="152"/>
                      <a:pt x="111" y="145"/>
                      <a:pt x="115" y="142"/>
                    </a:cubicBezTo>
                    <a:cubicBezTo>
                      <a:pt x="119" y="139"/>
                      <a:pt x="121" y="138"/>
                      <a:pt x="123" y="138"/>
                    </a:cubicBezTo>
                    <a:cubicBezTo>
                      <a:pt x="128" y="138"/>
                      <a:pt x="131" y="141"/>
                      <a:pt x="131" y="146"/>
                    </a:cubicBezTo>
                    <a:cubicBezTo>
                      <a:pt x="131" y="156"/>
                      <a:pt x="112" y="177"/>
                      <a:pt x="78" y="177"/>
                    </a:cubicBezTo>
                    <a:cubicBezTo>
                      <a:pt x="24" y="177"/>
                      <a:pt x="0" y="133"/>
                      <a:pt x="0" y="87"/>
                    </a:cubicBezTo>
                    <a:cubicBezTo>
                      <a:pt x="0" y="39"/>
                      <a:pt x="28" y="0"/>
                      <a:pt x="77" y="0"/>
                    </a:cubicBezTo>
                    <a:cubicBezTo>
                      <a:pt x="112" y="0"/>
                      <a:pt x="133" y="21"/>
                      <a:pt x="133" y="35"/>
                    </a:cubicBezTo>
                    <a:cubicBezTo>
                      <a:pt x="133" y="43"/>
                      <a:pt x="127" y="49"/>
                      <a:pt x="119" y="49"/>
                    </a:cubicBezTo>
                    <a:cubicBezTo>
                      <a:pt x="113" y="49"/>
                      <a:pt x="109" y="46"/>
                      <a:pt x="106" y="42"/>
                    </a:cubicBezTo>
                    <a:cubicBezTo>
                      <a:pt x="99" y="31"/>
                      <a:pt x="92" y="20"/>
                      <a:pt x="74" y="20"/>
                    </a:cubicBezTo>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4" name="Freeform 6"/>
              <p:cNvSpPr>
                <a:spLocks noEditPoints="1"/>
              </p:cNvSpPr>
              <p:nvPr userDrawn="1"/>
            </p:nvSpPr>
            <p:spPr bwMode="auto">
              <a:xfrm>
                <a:off x="3948113" y="1801813"/>
                <a:ext cx="119063" cy="138112"/>
              </a:xfrm>
              <a:custGeom>
                <a:avLst/>
                <a:gdLst/>
                <a:ahLst/>
                <a:cxnLst>
                  <a:cxn ang="0">
                    <a:pos x="108" y="39"/>
                  </a:cxn>
                  <a:cxn ang="0">
                    <a:pos x="76" y="20"/>
                  </a:cxn>
                  <a:cxn ang="0">
                    <a:pos x="58" y="25"/>
                  </a:cxn>
                  <a:cxn ang="0">
                    <a:pos x="34" y="86"/>
                  </a:cxn>
                  <a:cxn ang="0">
                    <a:pos x="36" y="110"/>
                  </a:cxn>
                  <a:cxn ang="0">
                    <a:pos x="77" y="154"/>
                  </a:cxn>
                  <a:cxn ang="0">
                    <a:pos x="110" y="133"/>
                  </a:cxn>
                  <a:cxn ang="0">
                    <a:pos x="119" y="84"/>
                  </a:cxn>
                  <a:cxn ang="0">
                    <a:pos x="108" y="39"/>
                  </a:cxn>
                  <a:cxn ang="0">
                    <a:pos x="77" y="177"/>
                  </a:cxn>
                  <a:cxn ang="0">
                    <a:pos x="0" y="89"/>
                  </a:cxn>
                  <a:cxn ang="0">
                    <a:pos x="77" y="0"/>
                  </a:cxn>
                  <a:cxn ang="0">
                    <a:pos x="153" y="84"/>
                  </a:cxn>
                  <a:cxn ang="0">
                    <a:pos x="77" y="177"/>
                  </a:cxn>
                </a:cxnLst>
                <a:rect l="0" t="0" r="r" b="b"/>
                <a:pathLst>
                  <a:path w="155" h="177">
                    <a:moveTo>
                      <a:pt x="108" y="39"/>
                    </a:moveTo>
                    <a:cubicBezTo>
                      <a:pt x="96" y="21"/>
                      <a:pt x="81" y="20"/>
                      <a:pt x="76" y="20"/>
                    </a:cubicBezTo>
                    <a:cubicBezTo>
                      <a:pt x="70" y="20"/>
                      <a:pt x="64" y="22"/>
                      <a:pt x="58" y="25"/>
                    </a:cubicBezTo>
                    <a:cubicBezTo>
                      <a:pt x="35" y="39"/>
                      <a:pt x="34" y="73"/>
                      <a:pt x="34" y="86"/>
                    </a:cubicBezTo>
                    <a:cubicBezTo>
                      <a:pt x="34" y="96"/>
                      <a:pt x="35" y="103"/>
                      <a:pt x="36" y="110"/>
                    </a:cubicBezTo>
                    <a:cubicBezTo>
                      <a:pt x="43" y="149"/>
                      <a:pt x="67" y="154"/>
                      <a:pt x="77" y="154"/>
                    </a:cubicBezTo>
                    <a:cubicBezTo>
                      <a:pt x="88" y="154"/>
                      <a:pt x="101" y="149"/>
                      <a:pt x="110" y="133"/>
                    </a:cubicBezTo>
                    <a:cubicBezTo>
                      <a:pt x="117" y="119"/>
                      <a:pt x="119" y="101"/>
                      <a:pt x="119" y="84"/>
                    </a:cubicBezTo>
                    <a:cubicBezTo>
                      <a:pt x="119" y="72"/>
                      <a:pt x="117" y="54"/>
                      <a:pt x="108" y="39"/>
                    </a:cubicBezTo>
                    <a:moveTo>
                      <a:pt x="77" y="177"/>
                    </a:moveTo>
                    <a:cubicBezTo>
                      <a:pt x="36" y="177"/>
                      <a:pt x="0" y="147"/>
                      <a:pt x="0" y="89"/>
                    </a:cubicBezTo>
                    <a:cubicBezTo>
                      <a:pt x="0" y="39"/>
                      <a:pt x="28" y="0"/>
                      <a:pt x="77" y="0"/>
                    </a:cubicBezTo>
                    <a:cubicBezTo>
                      <a:pt x="125" y="0"/>
                      <a:pt x="151" y="39"/>
                      <a:pt x="153" y="84"/>
                    </a:cubicBezTo>
                    <a:cubicBezTo>
                      <a:pt x="155" y="138"/>
                      <a:pt x="123" y="177"/>
                      <a:pt x="77" y="177"/>
                    </a:cubicBezTo>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5" name="Freeform 7"/>
              <p:cNvSpPr>
                <a:spLocks/>
              </p:cNvSpPr>
              <p:nvPr userDrawn="1"/>
            </p:nvSpPr>
            <p:spPr bwMode="auto">
              <a:xfrm>
                <a:off x="4108450" y="1804988"/>
                <a:ext cx="103188" cy="131762"/>
              </a:xfrm>
              <a:custGeom>
                <a:avLst/>
                <a:gdLst/>
                <a:ahLst/>
                <a:cxnLst>
                  <a:cxn ang="0">
                    <a:pos x="108" y="111"/>
                  </a:cxn>
                  <a:cxn ang="0">
                    <a:pos x="108" y="5"/>
                  </a:cxn>
                  <a:cxn ang="0">
                    <a:pos x="113" y="0"/>
                  </a:cxn>
                  <a:cxn ang="0">
                    <a:pos x="128" y="0"/>
                  </a:cxn>
                  <a:cxn ang="0">
                    <a:pos x="133" y="5"/>
                  </a:cxn>
                  <a:cxn ang="0">
                    <a:pos x="133" y="164"/>
                  </a:cxn>
                  <a:cxn ang="0">
                    <a:pos x="128" y="169"/>
                  </a:cxn>
                  <a:cxn ang="0">
                    <a:pos x="114" y="169"/>
                  </a:cxn>
                  <a:cxn ang="0">
                    <a:pos x="108" y="164"/>
                  </a:cxn>
                  <a:cxn ang="0">
                    <a:pos x="26" y="48"/>
                  </a:cxn>
                  <a:cxn ang="0">
                    <a:pos x="26" y="164"/>
                  </a:cxn>
                  <a:cxn ang="0">
                    <a:pos x="21" y="169"/>
                  </a:cxn>
                  <a:cxn ang="0">
                    <a:pos x="6" y="169"/>
                  </a:cxn>
                  <a:cxn ang="0">
                    <a:pos x="0" y="164"/>
                  </a:cxn>
                  <a:cxn ang="0">
                    <a:pos x="0" y="5"/>
                  </a:cxn>
                  <a:cxn ang="0">
                    <a:pos x="6" y="0"/>
                  </a:cxn>
                  <a:cxn ang="0">
                    <a:pos x="24" y="0"/>
                  </a:cxn>
                  <a:cxn ang="0">
                    <a:pos x="32" y="4"/>
                  </a:cxn>
                  <a:cxn ang="0">
                    <a:pos x="108" y="111"/>
                  </a:cxn>
                </a:cxnLst>
                <a:rect l="0" t="0" r="r" b="b"/>
                <a:pathLst>
                  <a:path w="133" h="169">
                    <a:moveTo>
                      <a:pt x="108" y="111"/>
                    </a:moveTo>
                    <a:cubicBezTo>
                      <a:pt x="108" y="5"/>
                      <a:pt x="108" y="5"/>
                      <a:pt x="108" y="5"/>
                    </a:cubicBezTo>
                    <a:cubicBezTo>
                      <a:pt x="108" y="1"/>
                      <a:pt x="109" y="0"/>
                      <a:pt x="113" y="0"/>
                    </a:cubicBezTo>
                    <a:cubicBezTo>
                      <a:pt x="128" y="0"/>
                      <a:pt x="128" y="0"/>
                      <a:pt x="128" y="0"/>
                    </a:cubicBezTo>
                    <a:cubicBezTo>
                      <a:pt x="132" y="0"/>
                      <a:pt x="133" y="1"/>
                      <a:pt x="133" y="5"/>
                    </a:cubicBezTo>
                    <a:cubicBezTo>
                      <a:pt x="133" y="164"/>
                      <a:pt x="133" y="164"/>
                      <a:pt x="133" y="164"/>
                    </a:cubicBezTo>
                    <a:cubicBezTo>
                      <a:pt x="133" y="168"/>
                      <a:pt x="131" y="169"/>
                      <a:pt x="128" y="169"/>
                    </a:cubicBezTo>
                    <a:cubicBezTo>
                      <a:pt x="114" y="169"/>
                      <a:pt x="114" y="169"/>
                      <a:pt x="114" y="169"/>
                    </a:cubicBezTo>
                    <a:cubicBezTo>
                      <a:pt x="111" y="169"/>
                      <a:pt x="111" y="168"/>
                      <a:pt x="108" y="164"/>
                    </a:cubicBezTo>
                    <a:cubicBezTo>
                      <a:pt x="26" y="48"/>
                      <a:pt x="26" y="48"/>
                      <a:pt x="26" y="48"/>
                    </a:cubicBezTo>
                    <a:cubicBezTo>
                      <a:pt x="26" y="164"/>
                      <a:pt x="26" y="164"/>
                      <a:pt x="26" y="164"/>
                    </a:cubicBezTo>
                    <a:cubicBezTo>
                      <a:pt x="26" y="168"/>
                      <a:pt x="25" y="169"/>
                      <a:pt x="21" y="169"/>
                    </a:cubicBezTo>
                    <a:cubicBezTo>
                      <a:pt x="6" y="169"/>
                      <a:pt x="6" y="169"/>
                      <a:pt x="6" y="169"/>
                    </a:cubicBezTo>
                    <a:cubicBezTo>
                      <a:pt x="2" y="169"/>
                      <a:pt x="0" y="169"/>
                      <a:pt x="0" y="164"/>
                    </a:cubicBezTo>
                    <a:cubicBezTo>
                      <a:pt x="0" y="5"/>
                      <a:pt x="0" y="5"/>
                      <a:pt x="0" y="5"/>
                    </a:cubicBezTo>
                    <a:cubicBezTo>
                      <a:pt x="0" y="0"/>
                      <a:pt x="2" y="0"/>
                      <a:pt x="6" y="0"/>
                    </a:cubicBezTo>
                    <a:cubicBezTo>
                      <a:pt x="24" y="0"/>
                      <a:pt x="24" y="0"/>
                      <a:pt x="24" y="0"/>
                    </a:cubicBezTo>
                    <a:cubicBezTo>
                      <a:pt x="28" y="0"/>
                      <a:pt x="29" y="0"/>
                      <a:pt x="32" y="4"/>
                    </a:cubicBezTo>
                    <a:lnTo>
                      <a:pt x="108" y="11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6" name="Freeform 8"/>
              <p:cNvSpPr>
                <a:spLocks/>
              </p:cNvSpPr>
              <p:nvPr userDrawn="1"/>
            </p:nvSpPr>
            <p:spPr bwMode="auto">
              <a:xfrm>
                <a:off x="4254500" y="1801813"/>
                <a:ext cx="85725" cy="138112"/>
              </a:xfrm>
              <a:custGeom>
                <a:avLst/>
                <a:gdLst/>
                <a:ahLst/>
                <a:cxnLst>
                  <a:cxn ang="0">
                    <a:pos x="71" y="75"/>
                  </a:cxn>
                  <a:cxn ang="0">
                    <a:pos x="110" y="127"/>
                  </a:cxn>
                  <a:cxn ang="0">
                    <a:pos x="55" y="177"/>
                  </a:cxn>
                  <a:cxn ang="0">
                    <a:pos x="0" y="138"/>
                  </a:cxn>
                  <a:cxn ang="0">
                    <a:pos x="14" y="123"/>
                  </a:cxn>
                  <a:cxn ang="0">
                    <a:pos x="31" y="137"/>
                  </a:cxn>
                  <a:cxn ang="0">
                    <a:pos x="57" y="156"/>
                  </a:cxn>
                  <a:cxn ang="0">
                    <a:pos x="80" y="134"/>
                  </a:cxn>
                  <a:cxn ang="0">
                    <a:pos x="48" y="100"/>
                  </a:cxn>
                  <a:cxn ang="0">
                    <a:pos x="35" y="93"/>
                  </a:cxn>
                  <a:cxn ang="0">
                    <a:pos x="2" y="47"/>
                  </a:cxn>
                  <a:cxn ang="0">
                    <a:pos x="54" y="0"/>
                  </a:cxn>
                  <a:cxn ang="0">
                    <a:pos x="104" y="32"/>
                  </a:cxn>
                  <a:cxn ang="0">
                    <a:pos x="90" y="46"/>
                  </a:cxn>
                  <a:cxn ang="0">
                    <a:pos x="76" y="35"/>
                  </a:cxn>
                  <a:cxn ang="0">
                    <a:pos x="53" y="19"/>
                  </a:cxn>
                  <a:cxn ang="0">
                    <a:pos x="32" y="40"/>
                  </a:cxn>
                  <a:cxn ang="0">
                    <a:pos x="60" y="70"/>
                  </a:cxn>
                  <a:cxn ang="0">
                    <a:pos x="71" y="75"/>
                  </a:cxn>
                </a:cxnLst>
                <a:rect l="0" t="0" r="r" b="b"/>
                <a:pathLst>
                  <a:path w="110" h="177">
                    <a:moveTo>
                      <a:pt x="71" y="75"/>
                    </a:moveTo>
                    <a:cubicBezTo>
                      <a:pt x="87" y="83"/>
                      <a:pt x="110" y="96"/>
                      <a:pt x="110" y="127"/>
                    </a:cubicBezTo>
                    <a:cubicBezTo>
                      <a:pt x="110" y="159"/>
                      <a:pt x="86" y="177"/>
                      <a:pt x="55" y="177"/>
                    </a:cubicBezTo>
                    <a:cubicBezTo>
                      <a:pt x="16" y="177"/>
                      <a:pt x="0" y="151"/>
                      <a:pt x="0" y="138"/>
                    </a:cubicBezTo>
                    <a:cubicBezTo>
                      <a:pt x="0" y="127"/>
                      <a:pt x="8" y="123"/>
                      <a:pt x="14" y="123"/>
                    </a:cubicBezTo>
                    <a:cubicBezTo>
                      <a:pt x="24" y="123"/>
                      <a:pt x="28" y="130"/>
                      <a:pt x="31" y="137"/>
                    </a:cubicBezTo>
                    <a:cubicBezTo>
                      <a:pt x="34" y="143"/>
                      <a:pt x="41" y="156"/>
                      <a:pt x="57" y="156"/>
                    </a:cubicBezTo>
                    <a:cubicBezTo>
                      <a:pt x="70" y="156"/>
                      <a:pt x="80" y="147"/>
                      <a:pt x="80" y="134"/>
                    </a:cubicBezTo>
                    <a:cubicBezTo>
                      <a:pt x="80" y="117"/>
                      <a:pt x="67" y="110"/>
                      <a:pt x="48" y="100"/>
                    </a:cubicBezTo>
                    <a:cubicBezTo>
                      <a:pt x="35" y="93"/>
                      <a:pt x="35" y="93"/>
                      <a:pt x="35" y="93"/>
                    </a:cubicBezTo>
                    <a:cubicBezTo>
                      <a:pt x="26" y="88"/>
                      <a:pt x="2" y="76"/>
                      <a:pt x="2" y="47"/>
                    </a:cubicBezTo>
                    <a:cubicBezTo>
                      <a:pt x="2" y="18"/>
                      <a:pt x="24" y="0"/>
                      <a:pt x="54" y="0"/>
                    </a:cubicBezTo>
                    <a:cubicBezTo>
                      <a:pt x="85" y="0"/>
                      <a:pt x="104" y="18"/>
                      <a:pt x="104" y="32"/>
                    </a:cubicBezTo>
                    <a:cubicBezTo>
                      <a:pt x="104" y="40"/>
                      <a:pt x="98" y="46"/>
                      <a:pt x="90" y="46"/>
                    </a:cubicBezTo>
                    <a:cubicBezTo>
                      <a:pt x="82" y="46"/>
                      <a:pt x="79" y="40"/>
                      <a:pt x="76" y="35"/>
                    </a:cubicBezTo>
                    <a:cubicBezTo>
                      <a:pt x="72" y="29"/>
                      <a:pt x="65" y="19"/>
                      <a:pt x="53" y="19"/>
                    </a:cubicBezTo>
                    <a:cubicBezTo>
                      <a:pt x="40" y="19"/>
                      <a:pt x="32" y="28"/>
                      <a:pt x="32" y="40"/>
                    </a:cubicBezTo>
                    <a:cubicBezTo>
                      <a:pt x="32" y="56"/>
                      <a:pt x="44" y="62"/>
                      <a:pt x="60" y="70"/>
                    </a:cubicBezTo>
                    <a:lnTo>
                      <a:pt x="71" y="75"/>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7" name="Freeform 9"/>
              <p:cNvSpPr>
                <a:spLocks/>
              </p:cNvSpPr>
              <p:nvPr userDrawn="1"/>
            </p:nvSpPr>
            <p:spPr bwMode="auto">
              <a:xfrm>
                <a:off x="4383088" y="1804988"/>
                <a:ext cx="88900" cy="134937"/>
              </a:xfrm>
              <a:custGeom>
                <a:avLst/>
                <a:gdLst/>
                <a:ahLst/>
                <a:cxnLst>
                  <a:cxn ang="0">
                    <a:pos x="116" y="119"/>
                  </a:cxn>
                  <a:cxn ang="0">
                    <a:pos x="111" y="146"/>
                  </a:cxn>
                  <a:cxn ang="0">
                    <a:pos x="58" y="173"/>
                  </a:cxn>
                  <a:cxn ang="0">
                    <a:pos x="5" y="146"/>
                  </a:cxn>
                  <a:cxn ang="0">
                    <a:pos x="0" y="117"/>
                  </a:cxn>
                  <a:cxn ang="0">
                    <a:pos x="0" y="4"/>
                  </a:cxn>
                  <a:cxn ang="0">
                    <a:pos x="4" y="0"/>
                  </a:cxn>
                  <a:cxn ang="0">
                    <a:pos x="28" y="0"/>
                  </a:cxn>
                  <a:cxn ang="0">
                    <a:pos x="33" y="4"/>
                  </a:cxn>
                  <a:cxn ang="0">
                    <a:pos x="33" y="114"/>
                  </a:cxn>
                  <a:cxn ang="0">
                    <a:pos x="62" y="148"/>
                  </a:cxn>
                  <a:cxn ang="0">
                    <a:pos x="90" y="116"/>
                  </a:cxn>
                  <a:cxn ang="0">
                    <a:pos x="90" y="5"/>
                  </a:cxn>
                  <a:cxn ang="0">
                    <a:pos x="95" y="0"/>
                  </a:cxn>
                  <a:cxn ang="0">
                    <a:pos x="111" y="0"/>
                  </a:cxn>
                  <a:cxn ang="0">
                    <a:pos x="116" y="4"/>
                  </a:cxn>
                  <a:cxn ang="0">
                    <a:pos x="116" y="119"/>
                  </a:cxn>
                </a:cxnLst>
                <a:rect l="0" t="0" r="r" b="b"/>
                <a:pathLst>
                  <a:path w="116" h="173">
                    <a:moveTo>
                      <a:pt x="116" y="119"/>
                    </a:moveTo>
                    <a:cubicBezTo>
                      <a:pt x="115" y="127"/>
                      <a:pt x="115" y="136"/>
                      <a:pt x="111" y="146"/>
                    </a:cubicBezTo>
                    <a:cubicBezTo>
                      <a:pt x="109" y="151"/>
                      <a:pt x="98" y="173"/>
                      <a:pt x="58" y="173"/>
                    </a:cubicBezTo>
                    <a:cubicBezTo>
                      <a:pt x="36" y="173"/>
                      <a:pt x="14" y="166"/>
                      <a:pt x="5" y="146"/>
                    </a:cubicBezTo>
                    <a:cubicBezTo>
                      <a:pt x="1" y="137"/>
                      <a:pt x="0" y="127"/>
                      <a:pt x="0" y="117"/>
                    </a:cubicBezTo>
                    <a:cubicBezTo>
                      <a:pt x="0" y="4"/>
                      <a:pt x="0" y="4"/>
                      <a:pt x="0" y="4"/>
                    </a:cubicBezTo>
                    <a:cubicBezTo>
                      <a:pt x="0" y="0"/>
                      <a:pt x="1" y="0"/>
                      <a:pt x="4" y="0"/>
                    </a:cubicBezTo>
                    <a:cubicBezTo>
                      <a:pt x="28" y="0"/>
                      <a:pt x="28" y="0"/>
                      <a:pt x="28" y="0"/>
                    </a:cubicBezTo>
                    <a:cubicBezTo>
                      <a:pt x="32" y="0"/>
                      <a:pt x="33" y="0"/>
                      <a:pt x="33" y="4"/>
                    </a:cubicBezTo>
                    <a:cubicBezTo>
                      <a:pt x="33" y="114"/>
                      <a:pt x="33" y="114"/>
                      <a:pt x="33" y="114"/>
                    </a:cubicBezTo>
                    <a:cubicBezTo>
                      <a:pt x="33" y="124"/>
                      <a:pt x="34" y="148"/>
                      <a:pt x="62" y="148"/>
                    </a:cubicBezTo>
                    <a:cubicBezTo>
                      <a:pt x="90" y="148"/>
                      <a:pt x="90" y="123"/>
                      <a:pt x="90" y="116"/>
                    </a:cubicBezTo>
                    <a:cubicBezTo>
                      <a:pt x="90" y="5"/>
                      <a:pt x="90" y="5"/>
                      <a:pt x="90" y="5"/>
                    </a:cubicBezTo>
                    <a:cubicBezTo>
                      <a:pt x="90" y="1"/>
                      <a:pt x="91" y="0"/>
                      <a:pt x="95" y="0"/>
                    </a:cubicBezTo>
                    <a:cubicBezTo>
                      <a:pt x="111" y="0"/>
                      <a:pt x="111" y="0"/>
                      <a:pt x="111" y="0"/>
                    </a:cubicBezTo>
                    <a:cubicBezTo>
                      <a:pt x="114" y="0"/>
                      <a:pt x="116" y="0"/>
                      <a:pt x="116" y="4"/>
                    </a:cubicBezTo>
                    <a:lnTo>
                      <a:pt x="116" y="119"/>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8" name="Freeform 10"/>
              <p:cNvSpPr>
                <a:spLocks/>
              </p:cNvSpPr>
              <p:nvPr userDrawn="1"/>
            </p:nvSpPr>
            <p:spPr bwMode="auto">
              <a:xfrm>
                <a:off x="4521200" y="1804988"/>
                <a:ext cx="71438" cy="131762"/>
              </a:xfrm>
              <a:custGeom>
                <a:avLst/>
                <a:gdLst/>
                <a:ahLst/>
                <a:cxnLst>
                  <a:cxn ang="0">
                    <a:pos x="32" y="147"/>
                  </a:cxn>
                  <a:cxn ang="0">
                    <a:pos x="87" y="147"/>
                  </a:cxn>
                  <a:cxn ang="0">
                    <a:pos x="92" y="152"/>
                  </a:cxn>
                  <a:cxn ang="0">
                    <a:pos x="92" y="164"/>
                  </a:cxn>
                  <a:cxn ang="0">
                    <a:pos x="87" y="169"/>
                  </a:cxn>
                  <a:cxn ang="0">
                    <a:pos x="5" y="169"/>
                  </a:cxn>
                  <a:cxn ang="0">
                    <a:pos x="0" y="164"/>
                  </a:cxn>
                  <a:cxn ang="0">
                    <a:pos x="0" y="5"/>
                  </a:cxn>
                  <a:cxn ang="0">
                    <a:pos x="5" y="0"/>
                  </a:cxn>
                  <a:cxn ang="0">
                    <a:pos x="27" y="0"/>
                  </a:cxn>
                  <a:cxn ang="0">
                    <a:pos x="32" y="5"/>
                  </a:cxn>
                  <a:cxn ang="0">
                    <a:pos x="32" y="147"/>
                  </a:cxn>
                </a:cxnLst>
                <a:rect l="0" t="0" r="r" b="b"/>
                <a:pathLst>
                  <a:path w="92" h="169">
                    <a:moveTo>
                      <a:pt x="32" y="147"/>
                    </a:moveTo>
                    <a:cubicBezTo>
                      <a:pt x="87" y="147"/>
                      <a:pt x="87" y="147"/>
                      <a:pt x="87" y="147"/>
                    </a:cubicBezTo>
                    <a:cubicBezTo>
                      <a:pt x="91" y="147"/>
                      <a:pt x="92" y="148"/>
                      <a:pt x="92" y="152"/>
                    </a:cubicBezTo>
                    <a:cubicBezTo>
                      <a:pt x="92" y="164"/>
                      <a:pt x="92" y="164"/>
                      <a:pt x="92" y="164"/>
                    </a:cubicBezTo>
                    <a:cubicBezTo>
                      <a:pt x="92" y="168"/>
                      <a:pt x="91" y="169"/>
                      <a:pt x="87" y="169"/>
                    </a:cubicBezTo>
                    <a:cubicBezTo>
                      <a:pt x="5" y="169"/>
                      <a:pt x="5" y="169"/>
                      <a:pt x="5" y="169"/>
                    </a:cubicBezTo>
                    <a:cubicBezTo>
                      <a:pt x="2" y="169"/>
                      <a:pt x="0" y="169"/>
                      <a:pt x="0" y="164"/>
                    </a:cubicBezTo>
                    <a:cubicBezTo>
                      <a:pt x="0" y="5"/>
                      <a:pt x="0" y="5"/>
                      <a:pt x="0" y="5"/>
                    </a:cubicBezTo>
                    <a:cubicBezTo>
                      <a:pt x="0" y="1"/>
                      <a:pt x="1" y="0"/>
                      <a:pt x="5" y="0"/>
                    </a:cubicBezTo>
                    <a:cubicBezTo>
                      <a:pt x="27" y="0"/>
                      <a:pt x="27" y="0"/>
                      <a:pt x="27" y="0"/>
                    </a:cubicBezTo>
                    <a:cubicBezTo>
                      <a:pt x="31" y="0"/>
                      <a:pt x="32" y="1"/>
                      <a:pt x="32" y="5"/>
                    </a:cubicBezTo>
                    <a:lnTo>
                      <a:pt x="32" y="147"/>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9" name="Freeform 11"/>
              <p:cNvSpPr>
                <a:spLocks/>
              </p:cNvSpPr>
              <p:nvPr userDrawn="1"/>
            </p:nvSpPr>
            <p:spPr bwMode="auto">
              <a:xfrm>
                <a:off x="4595813" y="1804988"/>
                <a:ext cx="90488" cy="131762"/>
              </a:xfrm>
              <a:custGeom>
                <a:avLst/>
                <a:gdLst/>
                <a:ahLst/>
                <a:cxnLst>
                  <a:cxn ang="0">
                    <a:pos x="74" y="21"/>
                  </a:cxn>
                  <a:cxn ang="0">
                    <a:pos x="74" y="163"/>
                  </a:cxn>
                  <a:cxn ang="0">
                    <a:pos x="69" y="169"/>
                  </a:cxn>
                  <a:cxn ang="0">
                    <a:pos x="47" y="169"/>
                  </a:cxn>
                  <a:cxn ang="0">
                    <a:pos x="41" y="163"/>
                  </a:cxn>
                  <a:cxn ang="0">
                    <a:pos x="41" y="21"/>
                  </a:cxn>
                  <a:cxn ang="0">
                    <a:pos x="5" y="21"/>
                  </a:cxn>
                  <a:cxn ang="0">
                    <a:pos x="0" y="16"/>
                  </a:cxn>
                  <a:cxn ang="0">
                    <a:pos x="0" y="5"/>
                  </a:cxn>
                  <a:cxn ang="0">
                    <a:pos x="5" y="0"/>
                  </a:cxn>
                  <a:cxn ang="0">
                    <a:pos x="110" y="0"/>
                  </a:cxn>
                  <a:cxn ang="0">
                    <a:pos x="116" y="4"/>
                  </a:cxn>
                  <a:cxn ang="0">
                    <a:pos x="116" y="16"/>
                  </a:cxn>
                  <a:cxn ang="0">
                    <a:pos x="110" y="21"/>
                  </a:cxn>
                  <a:cxn ang="0">
                    <a:pos x="74" y="21"/>
                  </a:cxn>
                </a:cxnLst>
                <a:rect l="0" t="0" r="r" b="b"/>
                <a:pathLst>
                  <a:path w="116" h="169">
                    <a:moveTo>
                      <a:pt x="74" y="21"/>
                    </a:moveTo>
                    <a:cubicBezTo>
                      <a:pt x="74" y="163"/>
                      <a:pt x="74" y="163"/>
                      <a:pt x="74" y="163"/>
                    </a:cubicBezTo>
                    <a:cubicBezTo>
                      <a:pt x="74" y="167"/>
                      <a:pt x="73" y="169"/>
                      <a:pt x="69" y="169"/>
                    </a:cubicBezTo>
                    <a:cubicBezTo>
                      <a:pt x="47" y="169"/>
                      <a:pt x="47" y="169"/>
                      <a:pt x="47" y="169"/>
                    </a:cubicBezTo>
                    <a:cubicBezTo>
                      <a:pt x="43" y="169"/>
                      <a:pt x="41" y="168"/>
                      <a:pt x="41" y="163"/>
                    </a:cubicBezTo>
                    <a:cubicBezTo>
                      <a:pt x="41" y="21"/>
                      <a:pt x="41" y="21"/>
                      <a:pt x="41" y="21"/>
                    </a:cubicBezTo>
                    <a:cubicBezTo>
                      <a:pt x="5" y="21"/>
                      <a:pt x="5" y="21"/>
                      <a:pt x="5" y="21"/>
                    </a:cubicBezTo>
                    <a:cubicBezTo>
                      <a:pt x="1" y="21"/>
                      <a:pt x="0" y="20"/>
                      <a:pt x="0" y="16"/>
                    </a:cubicBezTo>
                    <a:cubicBezTo>
                      <a:pt x="0" y="5"/>
                      <a:pt x="0" y="5"/>
                      <a:pt x="0" y="5"/>
                    </a:cubicBezTo>
                    <a:cubicBezTo>
                      <a:pt x="0" y="0"/>
                      <a:pt x="2" y="0"/>
                      <a:pt x="5" y="0"/>
                    </a:cubicBezTo>
                    <a:cubicBezTo>
                      <a:pt x="110" y="0"/>
                      <a:pt x="110" y="0"/>
                      <a:pt x="110" y="0"/>
                    </a:cubicBezTo>
                    <a:cubicBezTo>
                      <a:pt x="114" y="0"/>
                      <a:pt x="116" y="0"/>
                      <a:pt x="116" y="4"/>
                    </a:cubicBezTo>
                    <a:cubicBezTo>
                      <a:pt x="116" y="16"/>
                      <a:pt x="116" y="16"/>
                      <a:pt x="116" y="16"/>
                    </a:cubicBezTo>
                    <a:cubicBezTo>
                      <a:pt x="116" y="20"/>
                      <a:pt x="115" y="21"/>
                      <a:pt x="110" y="21"/>
                    </a:cubicBezTo>
                    <a:lnTo>
                      <a:pt x="74" y="2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0" name="Freeform 12"/>
              <p:cNvSpPr>
                <a:spLocks noEditPoints="1"/>
              </p:cNvSpPr>
              <p:nvPr userDrawn="1"/>
            </p:nvSpPr>
            <p:spPr bwMode="auto">
              <a:xfrm>
                <a:off x="4689475" y="1804988"/>
                <a:ext cx="112713" cy="131762"/>
              </a:xfrm>
              <a:custGeom>
                <a:avLst/>
                <a:gdLst/>
                <a:ahLst/>
                <a:cxnLst>
                  <a:cxn ang="0">
                    <a:pos x="87" y="98"/>
                  </a:cxn>
                  <a:cxn ang="0">
                    <a:pos x="68" y="43"/>
                  </a:cxn>
                  <a:cxn ang="0">
                    <a:pos x="50" y="98"/>
                  </a:cxn>
                  <a:cxn ang="0">
                    <a:pos x="87" y="98"/>
                  </a:cxn>
                  <a:cxn ang="0">
                    <a:pos x="93" y="116"/>
                  </a:cxn>
                  <a:cxn ang="0">
                    <a:pos x="44" y="116"/>
                  </a:cxn>
                  <a:cxn ang="0">
                    <a:pos x="27" y="164"/>
                  </a:cxn>
                  <a:cxn ang="0">
                    <a:pos x="21" y="169"/>
                  </a:cxn>
                  <a:cxn ang="0">
                    <a:pos x="5" y="169"/>
                  </a:cxn>
                  <a:cxn ang="0">
                    <a:pos x="0" y="166"/>
                  </a:cxn>
                  <a:cxn ang="0">
                    <a:pos x="2" y="161"/>
                  </a:cxn>
                  <a:cxn ang="0">
                    <a:pos x="60" y="4"/>
                  </a:cxn>
                  <a:cxn ang="0">
                    <a:pos x="66" y="0"/>
                  </a:cxn>
                  <a:cxn ang="0">
                    <a:pos x="80" y="0"/>
                  </a:cxn>
                  <a:cxn ang="0">
                    <a:pos x="86" y="3"/>
                  </a:cxn>
                  <a:cxn ang="0">
                    <a:pos x="144" y="163"/>
                  </a:cxn>
                  <a:cxn ang="0">
                    <a:pos x="145" y="166"/>
                  </a:cxn>
                  <a:cxn ang="0">
                    <a:pos x="141" y="169"/>
                  </a:cxn>
                  <a:cxn ang="0">
                    <a:pos x="117" y="169"/>
                  </a:cxn>
                  <a:cxn ang="0">
                    <a:pos x="110" y="165"/>
                  </a:cxn>
                  <a:cxn ang="0">
                    <a:pos x="93" y="116"/>
                  </a:cxn>
                </a:cxnLst>
                <a:rect l="0" t="0" r="r" b="b"/>
                <a:pathLst>
                  <a:path w="145" h="169">
                    <a:moveTo>
                      <a:pt x="87" y="98"/>
                    </a:moveTo>
                    <a:cubicBezTo>
                      <a:pt x="68" y="43"/>
                      <a:pt x="68" y="43"/>
                      <a:pt x="68" y="43"/>
                    </a:cubicBezTo>
                    <a:cubicBezTo>
                      <a:pt x="50" y="98"/>
                      <a:pt x="50" y="98"/>
                      <a:pt x="50" y="98"/>
                    </a:cubicBezTo>
                    <a:lnTo>
                      <a:pt x="87" y="98"/>
                    </a:lnTo>
                    <a:close/>
                    <a:moveTo>
                      <a:pt x="93" y="116"/>
                    </a:moveTo>
                    <a:cubicBezTo>
                      <a:pt x="44" y="116"/>
                      <a:pt x="44" y="116"/>
                      <a:pt x="44" y="116"/>
                    </a:cubicBezTo>
                    <a:cubicBezTo>
                      <a:pt x="27" y="164"/>
                      <a:pt x="27" y="164"/>
                      <a:pt x="27" y="164"/>
                    </a:cubicBezTo>
                    <a:cubicBezTo>
                      <a:pt x="26" y="168"/>
                      <a:pt x="25" y="169"/>
                      <a:pt x="21" y="169"/>
                    </a:cubicBezTo>
                    <a:cubicBezTo>
                      <a:pt x="5" y="169"/>
                      <a:pt x="5" y="169"/>
                      <a:pt x="5" y="169"/>
                    </a:cubicBezTo>
                    <a:cubicBezTo>
                      <a:pt x="3" y="169"/>
                      <a:pt x="0" y="169"/>
                      <a:pt x="0" y="166"/>
                    </a:cubicBezTo>
                    <a:cubicBezTo>
                      <a:pt x="0" y="165"/>
                      <a:pt x="2" y="162"/>
                      <a:pt x="2" y="161"/>
                    </a:cubicBezTo>
                    <a:cubicBezTo>
                      <a:pt x="60" y="4"/>
                      <a:pt x="60" y="4"/>
                      <a:pt x="60" y="4"/>
                    </a:cubicBezTo>
                    <a:cubicBezTo>
                      <a:pt x="62" y="1"/>
                      <a:pt x="62" y="0"/>
                      <a:pt x="66" y="0"/>
                    </a:cubicBezTo>
                    <a:cubicBezTo>
                      <a:pt x="80" y="0"/>
                      <a:pt x="80" y="0"/>
                      <a:pt x="80" y="0"/>
                    </a:cubicBezTo>
                    <a:cubicBezTo>
                      <a:pt x="84" y="0"/>
                      <a:pt x="84" y="0"/>
                      <a:pt x="86" y="3"/>
                    </a:cubicBezTo>
                    <a:cubicBezTo>
                      <a:pt x="144" y="163"/>
                      <a:pt x="144" y="163"/>
                      <a:pt x="144" y="163"/>
                    </a:cubicBezTo>
                    <a:cubicBezTo>
                      <a:pt x="145" y="164"/>
                      <a:pt x="145" y="165"/>
                      <a:pt x="145" y="166"/>
                    </a:cubicBezTo>
                    <a:cubicBezTo>
                      <a:pt x="145" y="169"/>
                      <a:pt x="143" y="169"/>
                      <a:pt x="141" y="169"/>
                    </a:cubicBezTo>
                    <a:cubicBezTo>
                      <a:pt x="117" y="169"/>
                      <a:pt x="117" y="169"/>
                      <a:pt x="117" y="169"/>
                    </a:cubicBezTo>
                    <a:cubicBezTo>
                      <a:pt x="113" y="169"/>
                      <a:pt x="112" y="169"/>
                      <a:pt x="110" y="165"/>
                    </a:cubicBezTo>
                    <a:lnTo>
                      <a:pt x="93" y="116"/>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1" name="Freeform 13"/>
              <p:cNvSpPr>
                <a:spLocks/>
              </p:cNvSpPr>
              <p:nvPr userDrawn="1"/>
            </p:nvSpPr>
            <p:spPr bwMode="auto">
              <a:xfrm>
                <a:off x="4833938" y="1804988"/>
                <a:ext cx="103188" cy="131762"/>
              </a:xfrm>
              <a:custGeom>
                <a:avLst/>
                <a:gdLst/>
                <a:ahLst/>
                <a:cxnLst>
                  <a:cxn ang="0">
                    <a:pos x="108" y="111"/>
                  </a:cxn>
                  <a:cxn ang="0">
                    <a:pos x="108" y="5"/>
                  </a:cxn>
                  <a:cxn ang="0">
                    <a:pos x="113" y="0"/>
                  </a:cxn>
                  <a:cxn ang="0">
                    <a:pos x="128" y="0"/>
                  </a:cxn>
                  <a:cxn ang="0">
                    <a:pos x="133" y="5"/>
                  </a:cxn>
                  <a:cxn ang="0">
                    <a:pos x="133" y="164"/>
                  </a:cxn>
                  <a:cxn ang="0">
                    <a:pos x="128" y="169"/>
                  </a:cxn>
                  <a:cxn ang="0">
                    <a:pos x="114" y="169"/>
                  </a:cxn>
                  <a:cxn ang="0">
                    <a:pos x="108" y="164"/>
                  </a:cxn>
                  <a:cxn ang="0">
                    <a:pos x="26" y="48"/>
                  </a:cxn>
                  <a:cxn ang="0">
                    <a:pos x="26" y="164"/>
                  </a:cxn>
                  <a:cxn ang="0">
                    <a:pos x="21" y="169"/>
                  </a:cxn>
                  <a:cxn ang="0">
                    <a:pos x="6" y="169"/>
                  </a:cxn>
                  <a:cxn ang="0">
                    <a:pos x="0" y="164"/>
                  </a:cxn>
                  <a:cxn ang="0">
                    <a:pos x="0" y="5"/>
                  </a:cxn>
                  <a:cxn ang="0">
                    <a:pos x="6" y="0"/>
                  </a:cxn>
                  <a:cxn ang="0">
                    <a:pos x="24" y="0"/>
                  </a:cxn>
                  <a:cxn ang="0">
                    <a:pos x="32" y="4"/>
                  </a:cxn>
                  <a:cxn ang="0">
                    <a:pos x="108" y="111"/>
                  </a:cxn>
                </a:cxnLst>
                <a:rect l="0" t="0" r="r" b="b"/>
                <a:pathLst>
                  <a:path w="133" h="169">
                    <a:moveTo>
                      <a:pt x="108" y="111"/>
                    </a:moveTo>
                    <a:cubicBezTo>
                      <a:pt x="108" y="5"/>
                      <a:pt x="108" y="5"/>
                      <a:pt x="108" y="5"/>
                    </a:cubicBezTo>
                    <a:cubicBezTo>
                      <a:pt x="108" y="1"/>
                      <a:pt x="109" y="0"/>
                      <a:pt x="113" y="0"/>
                    </a:cubicBezTo>
                    <a:cubicBezTo>
                      <a:pt x="128" y="0"/>
                      <a:pt x="128" y="0"/>
                      <a:pt x="128" y="0"/>
                    </a:cubicBezTo>
                    <a:cubicBezTo>
                      <a:pt x="132" y="0"/>
                      <a:pt x="133" y="1"/>
                      <a:pt x="133" y="5"/>
                    </a:cubicBezTo>
                    <a:cubicBezTo>
                      <a:pt x="133" y="164"/>
                      <a:pt x="133" y="164"/>
                      <a:pt x="133" y="164"/>
                    </a:cubicBezTo>
                    <a:cubicBezTo>
                      <a:pt x="133" y="168"/>
                      <a:pt x="131" y="169"/>
                      <a:pt x="128" y="169"/>
                    </a:cubicBezTo>
                    <a:cubicBezTo>
                      <a:pt x="114" y="169"/>
                      <a:pt x="114" y="169"/>
                      <a:pt x="114" y="169"/>
                    </a:cubicBezTo>
                    <a:cubicBezTo>
                      <a:pt x="111" y="169"/>
                      <a:pt x="111" y="168"/>
                      <a:pt x="108" y="164"/>
                    </a:cubicBezTo>
                    <a:cubicBezTo>
                      <a:pt x="26" y="48"/>
                      <a:pt x="26" y="48"/>
                      <a:pt x="26" y="48"/>
                    </a:cubicBezTo>
                    <a:cubicBezTo>
                      <a:pt x="26" y="164"/>
                      <a:pt x="26" y="164"/>
                      <a:pt x="26" y="164"/>
                    </a:cubicBezTo>
                    <a:cubicBezTo>
                      <a:pt x="26" y="168"/>
                      <a:pt x="25" y="169"/>
                      <a:pt x="21" y="169"/>
                    </a:cubicBezTo>
                    <a:cubicBezTo>
                      <a:pt x="6" y="169"/>
                      <a:pt x="6" y="169"/>
                      <a:pt x="6" y="169"/>
                    </a:cubicBezTo>
                    <a:cubicBezTo>
                      <a:pt x="2" y="169"/>
                      <a:pt x="0" y="169"/>
                      <a:pt x="0" y="164"/>
                    </a:cubicBezTo>
                    <a:cubicBezTo>
                      <a:pt x="0" y="5"/>
                      <a:pt x="0" y="5"/>
                      <a:pt x="0" y="5"/>
                    </a:cubicBezTo>
                    <a:cubicBezTo>
                      <a:pt x="0" y="0"/>
                      <a:pt x="2" y="0"/>
                      <a:pt x="6" y="0"/>
                    </a:cubicBezTo>
                    <a:cubicBezTo>
                      <a:pt x="24" y="0"/>
                      <a:pt x="24" y="0"/>
                      <a:pt x="24" y="0"/>
                    </a:cubicBezTo>
                    <a:cubicBezTo>
                      <a:pt x="28" y="0"/>
                      <a:pt x="29" y="0"/>
                      <a:pt x="32" y="4"/>
                    </a:cubicBezTo>
                    <a:lnTo>
                      <a:pt x="108" y="11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2" name="Freeform 14"/>
              <p:cNvSpPr>
                <a:spLocks/>
              </p:cNvSpPr>
              <p:nvPr userDrawn="1"/>
            </p:nvSpPr>
            <p:spPr bwMode="auto">
              <a:xfrm>
                <a:off x="4970463" y="1804988"/>
                <a:ext cx="88900" cy="131762"/>
              </a:xfrm>
              <a:custGeom>
                <a:avLst/>
                <a:gdLst/>
                <a:ahLst/>
                <a:cxnLst>
                  <a:cxn ang="0">
                    <a:pos x="74" y="21"/>
                  </a:cxn>
                  <a:cxn ang="0">
                    <a:pos x="74" y="163"/>
                  </a:cxn>
                  <a:cxn ang="0">
                    <a:pos x="69" y="169"/>
                  </a:cxn>
                  <a:cxn ang="0">
                    <a:pos x="48" y="169"/>
                  </a:cxn>
                  <a:cxn ang="0">
                    <a:pos x="42" y="163"/>
                  </a:cxn>
                  <a:cxn ang="0">
                    <a:pos x="42" y="21"/>
                  </a:cxn>
                  <a:cxn ang="0">
                    <a:pos x="6" y="21"/>
                  </a:cxn>
                  <a:cxn ang="0">
                    <a:pos x="0" y="16"/>
                  </a:cxn>
                  <a:cxn ang="0">
                    <a:pos x="0" y="5"/>
                  </a:cxn>
                  <a:cxn ang="0">
                    <a:pos x="6" y="0"/>
                  </a:cxn>
                  <a:cxn ang="0">
                    <a:pos x="111" y="0"/>
                  </a:cxn>
                  <a:cxn ang="0">
                    <a:pos x="116" y="4"/>
                  </a:cxn>
                  <a:cxn ang="0">
                    <a:pos x="116" y="16"/>
                  </a:cxn>
                  <a:cxn ang="0">
                    <a:pos x="111" y="21"/>
                  </a:cxn>
                  <a:cxn ang="0">
                    <a:pos x="74" y="21"/>
                  </a:cxn>
                </a:cxnLst>
                <a:rect l="0" t="0" r="r" b="b"/>
                <a:pathLst>
                  <a:path w="116" h="169">
                    <a:moveTo>
                      <a:pt x="74" y="21"/>
                    </a:moveTo>
                    <a:cubicBezTo>
                      <a:pt x="74" y="163"/>
                      <a:pt x="74" y="163"/>
                      <a:pt x="74" y="163"/>
                    </a:cubicBezTo>
                    <a:cubicBezTo>
                      <a:pt x="74" y="167"/>
                      <a:pt x="74" y="169"/>
                      <a:pt x="69" y="169"/>
                    </a:cubicBezTo>
                    <a:cubicBezTo>
                      <a:pt x="48" y="169"/>
                      <a:pt x="48" y="169"/>
                      <a:pt x="48" y="169"/>
                    </a:cubicBezTo>
                    <a:cubicBezTo>
                      <a:pt x="43" y="169"/>
                      <a:pt x="42" y="168"/>
                      <a:pt x="42" y="163"/>
                    </a:cubicBezTo>
                    <a:cubicBezTo>
                      <a:pt x="42" y="21"/>
                      <a:pt x="42" y="21"/>
                      <a:pt x="42" y="21"/>
                    </a:cubicBezTo>
                    <a:cubicBezTo>
                      <a:pt x="6" y="21"/>
                      <a:pt x="6" y="21"/>
                      <a:pt x="6" y="21"/>
                    </a:cubicBezTo>
                    <a:cubicBezTo>
                      <a:pt x="1" y="21"/>
                      <a:pt x="0" y="20"/>
                      <a:pt x="0" y="16"/>
                    </a:cubicBezTo>
                    <a:cubicBezTo>
                      <a:pt x="0" y="5"/>
                      <a:pt x="0" y="5"/>
                      <a:pt x="0" y="5"/>
                    </a:cubicBezTo>
                    <a:cubicBezTo>
                      <a:pt x="0" y="0"/>
                      <a:pt x="2" y="0"/>
                      <a:pt x="6" y="0"/>
                    </a:cubicBezTo>
                    <a:cubicBezTo>
                      <a:pt x="111" y="0"/>
                      <a:pt x="111" y="0"/>
                      <a:pt x="111" y="0"/>
                    </a:cubicBezTo>
                    <a:cubicBezTo>
                      <a:pt x="114" y="0"/>
                      <a:pt x="116" y="0"/>
                      <a:pt x="116" y="4"/>
                    </a:cubicBezTo>
                    <a:cubicBezTo>
                      <a:pt x="116" y="16"/>
                      <a:pt x="116" y="16"/>
                      <a:pt x="116" y="16"/>
                    </a:cubicBezTo>
                    <a:cubicBezTo>
                      <a:pt x="116" y="20"/>
                      <a:pt x="115" y="21"/>
                      <a:pt x="111" y="21"/>
                    </a:cubicBezTo>
                    <a:lnTo>
                      <a:pt x="74" y="2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3" name="Freeform 15"/>
              <p:cNvSpPr>
                <a:spLocks/>
              </p:cNvSpPr>
              <p:nvPr userDrawn="1"/>
            </p:nvSpPr>
            <p:spPr bwMode="auto">
              <a:xfrm>
                <a:off x="5086350" y="1801813"/>
                <a:ext cx="85725" cy="138112"/>
              </a:xfrm>
              <a:custGeom>
                <a:avLst/>
                <a:gdLst/>
                <a:ahLst/>
                <a:cxnLst>
                  <a:cxn ang="0">
                    <a:pos x="71" y="75"/>
                  </a:cxn>
                  <a:cxn ang="0">
                    <a:pos x="110" y="127"/>
                  </a:cxn>
                  <a:cxn ang="0">
                    <a:pos x="55" y="177"/>
                  </a:cxn>
                  <a:cxn ang="0">
                    <a:pos x="0" y="138"/>
                  </a:cxn>
                  <a:cxn ang="0">
                    <a:pos x="14" y="123"/>
                  </a:cxn>
                  <a:cxn ang="0">
                    <a:pos x="31" y="137"/>
                  </a:cxn>
                  <a:cxn ang="0">
                    <a:pos x="57" y="156"/>
                  </a:cxn>
                  <a:cxn ang="0">
                    <a:pos x="79" y="134"/>
                  </a:cxn>
                  <a:cxn ang="0">
                    <a:pos x="48" y="100"/>
                  </a:cxn>
                  <a:cxn ang="0">
                    <a:pos x="34" y="93"/>
                  </a:cxn>
                  <a:cxn ang="0">
                    <a:pos x="2" y="47"/>
                  </a:cxn>
                  <a:cxn ang="0">
                    <a:pos x="53" y="0"/>
                  </a:cxn>
                  <a:cxn ang="0">
                    <a:pos x="104" y="32"/>
                  </a:cxn>
                  <a:cxn ang="0">
                    <a:pos x="90" y="46"/>
                  </a:cxn>
                  <a:cxn ang="0">
                    <a:pos x="75" y="35"/>
                  </a:cxn>
                  <a:cxn ang="0">
                    <a:pos x="52" y="19"/>
                  </a:cxn>
                  <a:cxn ang="0">
                    <a:pos x="31" y="40"/>
                  </a:cxn>
                  <a:cxn ang="0">
                    <a:pos x="60" y="70"/>
                  </a:cxn>
                  <a:cxn ang="0">
                    <a:pos x="71" y="75"/>
                  </a:cxn>
                </a:cxnLst>
                <a:rect l="0" t="0" r="r" b="b"/>
                <a:pathLst>
                  <a:path w="110" h="177">
                    <a:moveTo>
                      <a:pt x="71" y="75"/>
                    </a:moveTo>
                    <a:cubicBezTo>
                      <a:pt x="86" y="83"/>
                      <a:pt x="110" y="96"/>
                      <a:pt x="110" y="127"/>
                    </a:cubicBezTo>
                    <a:cubicBezTo>
                      <a:pt x="110" y="159"/>
                      <a:pt x="86" y="177"/>
                      <a:pt x="55" y="177"/>
                    </a:cubicBezTo>
                    <a:cubicBezTo>
                      <a:pt x="16" y="177"/>
                      <a:pt x="0" y="151"/>
                      <a:pt x="0" y="138"/>
                    </a:cubicBezTo>
                    <a:cubicBezTo>
                      <a:pt x="0" y="127"/>
                      <a:pt x="8" y="123"/>
                      <a:pt x="14" y="123"/>
                    </a:cubicBezTo>
                    <a:cubicBezTo>
                      <a:pt x="23" y="123"/>
                      <a:pt x="27" y="130"/>
                      <a:pt x="31" y="137"/>
                    </a:cubicBezTo>
                    <a:cubicBezTo>
                      <a:pt x="34" y="143"/>
                      <a:pt x="41" y="156"/>
                      <a:pt x="57" y="156"/>
                    </a:cubicBezTo>
                    <a:cubicBezTo>
                      <a:pt x="70" y="156"/>
                      <a:pt x="79" y="147"/>
                      <a:pt x="79" y="134"/>
                    </a:cubicBezTo>
                    <a:cubicBezTo>
                      <a:pt x="79" y="117"/>
                      <a:pt x="67" y="110"/>
                      <a:pt x="48" y="100"/>
                    </a:cubicBezTo>
                    <a:cubicBezTo>
                      <a:pt x="34" y="93"/>
                      <a:pt x="34" y="93"/>
                      <a:pt x="34" y="93"/>
                    </a:cubicBezTo>
                    <a:cubicBezTo>
                      <a:pt x="25" y="88"/>
                      <a:pt x="2" y="76"/>
                      <a:pt x="2" y="47"/>
                    </a:cubicBezTo>
                    <a:cubicBezTo>
                      <a:pt x="2" y="18"/>
                      <a:pt x="23" y="0"/>
                      <a:pt x="53" y="0"/>
                    </a:cubicBezTo>
                    <a:cubicBezTo>
                      <a:pt x="85" y="0"/>
                      <a:pt x="104" y="18"/>
                      <a:pt x="104" y="32"/>
                    </a:cubicBezTo>
                    <a:cubicBezTo>
                      <a:pt x="104" y="40"/>
                      <a:pt x="98" y="46"/>
                      <a:pt x="90" y="46"/>
                    </a:cubicBezTo>
                    <a:cubicBezTo>
                      <a:pt x="82" y="46"/>
                      <a:pt x="79" y="40"/>
                      <a:pt x="75" y="35"/>
                    </a:cubicBezTo>
                    <a:cubicBezTo>
                      <a:pt x="71" y="29"/>
                      <a:pt x="65" y="19"/>
                      <a:pt x="52" y="19"/>
                    </a:cubicBezTo>
                    <a:cubicBezTo>
                      <a:pt x="40" y="19"/>
                      <a:pt x="31" y="28"/>
                      <a:pt x="31" y="40"/>
                    </a:cubicBezTo>
                    <a:cubicBezTo>
                      <a:pt x="31" y="56"/>
                      <a:pt x="44" y="62"/>
                      <a:pt x="60" y="70"/>
                    </a:cubicBezTo>
                    <a:lnTo>
                      <a:pt x="71" y="75"/>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sp>
          <p:nvSpPr>
            <p:cNvPr id="10" name="Rectangle 16"/>
            <p:cNvSpPr>
              <a:spLocks noChangeArrowheads="1"/>
            </p:cNvSpPr>
            <p:nvPr userDrawn="1"/>
          </p:nvSpPr>
          <p:spPr bwMode="auto">
            <a:xfrm>
              <a:off x="3813175" y="1984375"/>
              <a:ext cx="1368425" cy="9525"/>
            </a:xfrm>
            <a:prstGeom prst="rect">
              <a:avLst/>
            </a:prstGeom>
            <a:solidFill>
              <a:srgbClr val="225696"/>
            </a:solidFill>
            <a:ln w="9525">
              <a:noFill/>
              <a:miter lim="800000"/>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nvGrpSpPr>
            <p:cNvPr id="11" name="Group 31"/>
            <p:cNvGrpSpPr/>
            <p:nvPr userDrawn="1"/>
          </p:nvGrpSpPr>
          <p:grpSpPr>
            <a:xfrm>
              <a:off x="3813175" y="1435101"/>
              <a:ext cx="1358901" cy="317499"/>
              <a:chOff x="3813175" y="1435101"/>
              <a:chExt cx="1358901" cy="317499"/>
            </a:xfrm>
          </p:grpSpPr>
          <p:sp>
            <p:nvSpPr>
              <p:cNvPr id="15" name="Freeform 17"/>
              <p:cNvSpPr>
                <a:spLocks/>
              </p:cNvSpPr>
              <p:nvPr userDrawn="1"/>
            </p:nvSpPr>
            <p:spPr bwMode="auto">
              <a:xfrm>
                <a:off x="4551363" y="1452563"/>
                <a:ext cx="285750" cy="300037"/>
              </a:xfrm>
              <a:custGeom>
                <a:avLst/>
                <a:gdLst/>
                <a:ahLst/>
                <a:cxnLst>
                  <a:cxn ang="0">
                    <a:pos x="54" y="0"/>
                  </a:cxn>
                  <a:cxn ang="0">
                    <a:pos x="201" y="207"/>
                  </a:cxn>
                  <a:cxn ang="0">
                    <a:pos x="330" y="0"/>
                  </a:cxn>
                  <a:cxn ang="0">
                    <a:pos x="368" y="38"/>
                  </a:cxn>
                  <a:cxn ang="0">
                    <a:pos x="228" y="314"/>
                  </a:cxn>
                  <a:cxn ang="0">
                    <a:pos x="51" y="387"/>
                  </a:cxn>
                  <a:cxn ang="0">
                    <a:pos x="0" y="357"/>
                  </a:cxn>
                  <a:cxn ang="0">
                    <a:pos x="55" y="325"/>
                  </a:cxn>
                  <a:cxn ang="0">
                    <a:pos x="170" y="272"/>
                  </a:cxn>
                  <a:cxn ang="0">
                    <a:pos x="20" y="50"/>
                  </a:cxn>
                  <a:cxn ang="0">
                    <a:pos x="54" y="0"/>
                  </a:cxn>
                </a:cxnLst>
                <a:rect l="0" t="0" r="r" b="b"/>
                <a:pathLst>
                  <a:path w="368" h="387">
                    <a:moveTo>
                      <a:pt x="54" y="0"/>
                    </a:moveTo>
                    <a:cubicBezTo>
                      <a:pt x="99" y="0"/>
                      <a:pt x="96" y="207"/>
                      <a:pt x="201" y="207"/>
                    </a:cubicBezTo>
                    <a:cubicBezTo>
                      <a:pt x="296" y="207"/>
                      <a:pt x="280" y="0"/>
                      <a:pt x="330" y="0"/>
                    </a:cubicBezTo>
                    <a:cubicBezTo>
                      <a:pt x="368" y="0"/>
                      <a:pt x="368" y="28"/>
                      <a:pt x="368" y="38"/>
                    </a:cubicBezTo>
                    <a:cubicBezTo>
                      <a:pt x="368" y="48"/>
                      <a:pt x="332" y="235"/>
                      <a:pt x="228" y="314"/>
                    </a:cubicBezTo>
                    <a:cubicBezTo>
                      <a:pt x="147" y="376"/>
                      <a:pt x="81" y="387"/>
                      <a:pt x="51" y="387"/>
                    </a:cubicBezTo>
                    <a:cubicBezTo>
                      <a:pt x="21" y="387"/>
                      <a:pt x="0" y="376"/>
                      <a:pt x="0" y="357"/>
                    </a:cubicBezTo>
                    <a:cubicBezTo>
                      <a:pt x="0" y="339"/>
                      <a:pt x="21" y="328"/>
                      <a:pt x="55" y="325"/>
                    </a:cubicBezTo>
                    <a:cubicBezTo>
                      <a:pt x="95" y="322"/>
                      <a:pt x="170" y="287"/>
                      <a:pt x="170" y="272"/>
                    </a:cubicBezTo>
                    <a:cubicBezTo>
                      <a:pt x="74" y="272"/>
                      <a:pt x="22" y="64"/>
                      <a:pt x="20" y="50"/>
                    </a:cubicBezTo>
                    <a:cubicBezTo>
                      <a:pt x="16" y="11"/>
                      <a:pt x="32" y="0"/>
                      <a:pt x="54" y="0"/>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16" name="Freeform 18"/>
              <p:cNvSpPr>
                <a:spLocks/>
              </p:cNvSpPr>
              <p:nvPr userDrawn="1"/>
            </p:nvSpPr>
            <p:spPr bwMode="auto">
              <a:xfrm>
                <a:off x="4189413" y="1444625"/>
                <a:ext cx="309563" cy="233362"/>
              </a:xfrm>
              <a:custGeom>
                <a:avLst/>
                <a:gdLst/>
                <a:ahLst/>
                <a:cxnLst>
                  <a:cxn ang="0">
                    <a:pos x="371" y="251"/>
                  </a:cxn>
                  <a:cxn ang="0">
                    <a:pos x="258" y="158"/>
                  </a:cxn>
                  <a:cxn ang="0">
                    <a:pos x="361" y="48"/>
                  </a:cxn>
                  <a:cxn ang="0">
                    <a:pos x="384" y="19"/>
                  </a:cxn>
                  <a:cxn ang="0">
                    <a:pos x="349" y="2"/>
                  </a:cxn>
                  <a:cxn ang="0">
                    <a:pos x="200" y="91"/>
                  </a:cxn>
                  <a:cxn ang="0">
                    <a:pos x="51" y="2"/>
                  </a:cxn>
                  <a:cxn ang="0">
                    <a:pos x="16" y="19"/>
                  </a:cxn>
                  <a:cxn ang="0">
                    <a:pos x="39" y="48"/>
                  </a:cxn>
                  <a:cxn ang="0">
                    <a:pos x="142" y="158"/>
                  </a:cxn>
                  <a:cxn ang="0">
                    <a:pos x="29" y="251"/>
                  </a:cxn>
                  <a:cxn ang="0">
                    <a:pos x="4" y="280"/>
                  </a:cxn>
                  <a:cxn ang="0">
                    <a:pos x="41" y="298"/>
                  </a:cxn>
                  <a:cxn ang="0">
                    <a:pos x="200" y="218"/>
                  </a:cxn>
                  <a:cxn ang="0">
                    <a:pos x="359" y="298"/>
                  </a:cxn>
                  <a:cxn ang="0">
                    <a:pos x="396" y="280"/>
                  </a:cxn>
                  <a:cxn ang="0">
                    <a:pos x="371" y="251"/>
                  </a:cxn>
                </a:cxnLst>
                <a:rect l="0" t="0" r="r" b="b"/>
                <a:pathLst>
                  <a:path w="399" h="300">
                    <a:moveTo>
                      <a:pt x="371" y="251"/>
                    </a:moveTo>
                    <a:cubicBezTo>
                      <a:pt x="370" y="251"/>
                      <a:pt x="258" y="225"/>
                      <a:pt x="258" y="158"/>
                    </a:cubicBezTo>
                    <a:cubicBezTo>
                      <a:pt x="258" y="79"/>
                      <a:pt x="360" y="48"/>
                      <a:pt x="361" y="48"/>
                    </a:cubicBezTo>
                    <a:cubicBezTo>
                      <a:pt x="373" y="44"/>
                      <a:pt x="387" y="31"/>
                      <a:pt x="384" y="19"/>
                    </a:cubicBezTo>
                    <a:cubicBezTo>
                      <a:pt x="379" y="2"/>
                      <a:pt x="365" y="0"/>
                      <a:pt x="349" y="2"/>
                    </a:cubicBezTo>
                    <a:cubicBezTo>
                      <a:pt x="345" y="2"/>
                      <a:pt x="247" y="26"/>
                      <a:pt x="200" y="91"/>
                    </a:cubicBezTo>
                    <a:cubicBezTo>
                      <a:pt x="152" y="26"/>
                      <a:pt x="55" y="3"/>
                      <a:pt x="51" y="2"/>
                    </a:cubicBezTo>
                    <a:cubicBezTo>
                      <a:pt x="39" y="0"/>
                      <a:pt x="19" y="6"/>
                      <a:pt x="16" y="19"/>
                    </a:cubicBezTo>
                    <a:cubicBezTo>
                      <a:pt x="12" y="31"/>
                      <a:pt x="27" y="44"/>
                      <a:pt x="39" y="48"/>
                    </a:cubicBezTo>
                    <a:cubicBezTo>
                      <a:pt x="40" y="48"/>
                      <a:pt x="142" y="79"/>
                      <a:pt x="142" y="158"/>
                    </a:cubicBezTo>
                    <a:cubicBezTo>
                      <a:pt x="142" y="225"/>
                      <a:pt x="30" y="251"/>
                      <a:pt x="29" y="251"/>
                    </a:cubicBezTo>
                    <a:cubicBezTo>
                      <a:pt x="16" y="254"/>
                      <a:pt x="0" y="267"/>
                      <a:pt x="4" y="280"/>
                    </a:cubicBezTo>
                    <a:cubicBezTo>
                      <a:pt x="7" y="293"/>
                      <a:pt x="26" y="300"/>
                      <a:pt x="41" y="298"/>
                    </a:cubicBezTo>
                    <a:cubicBezTo>
                      <a:pt x="45" y="297"/>
                      <a:pt x="152" y="277"/>
                      <a:pt x="200" y="218"/>
                    </a:cubicBezTo>
                    <a:cubicBezTo>
                      <a:pt x="248" y="277"/>
                      <a:pt x="355" y="297"/>
                      <a:pt x="359" y="298"/>
                    </a:cubicBezTo>
                    <a:cubicBezTo>
                      <a:pt x="374" y="300"/>
                      <a:pt x="392" y="297"/>
                      <a:pt x="396" y="280"/>
                    </a:cubicBezTo>
                    <a:cubicBezTo>
                      <a:pt x="399" y="267"/>
                      <a:pt x="384" y="254"/>
                      <a:pt x="371" y="251"/>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19" name="Freeform 19"/>
              <p:cNvSpPr>
                <a:spLocks/>
              </p:cNvSpPr>
              <p:nvPr userDrawn="1"/>
            </p:nvSpPr>
            <p:spPr bwMode="auto">
              <a:xfrm>
                <a:off x="4887913" y="1435101"/>
                <a:ext cx="284163" cy="265112"/>
              </a:xfrm>
              <a:custGeom>
                <a:avLst/>
                <a:gdLst/>
                <a:ahLst/>
                <a:cxnLst>
                  <a:cxn ang="0">
                    <a:pos x="208" y="143"/>
                  </a:cxn>
                  <a:cxn ang="0">
                    <a:pos x="200" y="142"/>
                  </a:cxn>
                  <a:cxn ang="0">
                    <a:pos x="105" y="105"/>
                  </a:cxn>
                  <a:cxn ang="0">
                    <a:pos x="115" y="84"/>
                  </a:cxn>
                  <a:cxn ang="0">
                    <a:pos x="295" y="87"/>
                  </a:cxn>
                  <a:cxn ang="0">
                    <a:pos x="333" y="70"/>
                  </a:cxn>
                  <a:cxn ang="0">
                    <a:pos x="305" y="35"/>
                  </a:cxn>
                  <a:cxn ang="0">
                    <a:pos x="62" y="46"/>
                  </a:cxn>
                  <a:cxn ang="0">
                    <a:pos x="34" y="104"/>
                  </a:cxn>
                  <a:cxn ang="0">
                    <a:pos x="170" y="194"/>
                  </a:cxn>
                  <a:cxn ang="0">
                    <a:pos x="296" y="231"/>
                  </a:cxn>
                  <a:cxn ang="0">
                    <a:pos x="285" y="249"/>
                  </a:cxn>
                  <a:cxn ang="0">
                    <a:pos x="45" y="236"/>
                  </a:cxn>
                  <a:cxn ang="0">
                    <a:pos x="2" y="248"/>
                  </a:cxn>
                  <a:cxn ang="0">
                    <a:pos x="2" y="265"/>
                  </a:cxn>
                  <a:cxn ang="0">
                    <a:pos x="23" y="287"/>
                  </a:cxn>
                  <a:cxn ang="0">
                    <a:pos x="331" y="294"/>
                  </a:cxn>
                  <a:cxn ang="0">
                    <a:pos x="367" y="231"/>
                  </a:cxn>
                  <a:cxn ang="0">
                    <a:pos x="208" y="143"/>
                  </a:cxn>
                </a:cxnLst>
                <a:rect l="0" t="0" r="r" b="b"/>
                <a:pathLst>
                  <a:path w="367" h="342">
                    <a:moveTo>
                      <a:pt x="208" y="143"/>
                    </a:moveTo>
                    <a:cubicBezTo>
                      <a:pt x="200" y="142"/>
                      <a:pt x="200" y="142"/>
                      <a:pt x="200" y="142"/>
                    </a:cubicBezTo>
                    <a:cubicBezTo>
                      <a:pt x="177" y="139"/>
                      <a:pt x="105" y="130"/>
                      <a:pt x="105" y="105"/>
                    </a:cubicBezTo>
                    <a:cubicBezTo>
                      <a:pt x="105" y="96"/>
                      <a:pt x="108" y="89"/>
                      <a:pt x="115" y="84"/>
                    </a:cubicBezTo>
                    <a:cubicBezTo>
                      <a:pt x="148" y="57"/>
                      <a:pt x="252" y="77"/>
                      <a:pt x="295" y="87"/>
                    </a:cubicBezTo>
                    <a:cubicBezTo>
                      <a:pt x="311" y="90"/>
                      <a:pt x="330" y="86"/>
                      <a:pt x="333" y="70"/>
                    </a:cubicBezTo>
                    <a:cubicBezTo>
                      <a:pt x="337" y="54"/>
                      <a:pt x="320" y="39"/>
                      <a:pt x="305" y="35"/>
                    </a:cubicBezTo>
                    <a:cubicBezTo>
                      <a:pt x="258" y="23"/>
                      <a:pt x="121" y="0"/>
                      <a:pt x="62" y="46"/>
                    </a:cubicBezTo>
                    <a:cubicBezTo>
                      <a:pt x="43" y="60"/>
                      <a:pt x="34" y="79"/>
                      <a:pt x="34" y="104"/>
                    </a:cubicBezTo>
                    <a:cubicBezTo>
                      <a:pt x="34" y="162"/>
                      <a:pt x="88" y="182"/>
                      <a:pt x="170" y="194"/>
                    </a:cubicBezTo>
                    <a:cubicBezTo>
                      <a:pt x="237" y="204"/>
                      <a:pt x="296" y="212"/>
                      <a:pt x="296" y="231"/>
                    </a:cubicBezTo>
                    <a:cubicBezTo>
                      <a:pt x="296" y="238"/>
                      <a:pt x="292" y="244"/>
                      <a:pt x="285" y="249"/>
                    </a:cubicBezTo>
                    <a:cubicBezTo>
                      <a:pt x="241" y="277"/>
                      <a:pt x="94" y="257"/>
                      <a:pt x="45" y="236"/>
                    </a:cubicBezTo>
                    <a:cubicBezTo>
                      <a:pt x="30" y="230"/>
                      <a:pt x="9" y="233"/>
                      <a:pt x="2" y="248"/>
                    </a:cubicBezTo>
                    <a:cubicBezTo>
                      <a:pt x="0" y="253"/>
                      <a:pt x="0" y="259"/>
                      <a:pt x="2" y="265"/>
                    </a:cubicBezTo>
                    <a:cubicBezTo>
                      <a:pt x="5" y="274"/>
                      <a:pt x="14" y="283"/>
                      <a:pt x="23" y="287"/>
                    </a:cubicBezTo>
                    <a:cubicBezTo>
                      <a:pt x="78" y="313"/>
                      <a:pt x="256" y="342"/>
                      <a:pt x="331" y="294"/>
                    </a:cubicBezTo>
                    <a:cubicBezTo>
                      <a:pt x="355" y="279"/>
                      <a:pt x="367" y="258"/>
                      <a:pt x="367" y="231"/>
                    </a:cubicBezTo>
                    <a:cubicBezTo>
                      <a:pt x="367" y="162"/>
                      <a:pt x="293" y="153"/>
                      <a:pt x="208" y="143"/>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2" name="Freeform 20"/>
              <p:cNvSpPr>
                <a:spLocks noEditPoints="1"/>
              </p:cNvSpPr>
              <p:nvPr userDrawn="1"/>
            </p:nvSpPr>
            <p:spPr bwMode="auto">
              <a:xfrm>
                <a:off x="3813175" y="1441451"/>
                <a:ext cx="341313" cy="234950"/>
              </a:xfrm>
              <a:custGeom>
                <a:avLst/>
                <a:gdLst/>
                <a:ahLst/>
                <a:cxnLst>
                  <a:cxn ang="0">
                    <a:pos x="286" y="219"/>
                  </a:cxn>
                  <a:cxn ang="0">
                    <a:pos x="222" y="258"/>
                  </a:cxn>
                  <a:cxn ang="0">
                    <a:pos x="103" y="208"/>
                  </a:cxn>
                  <a:cxn ang="0">
                    <a:pos x="163" y="165"/>
                  </a:cxn>
                  <a:cxn ang="0">
                    <a:pos x="163" y="165"/>
                  </a:cxn>
                  <a:cxn ang="0">
                    <a:pos x="287" y="155"/>
                  </a:cxn>
                  <a:cxn ang="0">
                    <a:pos x="286" y="219"/>
                  </a:cxn>
                  <a:cxn ang="0">
                    <a:pos x="282" y="112"/>
                  </a:cxn>
                  <a:cxn ang="0">
                    <a:pos x="143" y="117"/>
                  </a:cxn>
                  <a:cxn ang="0">
                    <a:pos x="0" y="211"/>
                  </a:cxn>
                  <a:cxn ang="0">
                    <a:pos x="35" y="270"/>
                  </a:cxn>
                  <a:cxn ang="0">
                    <a:pos x="186" y="304"/>
                  </a:cxn>
                  <a:cxn ang="0">
                    <a:pos x="287" y="290"/>
                  </a:cxn>
                  <a:cxn ang="0">
                    <a:pos x="335" y="275"/>
                  </a:cxn>
                  <a:cxn ang="0">
                    <a:pos x="398" y="304"/>
                  </a:cxn>
                  <a:cxn ang="0">
                    <a:pos x="395" y="246"/>
                  </a:cxn>
                  <a:cxn ang="0">
                    <a:pos x="388" y="157"/>
                  </a:cxn>
                  <a:cxn ang="0">
                    <a:pos x="312" y="21"/>
                  </a:cxn>
                  <a:cxn ang="0">
                    <a:pos x="186" y="1"/>
                  </a:cxn>
                  <a:cxn ang="0">
                    <a:pos x="34" y="42"/>
                  </a:cxn>
                  <a:cxn ang="0">
                    <a:pos x="55" y="79"/>
                  </a:cxn>
                  <a:cxn ang="0">
                    <a:pos x="195" y="47"/>
                  </a:cxn>
                  <a:cxn ang="0">
                    <a:pos x="282" y="112"/>
                  </a:cxn>
                </a:cxnLst>
                <a:rect l="0" t="0" r="r" b="b"/>
                <a:pathLst>
                  <a:path w="440" h="304">
                    <a:moveTo>
                      <a:pt x="286" y="219"/>
                    </a:moveTo>
                    <a:cubicBezTo>
                      <a:pt x="279" y="241"/>
                      <a:pt x="260" y="258"/>
                      <a:pt x="222" y="258"/>
                    </a:cubicBezTo>
                    <a:cubicBezTo>
                      <a:pt x="164" y="258"/>
                      <a:pt x="103" y="236"/>
                      <a:pt x="103" y="208"/>
                    </a:cubicBezTo>
                    <a:cubicBezTo>
                      <a:pt x="103" y="190"/>
                      <a:pt x="129" y="174"/>
                      <a:pt x="163" y="165"/>
                    </a:cubicBezTo>
                    <a:cubicBezTo>
                      <a:pt x="163" y="165"/>
                      <a:pt x="163" y="165"/>
                      <a:pt x="163" y="165"/>
                    </a:cubicBezTo>
                    <a:cubicBezTo>
                      <a:pt x="163" y="165"/>
                      <a:pt x="221" y="150"/>
                      <a:pt x="287" y="155"/>
                    </a:cubicBezTo>
                    <a:cubicBezTo>
                      <a:pt x="291" y="169"/>
                      <a:pt x="292" y="200"/>
                      <a:pt x="286" y="219"/>
                    </a:cubicBezTo>
                    <a:moveTo>
                      <a:pt x="282" y="112"/>
                    </a:moveTo>
                    <a:cubicBezTo>
                      <a:pt x="265" y="111"/>
                      <a:pt x="189" y="111"/>
                      <a:pt x="143" y="117"/>
                    </a:cubicBezTo>
                    <a:cubicBezTo>
                      <a:pt x="35" y="133"/>
                      <a:pt x="0" y="175"/>
                      <a:pt x="0" y="211"/>
                    </a:cubicBezTo>
                    <a:cubicBezTo>
                      <a:pt x="0" y="233"/>
                      <a:pt x="11" y="256"/>
                      <a:pt x="35" y="270"/>
                    </a:cubicBezTo>
                    <a:cubicBezTo>
                      <a:pt x="67" y="290"/>
                      <a:pt x="120" y="304"/>
                      <a:pt x="186" y="304"/>
                    </a:cubicBezTo>
                    <a:cubicBezTo>
                      <a:pt x="222" y="304"/>
                      <a:pt x="257" y="300"/>
                      <a:pt x="287" y="290"/>
                    </a:cubicBezTo>
                    <a:cubicBezTo>
                      <a:pt x="287" y="290"/>
                      <a:pt x="327" y="275"/>
                      <a:pt x="335" y="275"/>
                    </a:cubicBezTo>
                    <a:cubicBezTo>
                      <a:pt x="360" y="275"/>
                      <a:pt x="354" y="304"/>
                      <a:pt x="398" y="304"/>
                    </a:cubicBezTo>
                    <a:cubicBezTo>
                      <a:pt x="440" y="304"/>
                      <a:pt x="402" y="272"/>
                      <a:pt x="395" y="246"/>
                    </a:cubicBezTo>
                    <a:cubicBezTo>
                      <a:pt x="388" y="218"/>
                      <a:pt x="389" y="173"/>
                      <a:pt x="388" y="157"/>
                    </a:cubicBezTo>
                    <a:cubicBezTo>
                      <a:pt x="385" y="98"/>
                      <a:pt x="366" y="48"/>
                      <a:pt x="312" y="21"/>
                    </a:cubicBezTo>
                    <a:cubicBezTo>
                      <a:pt x="279" y="5"/>
                      <a:pt x="244" y="0"/>
                      <a:pt x="186" y="1"/>
                    </a:cubicBezTo>
                    <a:cubicBezTo>
                      <a:pt x="139" y="2"/>
                      <a:pt x="67" y="22"/>
                      <a:pt x="34" y="42"/>
                    </a:cubicBezTo>
                    <a:cubicBezTo>
                      <a:pt x="6" y="60"/>
                      <a:pt x="26" y="91"/>
                      <a:pt x="55" y="79"/>
                    </a:cubicBezTo>
                    <a:cubicBezTo>
                      <a:pt x="108" y="56"/>
                      <a:pt x="141" y="46"/>
                      <a:pt x="195" y="47"/>
                    </a:cubicBezTo>
                    <a:cubicBezTo>
                      <a:pt x="234" y="48"/>
                      <a:pt x="273" y="57"/>
                      <a:pt x="282" y="112"/>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grpSp>
          <p:nvGrpSpPr>
            <p:cNvPr id="12" name="Group 33"/>
            <p:cNvGrpSpPr/>
            <p:nvPr userDrawn="1"/>
          </p:nvGrpSpPr>
          <p:grpSpPr>
            <a:xfrm>
              <a:off x="3825875" y="2044700"/>
              <a:ext cx="1347788" cy="114300"/>
              <a:chOff x="3825875" y="2044700"/>
              <a:chExt cx="1347788" cy="114300"/>
            </a:xfrm>
          </p:grpSpPr>
          <p:sp>
            <p:nvSpPr>
              <p:cNvPr id="13" name="Freeform 21"/>
              <p:cNvSpPr>
                <a:spLocks noEditPoints="1"/>
              </p:cNvSpPr>
              <p:nvPr userDrawn="1"/>
            </p:nvSpPr>
            <p:spPr bwMode="auto">
              <a:xfrm>
                <a:off x="3825875" y="2044700"/>
                <a:ext cx="1347788" cy="114300"/>
              </a:xfrm>
              <a:custGeom>
                <a:avLst/>
                <a:gdLst/>
                <a:ahLst/>
                <a:cxnLst>
                  <a:cxn ang="0">
                    <a:pos x="1726" y="117"/>
                  </a:cxn>
                  <a:cxn ang="0">
                    <a:pos x="1670" y="43"/>
                  </a:cxn>
                  <a:cxn ang="0">
                    <a:pos x="1648" y="17"/>
                  </a:cxn>
                  <a:cxn ang="0">
                    <a:pos x="1557" y="60"/>
                  </a:cxn>
                  <a:cxn ang="0">
                    <a:pos x="1605" y="92"/>
                  </a:cxn>
                  <a:cxn ang="0">
                    <a:pos x="1547" y="57"/>
                  </a:cxn>
                  <a:cxn ang="0">
                    <a:pos x="1615" y="95"/>
                  </a:cxn>
                  <a:cxn ang="0">
                    <a:pos x="1526" y="5"/>
                  </a:cxn>
                  <a:cxn ang="0">
                    <a:pos x="1448" y="114"/>
                  </a:cxn>
                  <a:cxn ang="0">
                    <a:pos x="1430" y="69"/>
                  </a:cxn>
                  <a:cxn ang="0">
                    <a:pos x="1456" y="44"/>
                  </a:cxn>
                  <a:cxn ang="0">
                    <a:pos x="1411" y="46"/>
                  </a:cxn>
                  <a:cxn ang="0">
                    <a:pos x="1435" y="83"/>
                  </a:cxn>
                  <a:cxn ang="0">
                    <a:pos x="1431" y="111"/>
                  </a:cxn>
                  <a:cxn ang="0">
                    <a:pos x="1369" y="110"/>
                  </a:cxn>
                  <a:cxn ang="0">
                    <a:pos x="1332" y="109"/>
                  </a:cxn>
                  <a:cxn ang="0">
                    <a:pos x="1304" y="5"/>
                  </a:cxn>
                  <a:cxn ang="0">
                    <a:pos x="1261" y="63"/>
                  </a:cxn>
                  <a:cxn ang="0">
                    <a:pos x="1218" y="44"/>
                  </a:cxn>
                  <a:cxn ang="0">
                    <a:pos x="1271" y="60"/>
                  </a:cxn>
                  <a:cxn ang="0">
                    <a:pos x="1218" y="114"/>
                  </a:cxn>
                  <a:cxn ang="0">
                    <a:pos x="1155" y="36"/>
                  </a:cxn>
                  <a:cxn ang="0">
                    <a:pos x="1059" y="43"/>
                  </a:cxn>
                  <a:cxn ang="0">
                    <a:pos x="1060" y="111"/>
                  </a:cxn>
                  <a:cxn ang="0">
                    <a:pos x="1059" y="36"/>
                  </a:cxn>
                  <a:cxn ang="0">
                    <a:pos x="1060" y="118"/>
                  </a:cxn>
                  <a:cxn ang="0">
                    <a:pos x="1007" y="5"/>
                  </a:cxn>
                  <a:cxn ang="0">
                    <a:pos x="930" y="107"/>
                  </a:cxn>
                  <a:cxn ang="0">
                    <a:pos x="930" y="107"/>
                  </a:cxn>
                  <a:cxn ang="0">
                    <a:pos x="885" y="78"/>
                  </a:cxn>
                  <a:cxn ang="0">
                    <a:pos x="913" y="36"/>
                  </a:cxn>
                  <a:cxn ang="0">
                    <a:pos x="842" y="34"/>
                  </a:cxn>
                  <a:cxn ang="0">
                    <a:pos x="768" y="61"/>
                  </a:cxn>
                  <a:cxn ang="0">
                    <a:pos x="801" y="37"/>
                  </a:cxn>
                  <a:cxn ang="0">
                    <a:pos x="778" y="116"/>
                  </a:cxn>
                  <a:cxn ang="0">
                    <a:pos x="643" y="117"/>
                  </a:cxn>
                  <a:cxn ang="0">
                    <a:pos x="700" y="75"/>
                  </a:cxn>
                  <a:cxn ang="0">
                    <a:pos x="564" y="109"/>
                  </a:cxn>
                  <a:cxn ang="0">
                    <a:pos x="588" y="45"/>
                  </a:cxn>
                  <a:cxn ang="0">
                    <a:pos x="564" y="109"/>
                  </a:cxn>
                  <a:cxn ang="0">
                    <a:pos x="559" y="116"/>
                  </a:cxn>
                  <a:cxn ang="0">
                    <a:pos x="592" y="38"/>
                  </a:cxn>
                  <a:cxn ang="0">
                    <a:pos x="522" y="17"/>
                  </a:cxn>
                  <a:cxn ang="0">
                    <a:pos x="467" y="45"/>
                  </a:cxn>
                  <a:cxn ang="0">
                    <a:pos x="496" y="110"/>
                  </a:cxn>
                  <a:cxn ang="0">
                    <a:pos x="477" y="45"/>
                  </a:cxn>
                  <a:cxn ang="0">
                    <a:pos x="440" y="37"/>
                  </a:cxn>
                  <a:cxn ang="0">
                    <a:pos x="353" y="47"/>
                  </a:cxn>
                  <a:cxn ang="0">
                    <a:pos x="392" y="102"/>
                  </a:cxn>
                  <a:cxn ang="0">
                    <a:pos x="354" y="118"/>
                  </a:cxn>
                  <a:cxn ang="0">
                    <a:pos x="392" y="38"/>
                  </a:cxn>
                  <a:cxn ang="0">
                    <a:pos x="212" y="47"/>
                  </a:cxn>
                  <a:cxn ang="0">
                    <a:pos x="267" y="117"/>
                  </a:cxn>
                  <a:cxn ang="0">
                    <a:pos x="309" y="60"/>
                  </a:cxn>
                  <a:cxn ang="0">
                    <a:pos x="289" y="36"/>
                  </a:cxn>
                  <a:cxn ang="0">
                    <a:pos x="201" y="117"/>
                  </a:cxn>
                  <a:cxn ang="0">
                    <a:pos x="169" y="76"/>
                  </a:cxn>
                  <a:cxn ang="0">
                    <a:pos x="143" y="71"/>
                  </a:cxn>
                  <a:cxn ang="0">
                    <a:pos x="173" y="42"/>
                  </a:cxn>
                  <a:cxn ang="0">
                    <a:pos x="89" y="0"/>
                  </a:cxn>
                  <a:cxn ang="0">
                    <a:pos x="70" y="117"/>
                  </a:cxn>
                </a:cxnLst>
                <a:rect l="0" t="0" r="r" b="b"/>
                <a:pathLst>
                  <a:path w="1737" h="148">
                    <a:moveTo>
                      <a:pt x="1670" y="117"/>
                    </a:moveTo>
                    <a:cubicBezTo>
                      <a:pt x="1680" y="117"/>
                      <a:pt x="1680" y="117"/>
                      <a:pt x="1680" y="117"/>
                    </a:cubicBezTo>
                    <a:cubicBezTo>
                      <a:pt x="1680" y="47"/>
                      <a:pt x="1680" y="47"/>
                      <a:pt x="1680" y="47"/>
                    </a:cubicBezTo>
                    <a:cubicBezTo>
                      <a:pt x="1683" y="46"/>
                      <a:pt x="1686" y="45"/>
                      <a:pt x="1690" y="44"/>
                    </a:cubicBezTo>
                    <a:cubicBezTo>
                      <a:pt x="1694" y="43"/>
                      <a:pt x="1698" y="43"/>
                      <a:pt x="1703" y="43"/>
                    </a:cubicBezTo>
                    <a:cubicBezTo>
                      <a:pt x="1712" y="43"/>
                      <a:pt x="1718" y="45"/>
                      <a:pt x="1721" y="51"/>
                    </a:cubicBezTo>
                    <a:cubicBezTo>
                      <a:pt x="1725" y="56"/>
                      <a:pt x="1726" y="64"/>
                      <a:pt x="1726" y="75"/>
                    </a:cubicBezTo>
                    <a:cubicBezTo>
                      <a:pt x="1726" y="117"/>
                      <a:pt x="1726" y="117"/>
                      <a:pt x="1726" y="117"/>
                    </a:cubicBezTo>
                    <a:cubicBezTo>
                      <a:pt x="1737" y="117"/>
                      <a:pt x="1737" y="117"/>
                      <a:pt x="1737" y="117"/>
                    </a:cubicBezTo>
                    <a:cubicBezTo>
                      <a:pt x="1737" y="75"/>
                      <a:pt x="1737" y="75"/>
                      <a:pt x="1737" y="75"/>
                    </a:cubicBezTo>
                    <a:cubicBezTo>
                      <a:pt x="1737" y="69"/>
                      <a:pt x="1737" y="63"/>
                      <a:pt x="1736" y="58"/>
                    </a:cubicBezTo>
                    <a:cubicBezTo>
                      <a:pt x="1734" y="53"/>
                      <a:pt x="1732" y="49"/>
                      <a:pt x="1730" y="45"/>
                    </a:cubicBezTo>
                    <a:cubicBezTo>
                      <a:pt x="1727" y="42"/>
                      <a:pt x="1723" y="40"/>
                      <a:pt x="1719" y="38"/>
                    </a:cubicBezTo>
                    <a:cubicBezTo>
                      <a:pt x="1715" y="37"/>
                      <a:pt x="1709" y="36"/>
                      <a:pt x="1703" y="36"/>
                    </a:cubicBezTo>
                    <a:cubicBezTo>
                      <a:pt x="1697" y="36"/>
                      <a:pt x="1692" y="36"/>
                      <a:pt x="1686" y="37"/>
                    </a:cubicBezTo>
                    <a:cubicBezTo>
                      <a:pt x="1681" y="39"/>
                      <a:pt x="1676" y="40"/>
                      <a:pt x="1670" y="43"/>
                    </a:cubicBezTo>
                    <a:lnTo>
                      <a:pt x="1670" y="117"/>
                    </a:lnTo>
                    <a:close/>
                    <a:moveTo>
                      <a:pt x="1637" y="117"/>
                    </a:moveTo>
                    <a:cubicBezTo>
                      <a:pt x="1648" y="117"/>
                      <a:pt x="1648" y="117"/>
                      <a:pt x="1648" y="117"/>
                    </a:cubicBezTo>
                    <a:cubicBezTo>
                      <a:pt x="1648" y="37"/>
                      <a:pt x="1648" y="37"/>
                      <a:pt x="1648" y="37"/>
                    </a:cubicBezTo>
                    <a:cubicBezTo>
                      <a:pt x="1637" y="37"/>
                      <a:pt x="1637" y="37"/>
                      <a:pt x="1637" y="37"/>
                    </a:cubicBezTo>
                    <a:lnTo>
                      <a:pt x="1637" y="117"/>
                    </a:lnTo>
                    <a:close/>
                    <a:moveTo>
                      <a:pt x="1637" y="17"/>
                    </a:moveTo>
                    <a:cubicBezTo>
                      <a:pt x="1648" y="17"/>
                      <a:pt x="1648" y="17"/>
                      <a:pt x="1648" y="17"/>
                    </a:cubicBezTo>
                    <a:cubicBezTo>
                      <a:pt x="1648" y="6"/>
                      <a:pt x="1648" y="6"/>
                      <a:pt x="1648" y="6"/>
                    </a:cubicBezTo>
                    <a:cubicBezTo>
                      <a:pt x="1637" y="6"/>
                      <a:pt x="1637" y="6"/>
                      <a:pt x="1637" y="6"/>
                    </a:cubicBezTo>
                    <a:lnTo>
                      <a:pt x="1637" y="17"/>
                    </a:lnTo>
                    <a:close/>
                    <a:moveTo>
                      <a:pt x="1568" y="109"/>
                    </a:moveTo>
                    <a:cubicBezTo>
                      <a:pt x="1565" y="108"/>
                      <a:pt x="1562" y="106"/>
                      <a:pt x="1560" y="103"/>
                    </a:cubicBezTo>
                    <a:cubicBezTo>
                      <a:pt x="1558" y="100"/>
                      <a:pt x="1557" y="97"/>
                      <a:pt x="1556" y="92"/>
                    </a:cubicBezTo>
                    <a:cubicBezTo>
                      <a:pt x="1556" y="88"/>
                      <a:pt x="1556" y="82"/>
                      <a:pt x="1556" y="76"/>
                    </a:cubicBezTo>
                    <a:cubicBezTo>
                      <a:pt x="1556" y="69"/>
                      <a:pt x="1556" y="64"/>
                      <a:pt x="1557" y="60"/>
                    </a:cubicBezTo>
                    <a:cubicBezTo>
                      <a:pt x="1558" y="56"/>
                      <a:pt x="1559" y="52"/>
                      <a:pt x="1561" y="50"/>
                    </a:cubicBezTo>
                    <a:cubicBezTo>
                      <a:pt x="1563" y="47"/>
                      <a:pt x="1566" y="46"/>
                      <a:pt x="1569" y="45"/>
                    </a:cubicBezTo>
                    <a:cubicBezTo>
                      <a:pt x="1572" y="44"/>
                      <a:pt x="1576" y="43"/>
                      <a:pt x="1581" y="43"/>
                    </a:cubicBezTo>
                    <a:cubicBezTo>
                      <a:pt x="1585" y="43"/>
                      <a:pt x="1588" y="44"/>
                      <a:pt x="1592" y="45"/>
                    </a:cubicBezTo>
                    <a:cubicBezTo>
                      <a:pt x="1595" y="46"/>
                      <a:pt x="1597" y="48"/>
                      <a:pt x="1599" y="50"/>
                    </a:cubicBezTo>
                    <a:cubicBezTo>
                      <a:pt x="1602" y="53"/>
                      <a:pt x="1603" y="56"/>
                      <a:pt x="1604" y="61"/>
                    </a:cubicBezTo>
                    <a:cubicBezTo>
                      <a:pt x="1605" y="65"/>
                      <a:pt x="1606" y="70"/>
                      <a:pt x="1606" y="76"/>
                    </a:cubicBezTo>
                    <a:cubicBezTo>
                      <a:pt x="1606" y="82"/>
                      <a:pt x="1606" y="87"/>
                      <a:pt x="1605" y="92"/>
                    </a:cubicBezTo>
                    <a:cubicBezTo>
                      <a:pt x="1605" y="96"/>
                      <a:pt x="1603" y="100"/>
                      <a:pt x="1602" y="103"/>
                    </a:cubicBezTo>
                    <a:cubicBezTo>
                      <a:pt x="1600" y="106"/>
                      <a:pt x="1597" y="108"/>
                      <a:pt x="1594" y="109"/>
                    </a:cubicBezTo>
                    <a:cubicBezTo>
                      <a:pt x="1591" y="110"/>
                      <a:pt x="1587" y="111"/>
                      <a:pt x="1581" y="111"/>
                    </a:cubicBezTo>
                    <a:cubicBezTo>
                      <a:pt x="1576" y="111"/>
                      <a:pt x="1571" y="111"/>
                      <a:pt x="1568" y="109"/>
                    </a:cubicBezTo>
                    <a:moveTo>
                      <a:pt x="1581" y="36"/>
                    </a:moveTo>
                    <a:cubicBezTo>
                      <a:pt x="1575" y="36"/>
                      <a:pt x="1569" y="36"/>
                      <a:pt x="1565" y="38"/>
                    </a:cubicBezTo>
                    <a:cubicBezTo>
                      <a:pt x="1560" y="39"/>
                      <a:pt x="1557" y="41"/>
                      <a:pt x="1554" y="45"/>
                    </a:cubicBezTo>
                    <a:cubicBezTo>
                      <a:pt x="1551" y="48"/>
                      <a:pt x="1548" y="52"/>
                      <a:pt x="1547" y="57"/>
                    </a:cubicBezTo>
                    <a:cubicBezTo>
                      <a:pt x="1546" y="62"/>
                      <a:pt x="1545" y="68"/>
                      <a:pt x="1545" y="75"/>
                    </a:cubicBezTo>
                    <a:cubicBezTo>
                      <a:pt x="1545" y="83"/>
                      <a:pt x="1545" y="90"/>
                      <a:pt x="1547" y="95"/>
                    </a:cubicBezTo>
                    <a:cubicBezTo>
                      <a:pt x="1548" y="101"/>
                      <a:pt x="1550" y="105"/>
                      <a:pt x="1552" y="109"/>
                    </a:cubicBezTo>
                    <a:cubicBezTo>
                      <a:pt x="1555" y="112"/>
                      <a:pt x="1559" y="114"/>
                      <a:pt x="1563" y="116"/>
                    </a:cubicBezTo>
                    <a:cubicBezTo>
                      <a:pt x="1568" y="118"/>
                      <a:pt x="1574" y="118"/>
                      <a:pt x="1581" y="118"/>
                    </a:cubicBezTo>
                    <a:cubicBezTo>
                      <a:pt x="1588" y="118"/>
                      <a:pt x="1594" y="117"/>
                      <a:pt x="1599" y="116"/>
                    </a:cubicBezTo>
                    <a:cubicBezTo>
                      <a:pt x="1603" y="114"/>
                      <a:pt x="1607" y="111"/>
                      <a:pt x="1610" y="108"/>
                    </a:cubicBezTo>
                    <a:cubicBezTo>
                      <a:pt x="1612" y="104"/>
                      <a:pt x="1614" y="100"/>
                      <a:pt x="1615" y="95"/>
                    </a:cubicBezTo>
                    <a:cubicBezTo>
                      <a:pt x="1616" y="89"/>
                      <a:pt x="1617" y="83"/>
                      <a:pt x="1617" y="76"/>
                    </a:cubicBezTo>
                    <a:cubicBezTo>
                      <a:pt x="1617" y="69"/>
                      <a:pt x="1616" y="63"/>
                      <a:pt x="1614" y="57"/>
                    </a:cubicBezTo>
                    <a:cubicBezTo>
                      <a:pt x="1613" y="52"/>
                      <a:pt x="1610" y="48"/>
                      <a:pt x="1607" y="45"/>
                    </a:cubicBezTo>
                    <a:cubicBezTo>
                      <a:pt x="1604" y="42"/>
                      <a:pt x="1601" y="40"/>
                      <a:pt x="1596" y="38"/>
                    </a:cubicBezTo>
                    <a:cubicBezTo>
                      <a:pt x="1592" y="37"/>
                      <a:pt x="1587" y="36"/>
                      <a:pt x="1581" y="36"/>
                    </a:cubicBezTo>
                    <a:close/>
                    <a:moveTo>
                      <a:pt x="1516" y="117"/>
                    </a:moveTo>
                    <a:cubicBezTo>
                      <a:pt x="1526" y="117"/>
                      <a:pt x="1526" y="117"/>
                      <a:pt x="1526" y="117"/>
                    </a:cubicBezTo>
                    <a:cubicBezTo>
                      <a:pt x="1526" y="5"/>
                      <a:pt x="1526" y="5"/>
                      <a:pt x="1526" y="5"/>
                    </a:cubicBezTo>
                    <a:cubicBezTo>
                      <a:pt x="1516" y="5"/>
                      <a:pt x="1516" y="5"/>
                      <a:pt x="1516" y="5"/>
                    </a:cubicBezTo>
                    <a:lnTo>
                      <a:pt x="1516" y="117"/>
                    </a:lnTo>
                    <a:close/>
                    <a:moveTo>
                      <a:pt x="1408" y="115"/>
                    </a:moveTo>
                    <a:cubicBezTo>
                      <a:pt x="1412" y="116"/>
                      <a:pt x="1415" y="116"/>
                      <a:pt x="1419" y="117"/>
                    </a:cubicBezTo>
                    <a:cubicBezTo>
                      <a:pt x="1422" y="117"/>
                      <a:pt x="1426" y="117"/>
                      <a:pt x="1429" y="117"/>
                    </a:cubicBezTo>
                    <a:cubicBezTo>
                      <a:pt x="1432" y="117"/>
                      <a:pt x="1432" y="117"/>
                      <a:pt x="1432" y="117"/>
                    </a:cubicBezTo>
                    <a:cubicBezTo>
                      <a:pt x="1434" y="117"/>
                      <a:pt x="1437" y="117"/>
                      <a:pt x="1440" y="117"/>
                    </a:cubicBezTo>
                    <a:cubicBezTo>
                      <a:pt x="1443" y="116"/>
                      <a:pt x="1446" y="115"/>
                      <a:pt x="1448" y="114"/>
                    </a:cubicBezTo>
                    <a:cubicBezTo>
                      <a:pt x="1451" y="113"/>
                      <a:pt x="1453" y="111"/>
                      <a:pt x="1455" y="108"/>
                    </a:cubicBezTo>
                    <a:cubicBezTo>
                      <a:pt x="1457" y="106"/>
                      <a:pt x="1457" y="102"/>
                      <a:pt x="1457" y="98"/>
                    </a:cubicBezTo>
                    <a:cubicBezTo>
                      <a:pt x="1457" y="96"/>
                      <a:pt x="1457" y="94"/>
                      <a:pt x="1456" y="91"/>
                    </a:cubicBezTo>
                    <a:cubicBezTo>
                      <a:pt x="1455" y="88"/>
                      <a:pt x="1453" y="85"/>
                      <a:pt x="1450" y="83"/>
                    </a:cubicBezTo>
                    <a:cubicBezTo>
                      <a:pt x="1449" y="82"/>
                      <a:pt x="1448" y="81"/>
                      <a:pt x="1447" y="80"/>
                    </a:cubicBezTo>
                    <a:cubicBezTo>
                      <a:pt x="1445" y="79"/>
                      <a:pt x="1444" y="78"/>
                      <a:pt x="1442" y="77"/>
                    </a:cubicBezTo>
                    <a:cubicBezTo>
                      <a:pt x="1440" y="76"/>
                      <a:pt x="1438" y="74"/>
                      <a:pt x="1436" y="73"/>
                    </a:cubicBezTo>
                    <a:cubicBezTo>
                      <a:pt x="1434" y="72"/>
                      <a:pt x="1432" y="70"/>
                      <a:pt x="1430" y="69"/>
                    </a:cubicBezTo>
                    <a:cubicBezTo>
                      <a:pt x="1426" y="67"/>
                      <a:pt x="1424" y="64"/>
                      <a:pt x="1422" y="62"/>
                    </a:cubicBezTo>
                    <a:cubicBezTo>
                      <a:pt x="1421" y="61"/>
                      <a:pt x="1420" y="58"/>
                      <a:pt x="1420" y="55"/>
                    </a:cubicBezTo>
                    <a:cubicBezTo>
                      <a:pt x="1420" y="53"/>
                      <a:pt x="1420" y="53"/>
                      <a:pt x="1420" y="53"/>
                    </a:cubicBezTo>
                    <a:cubicBezTo>
                      <a:pt x="1420" y="50"/>
                      <a:pt x="1422" y="48"/>
                      <a:pt x="1424" y="46"/>
                    </a:cubicBezTo>
                    <a:cubicBezTo>
                      <a:pt x="1426" y="44"/>
                      <a:pt x="1430" y="43"/>
                      <a:pt x="1435" y="43"/>
                    </a:cubicBezTo>
                    <a:cubicBezTo>
                      <a:pt x="1438" y="43"/>
                      <a:pt x="1438" y="43"/>
                      <a:pt x="1438" y="43"/>
                    </a:cubicBezTo>
                    <a:cubicBezTo>
                      <a:pt x="1441" y="43"/>
                      <a:pt x="1444" y="43"/>
                      <a:pt x="1446" y="43"/>
                    </a:cubicBezTo>
                    <a:cubicBezTo>
                      <a:pt x="1449" y="43"/>
                      <a:pt x="1452" y="44"/>
                      <a:pt x="1456" y="44"/>
                    </a:cubicBezTo>
                    <a:cubicBezTo>
                      <a:pt x="1457" y="37"/>
                      <a:pt x="1457" y="37"/>
                      <a:pt x="1457" y="37"/>
                    </a:cubicBezTo>
                    <a:cubicBezTo>
                      <a:pt x="1455" y="37"/>
                      <a:pt x="1453" y="37"/>
                      <a:pt x="1451" y="37"/>
                    </a:cubicBezTo>
                    <a:cubicBezTo>
                      <a:pt x="1449" y="36"/>
                      <a:pt x="1448" y="36"/>
                      <a:pt x="1446" y="36"/>
                    </a:cubicBezTo>
                    <a:cubicBezTo>
                      <a:pt x="1444" y="36"/>
                      <a:pt x="1443" y="36"/>
                      <a:pt x="1441" y="36"/>
                    </a:cubicBezTo>
                    <a:cubicBezTo>
                      <a:pt x="1439" y="36"/>
                      <a:pt x="1437" y="36"/>
                      <a:pt x="1435" y="36"/>
                    </a:cubicBezTo>
                    <a:cubicBezTo>
                      <a:pt x="1431" y="36"/>
                      <a:pt x="1427" y="36"/>
                      <a:pt x="1424" y="37"/>
                    </a:cubicBezTo>
                    <a:cubicBezTo>
                      <a:pt x="1421" y="38"/>
                      <a:pt x="1418" y="39"/>
                      <a:pt x="1416" y="41"/>
                    </a:cubicBezTo>
                    <a:cubicBezTo>
                      <a:pt x="1414" y="42"/>
                      <a:pt x="1412" y="44"/>
                      <a:pt x="1411" y="46"/>
                    </a:cubicBezTo>
                    <a:cubicBezTo>
                      <a:pt x="1410" y="48"/>
                      <a:pt x="1410" y="50"/>
                      <a:pt x="1410" y="52"/>
                    </a:cubicBezTo>
                    <a:cubicBezTo>
                      <a:pt x="1410" y="55"/>
                      <a:pt x="1410" y="55"/>
                      <a:pt x="1410" y="55"/>
                    </a:cubicBezTo>
                    <a:cubicBezTo>
                      <a:pt x="1410" y="57"/>
                      <a:pt x="1410" y="59"/>
                      <a:pt x="1410" y="61"/>
                    </a:cubicBezTo>
                    <a:cubicBezTo>
                      <a:pt x="1411" y="63"/>
                      <a:pt x="1412" y="65"/>
                      <a:pt x="1413" y="66"/>
                    </a:cubicBezTo>
                    <a:cubicBezTo>
                      <a:pt x="1414" y="68"/>
                      <a:pt x="1416" y="70"/>
                      <a:pt x="1417" y="71"/>
                    </a:cubicBezTo>
                    <a:cubicBezTo>
                      <a:pt x="1419" y="72"/>
                      <a:pt x="1421" y="74"/>
                      <a:pt x="1424" y="75"/>
                    </a:cubicBezTo>
                    <a:cubicBezTo>
                      <a:pt x="1425" y="77"/>
                      <a:pt x="1427" y="78"/>
                      <a:pt x="1429" y="79"/>
                    </a:cubicBezTo>
                    <a:cubicBezTo>
                      <a:pt x="1431" y="80"/>
                      <a:pt x="1433" y="82"/>
                      <a:pt x="1435" y="83"/>
                    </a:cubicBezTo>
                    <a:cubicBezTo>
                      <a:pt x="1436" y="84"/>
                      <a:pt x="1438" y="85"/>
                      <a:pt x="1439" y="86"/>
                    </a:cubicBezTo>
                    <a:cubicBezTo>
                      <a:pt x="1440" y="87"/>
                      <a:pt x="1441" y="88"/>
                      <a:pt x="1442" y="89"/>
                    </a:cubicBezTo>
                    <a:cubicBezTo>
                      <a:pt x="1444" y="90"/>
                      <a:pt x="1445" y="92"/>
                      <a:pt x="1446" y="94"/>
                    </a:cubicBezTo>
                    <a:cubicBezTo>
                      <a:pt x="1446" y="95"/>
                      <a:pt x="1447" y="97"/>
                      <a:pt x="1447" y="99"/>
                    </a:cubicBezTo>
                    <a:cubicBezTo>
                      <a:pt x="1447" y="101"/>
                      <a:pt x="1446" y="103"/>
                      <a:pt x="1446" y="105"/>
                    </a:cubicBezTo>
                    <a:cubicBezTo>
                      <a:pt x="1445" y="107"/>
                      <a:pt x="1444" y="108"/>
                      <a:pt x="1442" y="109"/>
                    </a:cubicBezTo>
                    <a:cubicBezTo>
                      <a:pt x="1441" y="109"/>
                      <a:pt x="1439" y="110"/>
                      <a:pt x="1437" y="110"/>
                    </a:cubicBezTo>
                    <a:cubicBezTo>
                      <a:pt x="1435" y="111"/>
                      <a:pt x="1433" y="111"/>
                      <a:pt x="1431" y="111"/>
                    </a:cubicBezTo>
                    <a:cubicBezTo>
                      <a:pt x="1428" y="111"/>
                      <a:pt x="1428" y="111"/>
                      <a:pt x="1428" y="111"/>
                    </a:cubicBezTo>
                    <a:cubicBezTo>
                      <a:pt x="1426" y="111"/>
                      <a:pt x="1423" y="111"/>
                      <a:pt x="1420" y="110"/>
                    </a:cubicBezTo>
                    <a:cubicBezTo>
                      <a:pt x="1417" y="110"/>
                      <a:pt x="1413" y="109"/>
                      <a:pt x="1409" y="109"/>
                    </a:cubicBezTo>
                    <a:lnTo>
                      <a:pt x="1408" y="115"/>
                    </a:lnTo>
                    <a:close/>
                    <a:moveTo>
                      <a:pt x="1390" y="37"/>
                    </a:moveTo>
                    <a:cubicBezTo>
                      <a:pt x="1379" y="37"/>
                      <a:pt x="1379" y="37"/>
                      <a:pt x="1379" y="37"/>
                    </a:cubicBezTo>
                    <a:cubicBezTo>
                      <a:pt x="1379" y="107"/>
                      <a:pt x="1379" y="107"/>
                      <a:pt x="1379" y="107"/>
                    </a:cubicBezTo>
                    <a:cubicBezTo>
                      <a:pt x="1376" y="108"/>
                      <a:pt x="1373" y="109"/>
                      <a:pt x="1369" y="110"/>
                    </a:cubicBezTo>
                    <a:cubicBezTo>
                      <a:pt x="1366" y="111"/>
                      <a:pt x="1362" y="111"/>
                      <a:pt x="1359" y="111"/>
                    </a:cubicBezTo>
                    <a:cubicBezTo>
                      <a:pt x="1350" y="111"/>
                      <a:pt x="1344" y="109"/>
                      <a:pt x="1340" y="104"/>
                    </a:cubicBezTo>
                    <a:cubicBezTo>
                      <a:pt x="1337" y="99"/>
                      <a:pt x="1335" y="90"/>
                      <a:pt x="1335" y="79"/>
                    </a:cubicBezTo>
                    <a:cubicBezTo>
                      <a:pt x="1335" y="38"/>
                      <a:pt x="1335" y="38"/>
                      <a:pt x="1335" y="38"/>
                    </a:cubicBezTo>
                    <a:cubicBezTo>
                      <a:pt x="1324" y="38"/>
                      <a:pt x="1324" y="38"/>
                      <a:pt x="1324" y="38"/>
                    </a:cubicBezTo>
                    <a:cubicBezTo>
                      <a:pt x="1324" y="79"/>
                      <a:pt x="1324" y="79"/>
                      <a:pt x="1324" y="79"/>
                    </a:cubicBezTo>
                    <a:cubicBezTo>
                      <a:pt x="1324" y="86"/>
                      <a:pt x="1325" y="92"/>
                      <a:pt x="1326" y="97"/>
                    </a:cubicBezTo>
                    <a:cubicBezTo>
                      <a:pt x="1327" y="102"/>
                      <a:pt x="1329" y="106"/>
                      <a:pt x="1332" y="109"/>
                    </a:cubicBezTo>
                    <a:cubicBezTo>
                      <a:pt x="1335" y="112"/>
                      <a:pt x="1338" y="114"/>
                      <a:pt x="1343" y="116"/>
                    </a:cubicBezTo>
                    <a:cubicBezTo>
                      <a:pt x="1347" y="118"/>
                      <a:pt x="1352" y="118"/>
                      <a:pt x="1359" y="118"/>
                    </a:cubicBezTo>
                    <a:cubicBezTo>
                      <a:pt x="1363" y="118"/>
                      <a:pt x="1368" y="118"/>
                      <a:pt x="1373" y="117"/>
                    </a:cubicBezTo>
                    <a:cubicBezTo>
                      <a:pt x="1378" y="116"/>
                      <a:pt x="1384" y="114"/>
                      <a:pt x="1390" y="112"/>
                    </a:cubicBezTo>
                    <a:lnTo>
                      <a:pt x="1390" y="37"/>
                    </a:lnTo>
                    <a:close/>
                    <a:moveTo>
                      <a:pt x="1293" y="117"/>
                    </a:moveTo>
                    <a:cubicBezTo>
                      <a:pt x="1304" y="117"/>
                      <a:pt x="1304" y="117"/>
                      <a:pt x="1304" y="117"/>
                    </a:cubicBezTo>
                    <a:cubicBezTo>
                      <a:pt x="1304" y="5"/>
                      <a:pt x="1304" y="5"/>
                      <a:pt x="1304" y="5"/>
                    </a:cubicBezTo>
                    <a:cubicBezTo>
                      <a:pt x="1293" y="5"/>
                      <a:pt x="1293" y="5"/>
                      <a:pt x="1293" y="5"/>
                    </a:cubicBezTo>
                    <a:lnTo>
                      <a:pt x="1293" y="117"/>
                    </a:lnTo>
                    <a:close/>
                    <a:moveTo>
                      <a:pt x="1218" y="44"/>
                    </a:moveTo>
                    <a:cubicBezTo>
                      <a:pt x="1220" y="43"/>
                      <a:pt x="1222" y="43"/>
                      <a:pt x="1225" y="43"/>
                    </a:cubicBezTo>
                    <a:cubicBezTo>
                      <a:pt x="1228" y="43"/>
                      <a:pt x="1230" y="43"/>
                      <a:pt x="1232" y="43"/>
                    </a:cubicBezTo>
                    <a:cubicBezTo>
                      <a:pt x="1238" y="43"/>
                      <a:pt x="1243" y="44"/>
                      <a:pt x="1247" y="45"/>
                    </a:cubicBezTo>
                    <a:cubicBezTo>
                      <a:pt x="1251" y="47"/>
                      <a:pt x="1254" y="49"/>
                      <a:pt x="1257" y="52"/>
                    </a:cubicBezTo>
                    <a:cubicBezTo>
                      <a:pt x="1259" y="55"/>
                      <a:pt x="1260" y="58"/>
                      <a:pt x="1261" y="63"/>
                    </a:cubicBezTo>
                    <a:cubicBezTo>
                      <a:pt x="1262" y="67"/>
                      <a:pt x="1262" y="72"/>
                      <a:pt x="1262" y="78"/>
                    </a:cubicBezTo>
                    <a:cubicBezTo>
                      <a:pt x="1262" y="84"/>
                      <a:pt x="1262" y="89"/>
                      <a:pt x="1261" y="93"/>
                    </a:cubicBezTo>
                    <a:cubicBezTo>
                      <a:pt x="1260" y="97"/>
                      <a:pt x="1259" y="101"/>
                      <a:pt x="1258" y="103"/>
                    </a:cubicBezTo>
                    <a:cubicBezTo>
                      <a:pt x="1256" y="106"/>
                      <a:pt x="1254" y="108"/>
                      <a:pt x="1251" y="109"/>
                    </a:cubicBezTo>
                    <a:cubicBezTo>
                      <a:pt x="1249" y="110"/>
                      <a:pt x="1245" y="111"/>
                      <a:pt x="1241" y="111"/>
                    </a:cubicBezTo>
                    <a:cubicBezTo>
                      <a:pt x="1236" y="111"/>
                      <a:pt x="1232" y="111"/>
                      <a:pt x="1228" y="110"/>
                    </a:cubicBezTo>
                    <a:cubicBezTo>
                      <a:pt x="1224" y="109"/>
                      <a:pt x="1220" y="108"/>
                      <a:pt x="1218" y="107"/>
                    </a:cubicBezTo>
                    <a:lnTo>
                      <a:pt x="1218" y="44"/>
                    </a:lnTo>
                    <a:close/>
                    <a:moveTo>
                      <a:pt x="1218" y="114"/>
                    </a:moveTo>
                    <a:cubicBezTo>
                      <a:pt x="1220" y="115"/>
                      <a:pt x="1224" y="116"/>
                      <a:pt x="1228" y="117"/>
                    </a:cubicBezTo>
                    <a:cubicBezTo>
                      <a:pt x="1232" y="118"/>
                      <a:pt x="1236" y="118"/>
                      <a:pt x="1241" y="118"/>
                    </a:cubicBezTo>
                    <a:cubicBezTo>
                      <a:pt x="1247" y="118"/>
                      <a:pt x="1252" y="117"/>
                      <a:pt x="1256" y="116"/>
                    </a:cubicBezTo>
                    <a:cubicBezTo>
                      <a:pt x="1260" y="114"/>
                      <a:pt x="1264" y="112"/>
                      <a:pt x="1266" y="108"/>
                    </a:cubicBezTo>
                    <a:cubicBezTo>
                      <a:pt x="1268" y="105"/>
                      <a:pt x="1270" y="101"/>
                      <a:pt x="1271" y="96"/>
                    </a:cubicBezTo>
                    <a:cubicBezTo>
                      <a:pt x="1272" y="91"/>
                      <a:pt x="1273" y="85"/>
                      <a:pt x="1273" y="79"/>
                    </a:cubicBezTo>
                    <a:cubicBezTo>
                      <a:pt x="1273" y="71"/>
                      <a:pt x="1272" y="65"/>
                      <a:pt x="1271" y="60"/>
                    </a:cubicBezTo>
                    <a:cubicBezTo>
                      <a:pt x="1270" y="54"/>
                      <a:pt x="1267" y="50"/>
                      <a:pt x="1264" y="46"/>
                    </a:cubicBezTo>
                    <a:cubicBezTo>
                      <a:pt x="1261" y="43"/>
                      <a:pt x="1257" y="40"/>
                      <a:pt x="1251" y="38"/>
                    </a:cubicBezTo>
                    <a:cubicBezTo>
                      <a:pt x="1246" y="37"/>
                      <a:pt x="1239" y="36"/>
                      <a:pt x="1230" y="36"/>
                    </a:cubicBezTo>
                    <a:cubicBezTo>
                      <a:pt x="1226" y="36"/>
                      <a:pt x="1222" y="36"/>
                      <a:pt x="1219" y="36"/>
                    </a:cubicBezTo>
                    <a:cubicBezTo>
                      <a:pt x="1215" y="36"/>
                      <a:pt x="1211" y="37"/>
                      <a:pt x="1207" y="37"/>
                    </a:cubicBezTo>
                    <a:cubicBezTo>
                      <a:pt x="1207" y="148"/>
                      <a:pt x="1207" y="148"/>
                      <a:pt x="1207" y="148"/>
                    </a:cubicBezTo>
                    <a:cubicBezTo>
                      <a:pt x="1218" y="148"/>
                      <a:pt x="1218" y="148"/>
                      <a:pt x="1218" y="148"/>
                    </a:cubicBezTo>
                    <a:lnTo>
                      <a:pt x="1218" y="114"/>
                    </a:lnTo>
                    <a:close/>
                    <a:moveTo>
                      <a:pt x="1113" y="117"/>
                    </a:moveTo>
                    <a:cubicBezTo>
                      <a:pt x="1124" y="117"/>
                      <a:pt x="1124" y="117"/>
                      <a:pt x="1124" y="117"/>
                    </a:cubicBezTo>
                    <a:cubicBezTo>
                      <a:pt x="1124" y="47"/>
                      <a:pt x="1124" y="47"/>
                      <a:pt x="1124" y="47"/>
                    </a:cubicBezTo>
                    <a:cubicBezTo>
                      <a:pt x="1126" y="46"/>
                      <a:pt x="1130" y="45"/>
                      <a:pt x="1134" y="44"/>
                    </a:cubicBezTo>
                    <a:cubicBezTo>
                      <a:pt x="1138" y="43"/>
                      <a:pt x="1142" y="43"/>
                      <a:pt x="1146" y="43"/>
                    </a:cubicBezTo>
                    <a:cubicBezTo>
                      <a:pt x="1147" y="43"/>
                      <a:pt x="1149" y="43"/>
                      <a:pt x="1150" y="43"/>
                    </a:cubicBezTo>
                    <a:cubicBezTo>
                      <a:pt x="1151" y="43"/>
                      <a:pt x="1152" y="43"/>
                      <a:pt x="1154" y="44"/>
                    </a:cubicBezTo>
                    <a:cubicBezTo>
                      <a:pt x="1155" y="36"/>
                      <a:pt x="1155" y="36"/>
                      <a:pt x="1155" y="36"/>
                    </a:cubicBezTo>
                    <a:cubicBezTo>
                      <a:pt x="1153" y="36"/>
                      <a:pt x="1151" y="36"/>
                      <a:pt x="1150" y="36"/>
                    </a:cubicBezTo>
                    <a:cubicBezTo>
                      <a:pt x="1149" y="36"/>
                      <a:pt x="1148" y="36"/>
                      <a:pt x="1146" y="36"/>
                    </a:cubicBezTo>
                    <a:cubicBezTo>
                      <a:pt x="1141" y="36"/>
                      <a:pt x="1135" y="36"/>
                      <a:pt x="1130" y="38"/>
                    </a:cubicBezTo>
                    <a:cubicBezTo>
                      <a:pt x="1125" y="39"/>
                      <a:pt x="1119" y="40"/>
                      <a:pt x="1113" y="43"/>
                    </a:cubicBezTo>
                    <a:lnTo>
                      <a:pt x="1113" y="117"/>
                    </a:lnTo>
                    <a:close/>
                    <a:moveTo>
                      <a:pt x="1036" y="73"/>
                    </a:moveTo>
                    <a:cubicBezTo>
                      <a:pt x="1036" y="62"/>
                      <a:pt x="1038" y="54"/>
                      <a:pt x="1042" y="50"/>
                    </a:cubicBezTo>
                    <a:cubicBezTo>
                      <a:pt x="1046" y="45"/>
                      <a:pt x="1051" y="43"/>
                      <a:pt x="1059" y="43"/>
                    </a:cubicBezTo>
                    <a:cubicBezTo>
                      <a:pt x="1068" y="43"/>
                      <a:pt x="1074" y="45"/>
                      <a:pt x="1077" y="50"/>
                    </a:cubicBezTo>
                    <a:cubicBezTo>
                      <a:pt x="1081" y="54"/>
                      <a:pt x="1083" y="62"/>
                      <a:pt x="1083" y="73"/>
                    </a:cubicBezTo>
                    <a:lnTo>
                      <a:pt x="1036" y="73"/>
                    </a:lnTo>
                    <a:close/>
                    <a:moveTo>
                      <a:pt x="1090" y="107"/>
                    </a:moveTo>
                    <a:cubicBezTo>
                      <a:pt x="1088" y="107"/>
                      <a:pt x="1086" y="107"/>
                      <a:pt x="1084" y="108"/>
                    </a:cubicBezTo>
                    <a:cubicBezTo>
                      <a:pt x="1081" y="108"/>
                      <a:pt x="1079" y="109"/>
                      <a:pt x="1076" y="109"/>
                    </a:cubicBezTo>
                    <a:cubicBezTo>
                      <a:pt x="1073" y="110"/>
                      <a:pt x="1071" y="110"/>
                      <a:pt x="1068" y="111"/>
                    </a:cubicBezTo>
                    <a:cubicBezTo>
                      <a:pt x="1065" y="111"/>
                      <a:pt x="1063" y="111"/>
                      <a:pt x="1060" y="111"/>
                    </a:cubicBezTo>
                    <a:cubicBezTo>
                      <a:pt x="1056" y="111"/>
                      <a:pt x="1052" y="110"/>
                      <a:pt x="1049" y="109"/>
                    </a:cubicBezTo>
                    <a:cubicBezTo>
                      <a:pt x="1046" y="108"/>
                      <a:pt x="1043" y="106"/>
                      <a:pt x="1041" y="103"/>
                    </a:cubicBezTo>
                    <a:cubicBezTo>
                      <a:pt x="1040" y="101"/>
                      <a:pt x="1038" y="97"/>
                      <a:pt x="1037" y="93"/>
                    </a:cubicBezTo>
                    <a:cubicBezTo>
                      <a:pt x="1037" y="90"/>
                      <a:pt x="1036" y="85"/>
                      <a:pt x="1036" y="80"/>
                    </a:cubicBezTo>
                    <a:cubicBezTo>
                      <a:pt x="1094" y="80"/>
                      <a:pt x="1094" y="80"/>
                      <a:pt x="1094" y="80"/>
                    </a:cubicBezTo>
                    <a:cubicBezTo>
                      <a:pt x="1094" y="74"/>
                      <a:pt x="1094" y="74"/>
                      <a:pt x="1094" y="74"/>
                    </a:cubicBezTo>
                    <a:cubicBezTo>
                      <a:pt x="1094" y="60"/>
                      <a:pt x="1091" y="51"/>
                      <a:pt x="1085" y="45"/>
                    </a:cubicBezTo>
                    <a:cubicBezTo>
                      <a:pt x="1079" y="39"/>
                      <a:pt x="1071" y="36"/>
                      <a:pt x="1059" y="36"/>
                    </a:cubicBezTo>
                    <a:cubicBezTo>
                      <a:pt x="1054" y="36"/>
                      <a:pt x="1049" y="36"/>
                      <a:pt x="1045" y="38"/>
                    </a:cubicBezTo>
                    <a:cubicBezTo>
                      <a:pt x="1041" y="39"/>
                      <a:pt x="1037" y="41"/>
                      <a:pt x="1034" y="45"/>
                    </a:cubicBezTo>
                    <a:cubicBezTo>
                      <a:pt x="1031" y="48"/>
                      <a:pt x="1029" y="52"/>
                      <a:pt x="1028" y="57"/>
                    </a:cubicBezTo>
                    <a:cubicBezTo>
                      <a:pt x="1026" y="63"/>
                      <a:pt x="1025" y="69"/>
                      <a:pt x="1025" y="77"/>
                    </a:cubicBezTo>
                    <a:cubicBezTo>
                      <a:pt x="1025" y="83"/>
                      <a:pt x="1026" y="89"/>
                      <a:pt x="1027" y="94"/>
                    </a:cubicBezTo>
                    <a:cubicBezTo>
                      <a:pt x="1028" y="99"/>
                      <a:pt x="1030" y="104"/>
                      <a:pt x="1032" y="107"/>
                    </a:cubicBezTo>
                    <a:cubicBezTo>
                      <a:pt x="1035" y="111"/>
                      <a:pt x="1039" y="113"/>
                      <a:pt x="1043" y="115"/>
                    </a:cubicBezTo>
                    <a:cubicBezTo>
                      <a:pt x="1048" y="117"/>
                      <a:pt x="1053" y="118"/>
                      <a:pt x="1060" y="118"/>
                    </a:cubicBezTo>
                    <a:cubicBezTo>
                      <a:pt x="1063" y="118"/>
                      <a:pt x="1066" y="118"/>
                      <a:pt x="1068" y="118"/>
                    </a:cubicBezTo>
                    <a:cubicBezTo>
                      <a:pt x="1071" y="117"/>
                      <a:pt x="1074" y="117"/>
                      <a:pt x="1077" y="116"/>
                    </a:cubicBezTo>
                    <a:cubicBezTo>
                      <a:pt x="1080" y="116"/>
                      <a:pt x="1082" y="116"/>
                      <a:pt x="1085" y="115"/>
                    </a:cubicBezTo>
                    <a:cubicBezTo>
                      <a:pt x="1087" y="115"/>
                      <a:pt x="1089" y="114"/>
                      <a:pt x="1091" y="114"/>
                    </a:cubicBezTo>
                    <a:lnTo>
                      <a:pt x="1090" y="107"/>
                    </a:lnTo>
                    <a:close/>
                    <a:moveTo>
                      <a:pt x="996" y="117"/>
                    </a:moveTo>
                    <a:cubicBezTo>
                      <a:pt x="1007" y="117"/>
                      <a:pt x="1007" y="117"/>
                      <a:pt x="1007" y="117"/>
                    </a:cubicBezTo>
                    <a:cubicBezTo>
                      <a:pt x="1007" y="5"/>
                      <a:pt x="1007" y="5"/>
                      <a:pt x="1007" y="5"/>
                    </a:cubicBezTo>
                    <a:cubicBezTo>
                      <a:pt x="996" y="5"/>
                      <a:pt x="996" y="5"/>
                      <a:pt x="996" y="5"/>
                    </a:cubicBezTo>
                    <a:lnTo>
                      <a:pt x="996" y="117"/>
                    </a:lnTo>
                    <a:close/>
                    <a:moveTo>
                      <a:pt x="963" y="117"/>
                    </a:moveTo>
                    <a:cubicBezTo>
                      <a:pt x="974" y="117"/>
                      <a:pt x="974" y="117"/>
                      <a:pt x="974" y="117"/>
                    </a:cubicBezTo>
                    <a:cubicBezTo>
                      <a:pt x="974" y="5"/>
                      <a:pt x="974" y="5"/>
                      <a:pt x="974" y="5"/>
                    </a:cubicBezTo>
                    <a:cubicBezTo>
                      <a:pt x="963" y="5"/>
                      <a:pt x="963" y="5"/>
                      <a:pt x="963" y="5"/>
                    </a:cubicBezTo>
                    <a:lnTo>
                      <a:pt x="963" y="117"/>
                    </a:lnTo>
                    <a:close/>
                    <a:moveTo>
                      <a:pt x="930" y="107"/>
                    </a:moveTo>
                    <a:cubicBezTo>
                      <a:pt x="927" y="108"/>
                      <a:pt x="923" y="108"/>
                      <a:pt x="918" y="109"/>
                    </a:cubicBezTo>
                    <a:cubicBezTo>
                      <a:pt x="913" y="110"/>
                      <a:pt x="908" y="111"/>
                      <a:pt x="903" y="111"/>
                    </a:cubicBezTo>
                    <a:cubicBezTo>
                      <a:pt x="899" y="111"/>
                      <a:pt x="895" y="109"/>
                      <a:pt x="893" y="106"/>
                    </a:cubicBezTo>
                    <a:cubicBezTo>
                      <a:pt x="890" y="103"/>
                      <a:pt x="889" y="99"/>
                      <a:pt x="889" y="94"/>
                    </a:cubicBezTo>
                    <a:cubicBezTo>
                      <a:pt x="889" y="90"/>
                      <a:pt x="890" y="86"/>
                      <a:pt x="893" y="83"/>
                    </a:cubicBezTo>
                    <a:cubicBezTo>
                      <a:pt x="895" y="80"/>
                      <a:pt x="899" y="78"/>
                      <a:pt x="906" y="78"/>
                    </a:cubicBezTo>
                    <a:cubicBezTo>
                      <a:pt x="930" y="76"/>
                      <a:pt x="930" y="76"/>
                      <a:pt x="930" y="76"/>
                    </a:cubicBezTo>
                    <a:lnTo>
                      <a:pt x="930" y="107"/>
                    </a:lnTo>
                    <a:close/>
                    <a:moveTo>
                      <a:pt x="886" y="45"/>
                    </a:moveTo>
                    <a:cubicBezTo>
                      <a:pt x="891" y="45"/>
                      <a:pt x="896" y="44"/>
                      <a:pt x="900" y="44"/>
                    </a:cubicBezTo>
                    <a:cubicBezTo>
                      <a:pt x="905" y="43"/>
                      <a:pt x="909" y="43"/>
                      <a:pt x="913" y="43"/>
                    </a:cubicBezTo>
                    <a:cubicBezTo>
                      <a:pt x="919" y="43"/>
                      <a:pt x="923" y="45"/>
                      <a:pt x="926" y="47"/>
                    </a:cubicBezTo>
                    <a:cubicBezTo>
                      <a:pt x="929" y="50"/>
                      <a:pt x="930" y="54"/>
                      <a:pt x="930" y="61"/>
                    </a:cubicBezTo>
                    <a:cubicBezTo>
                      <a:pt x="930" y="69"/>
                      <a:pt x="930" y="69"/>
                      <a:pt x="930" y="69"/>
                    </a:cubicBezTo>
                    <a:cubicBezTo>
                      <a:pt x="905" y="71"/>
                      <a:pt x="905" y="71"/>
                      <a:pt x="905" y="71"/>
                    </a:cubicBezTo>
                    <a:cubicBezTo>
                      <a:pt x="895" y="72"/>
                      <a:pt x="889" y="74"/>
                      <a:pt x="885" y="78"/>
                    </a:cubicBezTo>
                    <a:cubicBezTo>
                      <a:pt x="881" y="82"/>
                      <a:pt x="879" y="88"/>
                      <a:pt x="879" y="94"/>
                    </a:cubicBezTo>
                    <a:cubicBezTo>
                      <a:pt x="879" y="102"/>
                      <a:pt x="881" y="108"/>
                      <a:pt x="885" y="112"/>
                    </a:cubicBezTo>
                    <a:cubicBezTo>
                      <a:pt x="889" y="116"/>
                      <a:pt x="895" y="118"/>
                      <a:pt x="903" y="118"/>
                    </a:cubicBezTo>
                    <a:cubicBezTo>
                      <a:pt x="911" y="118"/>
                      <a:pt x="918" y="117"/>
                      <a:pt x="924" y="116"/>
                    </a:cubicBezTo>
                    <a:cubicBezTo>
                      <a:pt x="931" y="114"/>
                      <a:pt x="936" y="113"/>
                      <a:pt x="941" y="111"/>
                    </a:cubicBezTo>
                    <a:cubicBezTo>
                      <a:pt x="941" y="61"/>
                      <a:pt x="941" y="61"/>
                      <a:pt x="941" y="61"/>
                    </a:cubicBezTo>
                    <a:cubicBezTo>
                      <a:pt x="941" y="53"/>
                      <a:pt x="939" y="46"/>
                      <a:pt x="934" y="42"/>
                    </a:cubicBezTo>
                    <a:cubicBezTo>
                      <a:pt x="930" y="38"/>
                      <a:pt x="923" y="36"/>
                      <a:pt x="913" y="36"/>
                    </a:cubicBezTo>
                    <a:cubicBezTo>
                      <a:pt x="909" y="36"/>
                      <a:pt x="904" y="36"/>
                      <a:pt x="899" y="36"/>
                    </a:cubicBezTo>
                    <a:cubicBezTo>
                      <a:pt x="894" y="37"/>
                      <a:pt x="889" y="37"/>
                      <a:pt x="884" y="38"/>
                    </a:cubicBezTo>
                    <a:lnTo>
                      <a:pt x="886" y="45"/>
                    </a:lnTo>
                    <a:close/>
                    <a:moveTo>
                      <a:pt x="842" y="34"/>
                    </a:moveTo>
                    <a:cubicBezTo>
                      <a:pt x="852" y="34"/>
                      <a:pt x="852" y="34"/>
                      <a:pt x="852" y="34"/>
                    </a:cubicBezTo>
                    <a:cubicBezTo>
                      <a:pt x="861" y="0"/>
                      <a:pt x="861" y="0"/>
                      <a:pt x="861" y="0"/>
                    </a:cubicBezTo>
                    <a:cubicBezTo>
                      <a:pt x="850" y="0"/>
                      <a:pt x="850" y="0"/>
                      <a:pt x="850" y="0"/>
                    </a:cubicBezTo>
                    <a:lnTo>
                      <a:pt x="842" y="34"/>
                    </a:lnTo>
                    <a:close/>
                    <a:moveTo>
                      <a:pt x="811" y="110"/>
                    </a:moveTo>
                    <a:cubicBezTo>
                      <a:pt x="809" y="110"/>
                      <a:pt x="807" y="111"/>
                      <a:pt x="804" y="111"/>
                    </a:cubicBezTo>
                    <a:cubicBezTo>
                      <a:pt x="802" y="111"/>
                      <a:pt x="799" y="111"/>
                      <a:pt x="798" y="111"/>
                    </a:cubicBezTo>
                    <a:cubicBezTo>
                      <a:pt x="791" y="111"/>
                      <a:pt x="786" y="110"/>
                      <a:pt x="782" y="109"/>
                    </a:cubicBezTo>
                    <a:cubicBezTo>
                      <a:pt x="778" y="107"/>
                      <a:pt x="775" y="105"/>
                      <a:pt x="773" y="102"/>
                    </a:cubicBezTo>
                    <a:cubicBezTo>
                      <a:pt x="771" y="99"/>
                      <a:pt x="769" y="95"/>
                      <a:pt x="768" y="91"/>
                    </a:cubicBezTo>
                    <a:cubicBezTo>
                      <a:pt x="768" y="87"/>
                      <a:pt x="767" y="81"/>
                      <a:pt x="767" y="76"/>
                    </a:cubicBezTo>
                    <a:cubicBezTo>
                      <a:pt x="767" y="70"/>
                      <a:pt x="768" y="65"/>
                      <a:pt x="768" y="61"/>
                    </a:cubicBezTo>
                    <a:cubicBezTo>
                      <a:pt x="769" y="57"/>
                      <a:pt x="770" y="53"/>
                      <a:pt x="771" y="51"/>
                    </a:cubicBezTo>
                    <a:cubicBezTo>
                      <a:pt x="773" y="48"/>
                      <a:pt x="775" y="46"/>
                      <a:pt x="778" y="45"/>
                    </a:cubicBezTo>
                    <a:cubicBezTo>
                      <a:pt x="781" y="44"/>
                      <a:pt x="784" y="43"/>
                      <a:pt x="789" y="43"/>
                    </a:cubicBezTo>
                    <a:cubicBezTo>
                      <a:pt x="793" y="43"/>
                      <a:pt x="797" y="43"/>
                      <a:pt x="801" y="44"/>
                    </a:cubicBezTo>
                    <a:cubicBezTo>
                      <a:pt x="805" y="45"/>
                      <a:pt x="809" y="46"/>
                      <a:pt x="811" y="47"/>
                    </a:cubicBezTo>
                    <a:lnTo>
                      <a:pt x="811" y="110"/>
                    </a:lnTo>
                    <a:close/>
                    <a:moveTo>
                      <a:pt x="811" y="40"/>
                    </a:moveTo>
                    <a:cubicBezTo>
                      <a:pt x="809" y="39"/>
                      <a:pt x="805" y="38"/>
                      <a:pt x="801" y="37"/>
                    </a:cubicBezTo>
                    <a:cubicBezTo>
                      <a:pt x="797" y="36"/>
                      <a:pt x="793" y="36"/>
                      <a:pt x="789" y="36"/>
                    </a:cubicBezTo>
                    <a:cubicBezTo>
                      <a:pt x="782" y="36"/>
                      <a:pt x="777" y="37"/>
                      <a:pt x="773" y="38"/>
                    </a:cubicBezTo>
                    <a:cubicBezTo>
                      <a:pt x="769" y="40"/>
                      <a:pt x="766" y="42"/>
                      <a:pt x="763" y="45"/>
                    </a:cubicBezTo>
                    <a:cubicBezTo>
                      <a:pt x="761" y="49"/>
                      <a:pt x="759" y="53"/>
                      <a:pt x="758" y="58"/>
                    </a:cubicBezTo>
                    <a:cubicBezTo>
                      <a:pt x="757" y="63"/>
                      <a:pt x="757" y="69"/>
                      <a:pt x="757" y="75"/>
                    </a:cubicBezTo>
                    <a:cubicBezTo>
                      <a:pt x="757" y="83"/>
                      <a:pt x="757" y="89"/>
                      <a:pt x="758" y="94"/>
                    </a:cubicBezTo>
                    <a:cubicBezTo>
                      <a:pt x="760" y="100"/>
                      <a:pt x="762" y="104"/>
                      <a:pt x="765" y="108"/>
                    </a:cubicBezTo>
                    <a:cubicBezTo>
                      <a:pt x="768" y="111"/>
                      <a:pt x="772" y="114"/>
                      <a:pt x="778" y="116"/>
                    </a:cubicBezTo>
                    <a:cubicBezTo>
                      <a:pt x="783" y="117"/>
                      <a:pt x="790" y="118"/>
                      <a:pt x="799" y="118"/>
                    </a:cubicBezTo>
                    <a:cubicBezTo>
                      <a:pt x="803" y="118"/>
                      <a:pt x="807" y="118"/>
                      <a:pt x="811" y="118"/>
                    </a:cubicBezTo>
                    <a:cubicBezTo>
                      <a:pt x="814" y="117"/>
                      <a:pt x="818" y="117"/>
                      <a:pt x="822" y="117"/>
                    </a:cubicBezTo>
                    <a:cubicBezTo>
                      <a:pt x="822" y="5"/>
                      <a:pt x="822" y="5"/>
                      <a:pt x="822" y="5"/>
                    </a:cubicBezTo>
                    <a:cubicBezTo>
                      <a:pt x="811" y="5"/>
                      <a:pt x="811" y="5"/>
                      <a:pt x="811" y="5"/>
                    </a:cubicBezTo>
                    <a:lnTo>
                      <a:pt x="811" y="40"/>
                    </a:lnTo>
                    <a:close/>
                    <a:moveTo>
                      <a:pt x="633" y="117"/>
                    </a:moveTo>
                    <a:cubicBezTo>
                      <a:pt x="643" y="117"/>
                      <a:pt x="643" y="117"/>
                      <a:pt x="643" y="117"/>
                    </a:cubicBezTo>
                    <a:cubicBezTo>
                      <a:pt x="643" y="47"/>
                      <a:pt x="643" y="47"/>
                      <a:pt x="643" y="47"/>
                    </a:cubicBezTo>
                    <a:cubicBezTo>
                      <a:pt x="646" y="46"/>
                      <a:pt x="649" y="45"/>
                      <a:pt x="653" y="44"/>
                    </a:cubicBezTo>
                    <a:cubicBezTo>
                      <a:pt x="657" y="43"/>
                      <a:pt x="661" y="43"/>
                      <a:pt x="666" y="43"/>
                    </a:cubicBezTo>
                    <a:cubicBezTo>
                      <a:pt x="675" y="43"/>
                      <a:pt x="681" y="45"/>
                      <a:pt x="684" y="51"/>
                    </a:cubicBezTo>
                    <a:cubicBezTo>
                      <a:pt x="688" y="56"/>
                      <a:pt x="689" y="64"/>
                      <a:pt x="689" y="75"/>
                    </a:cubicBezTo>
                    <a:cubicBezTo>
                      <a:pt x="689" y="117"/>
                      <a:pt x="689" y="117"/>
                      <a:pt x="689" y="117"/>
                    </a:cubicBezTo>
                    <a:cubicBezTo>
                      <a:pt x="700" y="117"/>
                      <a:pt x="700" y="117"/>
                      <a:pt x="700" y="117"/>
                    </a:cubicBezTo>
                    <a:cubicBezTo>
                      <a:pt x="700" y="75"/>
                      <a:pt x="700" y="75"/>
                      <a:pt x="700" y="75"/>
                    </a:cubicBezTo>
                    <a:cubicBezTo>
                      <a:pt x="700" y="69"/>
                      <a:pt x="700" y="63"/>
                      <a:pt x="698" y="58"/>
                    </a:cubicBezTo>
                    <a:cubicBezTo>
                      <a:pt x="697" y="53"/>
                      <a:pt x="695" y="49"/>
                      <a:pt x="693" y="45"/>
                    </a:cubicBezTo>
                    <a:cubicBezTo>
                      <a:pt x="690" y="42"/>
                      <a:pt x="686" y="40"/>
                      <a:pt x="682" y="38"/>
                    </a:cubicBezTo>
                    <a:cubicBezTo>
                      <a:pt x="677" y="37"/>
                      <a:pt x="672" y="36"/>
                      <a:pt x="666" y="36"/>
                    </a:cubicBezTo>
                    <a:cubicBezTo>
                      <a:pt x="660" y="36"/>
                      <a:pt x="654" y="36"/>
                      <a:pt x="649" y="37"/>
                    </a:cubicBezTo>
                    <a:cubicBezTo>
                      <a:pt x="644" y="39"/>
                      <a:pt x="639" y="40"/>
                      <a:pt x="632" y="43"/>
                    </a:cubicBezTo>
                    <a:lnTo>
                      <a:pt x="633" y="117"/>
                    </a:lnTo>
                    <a:close/>
                    <a:moveTo>
                      <a:pt x="564" y="109"/>
                    </a:moveTo>
                    <a:cubicBezTo>
                      <a:pt x="561" y="108"/>
                      <a:pt x="558" y="106"/>
                      <a:pt x="556" y="103"/>
                    </a:cubicBezTo>
                    <a:cubicBezTo>
                      <a:pt x="554" y="100"/>
                      <a:pt x="553" y="97"/>
                      <a:pt x="552" y="92"/>
                    </a:cubicBezTo>
                    <a:cubicBezTo>
                      <a:pt x="552" y="88"/>
                      <a:pt x="551" y="82"/>
                      <a:pt x="551" y="76"/>
                    </a:cubicBezTo>
                    <a:cubicBezTo>
                      <a:pt x="551" y="69"/>
                      <a:pt x="552" y="64"/>
                      <a:pt x="553" y="60"/>
                    </a:cubicBezTo>
                    <a:cubicBezTo>
                      <a:pt x="554" y="56"/>
                      <a:pt x="555" y="52"/>
                      <a:pt x="557" y="50"/>
                    </a:cubicBezTo>
                    <a:cubicBezTo>
                      <a:pt x="559" y="47"/>
                      <a:pt x="562" y="46"/>
                      <a:pt x="565" y="45"/>
                    </a:cubicBezTo>
                    <a:cubicBezTo>
                      <a:pt x="568" y="44"/>
                      <a:pt x="572" y="43"/>
                      <a:pt x="577" y="43"/>
                    </a:cubicBezTo>
                    <a:cubicBezTo>
                      <a:pt x="581" y="43"/>
                      <a:pt x="584" y="44"/>
                      <a:pt x="588" y="45"/>
                    </a:cubicBezTo>
                    <a:cubicBezTo>
                      <a:pt x="591" y="46"/>
                      <a:pt x="593" y="48"/>
                      <a:pt x="595" y="50"/>
                    </a:cubicBezTo>
                    <a:cubicBezTo>
                      <a:pt x="597" y="53"/>
                      <a:pt x="599" y="56"/>
                      <a:pt x="600" y="61"/>
                    </a:cubicBezTo>
                    <a:cubicBezTo>
                      <a:pt x="601" y="65"/>
                      <a:pt x="602" y="70"/>
                      <a:pt x="602" y="76"/>
                    </a:cubicBezTo>
                    <a:cubicBezTo>
                      <a:pt x="602" y="82"/>
                      <a:pt x="602" y="87"/>
                      <a:pt x="601" y="92"/>
                    </a:cubicBezTo>
                    <a:cubicBezTo>
                      <a:pt x="601" y="96"/>
                      <a:pt x="599" y="100"/>
                      <a:pt x="598" y="103"/>
                    </a:cubicBezTo>
                    <a:cubicBezTo>
                      <a:pt x="596" y="106"/>
                      <a:pt x="593" y="108"/>
                      <a:pt x="590" y="109"/>
                    </a:cubicBezTo>
                    <a:cubicBezTo>
                      <a:pt x="587" y="110"/>
                      <a:pt x="582" y="111"/>
                      <a:pt x="577" y="111"/>
                    </a:cubicBezTo>
                    <a:cubicBezTo>
                      <a:pt x="572" y="111"/>
                      <a:pt x="567" y="111"/>
                      <a:pt x="564" y="109"/>
                    </a:cubicBezTo>
                    <a:moveTo>
                      <a:pt x="577" y="36"/>
                    </a:moveTo>
                    <a:cubicBezTo>
                      <a:pt x="571" y="36"/>
                      <a:pt x="565" y="36"/>
                      <a:pt x="561" y="38"/>
                    </a:cubicBezTo>
                    <a:cubicBezTo>
                      <a:pt x="556" y="39"/>
                      <a:pt x="553" y="41"/>
                      <a:pt x="550" y="45"/>
                    </a:cubicBezTo>
                    <a:cubicBezTo>
                      <a:pt x="547" y="48"/>
                      <a:pt x="544" y="52"/>
                      <a:pt x="543" y="57"/>
                    </a:cubicBezTo>
                    <a:cubicBezTo>
                      <a:pt x="542" y="62"/>
                      <a:pt x="541" y="68"/>
                      <a:pt x="541" y="75"/>
                    </a:cubicBezTo>
                    <a:cubicBezTo>
                      <a:pt x="541" y="83"/>
                      <a:pt x="541" y="90"/>
                      <a:pt x="542" y="95"/>
                    </a:cubicBezTo>
                    <a:cubicBezTo>
                      <a:pt x="544" y="101"/>
                      <a:pt x="546" y="105"/>
                      <a:pt x="548" y="109"/>
                    </a:cubicBezTo>
                    <a:cubicBezTo>
                      <a:pt x="551" y="112"/>
                      <a:pt x="555" y="114"/>
                      <a:pt x="559" y="116"/>
                    </a:cubicBezTo>
                    <a:cubicBezTo>
                      <a:pt x="564" y="118"/>
                      <a:pt x="570" y="118"/>
                      <a:pt x="577" y="118"/>
                    </a:cubicBezTo>
                    <a:cubicBezTo>
                      <a:pt x="584" y="118"/>
                      <a:pt x="590" y="117"/>
                      <a:pt x="595" y="116"/>
                    </a:cubicBezTo>
                    <a:cubicBezTo>
                      <a:pt x="599" y="114"/>
                      <a:pt x="603" y="111"/>
                      <a:pt x="605" y="108"/>
                    </a:cubicBezTo>
                    <a:cubicBezTo>
                      <a:pt x="608" y="104"/>
                      <a:pt x="610" y="100"/>
                      <a:pt x="611" y="95"/>
                    </a:cubicBezTo>
                    <a:cubicBezTo>
                      <a:pt x="612" y="89"/>
                      <a:pt x="613" y="83"/>
                      <a:pt x="613" y="76"/>
                    </a:cubicBezTo>
                    <a:cubicBezTo>
                      <a:pt x="613" y="69"/>
                      <a:pt x="612" y="63"/>
                      <a:pt x="610" y="57"/>
                    </a:cubicBezTo>
                    <a:cubicBezTo>
                      <a:pt x="609" y="52"/>
                      <a:pt x="606" y="48"/>
                      <a:pt x="603" y="45"/>
                    </a:cubicBezTo>
                    <a:cubicBezTo>
                      <a:pt x="600" y="42"/>
                      <a:pt x="597" y="40"/>
                      <a:pt x="592" y="38"/>
                    </a:cubicBezTo>
                    <a:cubicBezTo>
                      <a:pt x="588" y="37"/>
                      <a:pt x="583" y="36"/>
                      <a:pt x="577" y="36"/>
                    </a:cubicBezTo>
                    <a:close/>
                    <a:moveTo>
                      <a:pt x="512" y="117"/>
                    </a:moveTo>
                    <a:cubicBezTo>
                      <a:pt x="522" y="117"/>
                      <a:pt x="522" y="117"/>
                      <a:pt x="522" y="117"/>
                    </a:cubicBezTo>
                    <a:cubicBezTo>
                      <a:pt x="522" y="37"/>
                      <a:pt x="522" y="37"/>
                      <a:pt x="522" y="37"/>
                    </a:cubicBezTo>
                    <a:cubicBezTo>
                      <a:pt x="512" y="37"/>
                      <a:pt x="512" y="37"/>
                      <a:pt x="512" y="37"/>
                    </a:cubicBezTo>
                    <a:lnTo>
                      <a:pt x="512" y="117"/>
                    </a:lnTo>
                    <a:close/>
                    <a:moveTo>
                      <a:pt x="512" y="17"/>
                    </a:moveTo>
                    <a:cubicBezTo>
                      <a:pt x="522" y="17"/>
                      <a:pt x="522" y="17"/>
                      <a:pt x="522" y="17"/>
                    </a:cubicBezTo>
                    <a:cubicBezTo>
                      <a:pt x="522" y="6"/>
                      <a:pt x="522" y="6"/>
                      <a:pt x="522" y="6"/>
                    </a:cubicBezTo>
                    <a:cubicBezTo>
                      <a:pt x="512" y="6"/>
                      <a:pt x="512" y="6"/>
                      <a:pt x="512" y="6"/>
                    </a:cubicBezTo>
                    <a:lnTo>
                      <a:pt x="512" y="17"/>
                    </a:lnTo>
                    <a:close/>
                    <a:moveTo>
                      <a:pt x="467" y="17"/>
                    </a:moveTo>
                    <a:cubicBezTo>
                      <a:pt x="467" y="37"/>
                      <a:pt x="467" y="37"/>
                      <a:pt x="467" y="37"/>
                    </a:cubicBezTo>
                    <a:cubicBezTo>
                      <a:pt x="450" y="37"/>
                      <a:pt x="450" y="37"/>
                      <a:pt x="450" y="37"/>
                    </a:cubicBezTo>
                    <a:cubicBezTo>
                      <a:pt x="450" y="45"/>
                      <a:pt x="450" y="45"/>
                      <a:pt x="450" y="45"/>
                    </a:cubicBezTo>
                    <a:cubicBezTo>
                      <a:pt x="467" y="45"/>
                      <a:pt x="467" y="45"/>
                      <a:pt x="467" y="45"/>
                    </a:cubicBezTo>
                    <a:cubicBezTo>
                      <a:pt x="467" y="92"/>
                      <a:pt x="467" y="92"/>
                      <a:pt x="467" y="92"/>
                    </a:cubicBezTo>
                    <a:cubicBezTo>
                      <a:pt x="467" y="96"/>
                      <a:pt x="467" y="101"/>
                      <a:pt x="468" y="104"/>
                    </a:cubicBezTo>
                    <a:cubicBezTo>
                      <a:pt x="468" y="107"/>
                      <a:pt x="469" y="110"/>
                      <a:pt x="470" y="112"/>
                    </a:cubicBezTo>
                    <a:cubicBezTo>
                      <a:pt x="471" y="114"/>
                      <a:pt x="473" y="116"/>
                      <a:pt x="475" y="117"/>
                    </a:cubicBezTo>
                    <a:cubicBezTo>
                      <a:pt x="478" y="118"/>
                      <a:pt x="481" y="118"/>
                      <a:pt x="484" y="118"/>
                    </a:cubicBezTo>
                    <a:cubicBezTo>
                      <a:pt x="486" y="118"/>
                      <a:pt x="487" y="118"/>
                      <a:pt x="488" y="118"/>
                    </a:cubicBezTo>
                    <a:cubicBezTo>
                      <a:pt x="490" y="118"/>
                      <a:pt x="492" y="117"/>
                      <a:pt x="495" y="117"/>
                    </a:cubicBezTo>
                    <a:cubicBezTo>
                      <a:pt x="496" y="110"/>
                      <a:pt x="496" y="110"/>
                      <a:pt x="496" y="110"/>
                    </a:cubicBezTo>
                    <a:cubicBezTo>
                      <a:pt x="494" y="110"/>
                      <a:pt x="492" y="110"/>
                      <a:pt x="490" y="111"/>
                    </a:cubicBezTo>
                    <a:cubicBezTo>
                      <a:pt x="489" y="111"/>
                      <a:pt x="487" y="111"/>
                      <a:pt x="486" y="111"/>
                    </a:cubicBezTo>
                    <a:cubicBezTo>
                      <a:pt x="485" y="111"/>
                      <a:pt x="485" y="111"/>
                      <a:pt x="485" y="111"/>
                    </a:cubicBezTo>
                    <a:cubicBezTo>
                      <a:pt x="484" y="111"/>
                      <a:pt x="482" y="111"/>
                      <a:pt x="481" y="110"/>
                    </a:cubicBezTo>
                    <a:cubicBezTo>
                      <a:pt x="480" y="110"/>
                      <a:pt x="479" y="109"/>
                      <a:pt x="479" y="107"/>
                    </a:cubicBezTo>
                    <a:cubicBezTo>
                      <a:pt x="478" y="106"/>
                      <a:pt x="478" y="104"/>
                      <a:pt x="478" y="101"/>
                    </a:cubicBezTo>
                    <a:cubicBezTo>
                      <a:pt x="477" y="99"/>
                      <a:pt x="477" y="96"/>
                      <a:pt x="477" y="92"/>
                    </a:cubicBezTo>
                    <a:cubicBezTo>
                      <a:pt x="477" y="45"/>
                      <a:pt x="477" y="45"/>
                      <a:pt x="477" y="45"/>
                    </a:cubicBezTo>
                    <a:cubicBezTo>
                      <a:pt x="496" y="45"/>
                      <a:pt x="496" y="45"/>
                      <a:pt x="496" y="45"/>
                    </a:cubicBezTo>
                    <a:cubicBezTo>
                      <a:pt x="496" y="37"/>
                      <a:pt x="496" y="37"/>
                      <a:pt x="496" y="37"/>
                    </a:cubicBezTo>
                    <a:cubicBezTo>
                      <a:pt x="477" y="37"/>
                      <a:pt x="477" y="37"/>
                      <a:pt x="477" y="37"/>
                    </a:cubicBezTo>
                    <a:cubicBezTo>
                      <a:pt x="477" y="17"/>
                      <a:pt x="477" y="17"/>
                      <a:pt x="477" y="17"/>
                    </a:cubicBezTo>
                    <a:lnTo>
                      <a:pt x="467" y="17"/>
                    </a:lnTo>
                    <a:close/>
                    <a:moveTo>
                      <a:pt x="429" y="117"/>
                    </a:moveTo>
                    <a:cubicBezTo>
                      <a:pt x="440" y="117"/>
                      <a:pt x="440" y="117"/>
                      <a:pt x="440" y="117"/>
                    </a:cubicBezTo>
                    <a:cubicBezTo>
                      <a:pt x="440" y="37"/>
                      <a:pt x="440" y="37"/>
                      <a:pt x="440" y="37"/>
                    </a:cubicBezTo>
                    <a:cubicBezTo>
                      <a:pt x="429" y="37"/>
                      <a:pt x="429" y="37"/>
                      <a:pt x="429" y="37"/>
                    </a:cubicBezTo>
                    <a:lnTo>
                      <a:pt x="429" y="117"/>
                    </a:lnTo>
                    <a:close/>
                    <a:moveTo>
                      <a:pt x="429" y="17"/>
                    </a:moveTo>
                    <a:cubicBezTo>
                      <a:pt x="440" y="17"/>
                      <a:pt x="440" y="17"/>
                      <a:pt x="440" y="17"/>
                    </a:cubicBezTo>
                    <a:cubicBezTo>
                      <a:pt x="440" y="6"/>
                      <a:pt x="440" y="6"/>
                      <a:pt x="440" y="6"/>
                    </a:cubicBezTo>
                    <a:cubicBezTo>
                      <a:pt x="429" y="6"/>
                      <a:pt x="429" y="6"/>
                      <a:pt x="429" y="6"/>
                    </a:cubicBezTo>
                    <a:lnTo>
                      <a:pt x="429" y="17"/>
                    </a:lnTo>
                    <a:close/>
                    <a:moveTo>
                      <a:pt x="353" y="47"/>
                    </a:moveTo>
                    <a:cubicBezTo>
                      <a:pt x="356" y="46"/>
                      <a:pt x="359" y="45"/>
                      <a:pt x="363" y="44"/>
                    </a:cubicBezTo>
                    <a:cubicBezTo>
                      <a:pt x="367" y="43"/>
                      <a:pt x="372" y="43"/>
                      <a:pt x="376" y="43"/>
                    </a:cubicBezTo>
                    <a:cubicBezTo>
                      <a:pt x="380" y="43"/>
                      <a:pt x="384" y="43"/>
                      <a:pt x="387" y="45"/>
                    </a:cubicBezTo>
                    <a:cubicBezTo>
                      <a:pt x="390" y="46"/>
                      <a:pt x="392" y="48"/>
                      <a:pt x="393" y="50"/>
                    </a:cubicBezTo>
                    <a:cubicBezTo>
                      <a:pt x="395" y="53"/>
                      <a:pt x="396" y="56"/>
                      <a:pt x="396" y="61"/>
                    </a:cubicBezTo>
                    <a:cubicBezTo>
                      <a:pt x="397" y="65"/>
                      <a:pt x="397" y="70"/>
                      <a:pt x="397" y="75"/>
                    </a:cubicBezTo>
                    <a:cubicBezTo>
                      <a:pt x="397" y="81"/>
                      <a:pt x="397" y="86"/>
                      <a:pt x="396" y="91"/>
                    </a:cubicBezTo>
                    <a:cubicBezTo>
                      <a:pt x="396" y="95"/>
                      <a:pt x="394" y="99"/>
                      <a:pt x="392" y="102"/>
                    </a:cubicBezTo>
                    <a:cubicBezTo>
                      <a:pt x="390" y="105"/>
                      <a:pt x="387" y="107"/>
                      <a:pt x="383" y="108"/>
                    </a:cubicBezTo>
                    <a:cubicBezTo>
                      <a:pt x="379" y="110"/>
                      <a:pt x="374" y="111"/>
                      <a:pt x="367" y="111"/>
                    </a:cubicBezTo>
                    <a:cubicBezTo>
                      <a:pt x="365" y="111"/>
                      <a:pt x="363" y="111"/>
                      <a:pt x="361" y="111"/>
                    </a:cubicBezTo>
                    <a:cubicBezTo>
                      <a:pt x="358" y="110"/>
                      <a:pt x="356" y="110"/>
                      <a:pt x="353" y="110"/>
                    </a:cubicBezTo>
                    <a:lnTo>
                      <a:pt x="353" y="47"/>
                    </a:lnTo>
                    <a:close/>
                    <a:moveTo>
                      <a:pt x="343" y="5"/>
                    </a:moveTo>
                    <a:cubicBezTo>
                      <a:pt x="343" y="117"/>
                      <a:pt x="343" y="117"/>
                      <a:pt x="343" y="117"/>
                    </a:cubicBezTo>
                    <a:cubicBezTo>
                      <a:pt x="346" y="117"/>
                      <a:pt x="350" y="117"/>
                      <a:pt x="354" y="118"/>
                    </a:cubicBezTo>
                    <a:cubicBezTo>
                      <a:pt x="358" y="118"/>
                      <a:pt x="362" y="118"/>
                      <a:pt x="366" y="118"/>
                    </a:cubicBezTo>
                    <a:cubicBezTo>
                      <a:pt x="374" y="118"/>
                      <a:pt x="381" y="117"/>
                      <a:pt x="387" y="116"/>
                    </a:cubicBezTo>
                    <a:cubicBezTo>
                      <a:pt x="392" y="114"/>
                      <a:pt x="397" y="111"/>
                      <a:pt x="400" y="108"/>
                    </a:cubicBezTo>
                    <a:cubicBezTo>
                      <a:pt x="403" y="104"/>
                      <a:pt x="405" y="100"/>
                      <a:pt x="406" y="94"/>
                    </a:cubicBezTo>
                    <a:cubicBezTo>
                      <a:pt x="407" y="89"/>
                      <a:pt x="408" y="83"/>
                      <a:pt x="408" y="75"/>
                    </a:cubicBezTo>
                    <a:cubicBezTo>
                      <a:pt x="408" y="69"/>
                      <a:pt x="407" y="63"/>
                      <a:pt x="406" y="58"/>
                    </a:cubicBezTo>
                    <a:cubicBezTo>
                      <a:pt x="405" y="53"/>
                      <a:pt x="404" y="49"/>
                      <a:pt x="401" y="45"/>
                    </a:cubicBezTo>
                    <a:cubicBezTo>
                      <a:pt x="399" y="42"/>
                      <a:pt x="396" y="40"/>
                      <a:pt x="392" y="38"/>
                    </a:cubicBezTo>
                    <a:cubicBezTo>
                      <a:pt x="388" y="37"/>
                      <a:pt x="382" y="36"/>
                      <a:pt x="376" y="36"/>
                    </a:cubicBezTo>
                    <a:cubicBezTo>
                      <a:pt x="372" y="36"/>
                      <a:pt x="367" y="36"/>
                      <a:pt x="363" y="37"/>
                    </a:cubicBezTo>
                    <a:cubicBezTo>
                      <a:pt x="359" y="38"/>
                      <a:pt x="356" y="39"/>
                      <a:pt x="353" y="40"/>
                    </a:cubicBezTo>
                    <a:cubicBezTo>
                      <a:pt x="353" y="5"/>
                      <a:pt x="353" y="5"/>
                      <a:pt x="353" y="5"/>
                    </a:cubicBezTo>
                    <a:lnTo>
                      <a:pt x="343" y="5"/>
                    </a:lnTo>
                    <a:close/>
                    <a:moveTo>
                      <a:pt x="201" y="117"/>
                    </a:moveTo>
                    <a:cubicBezTo>
                      <a:pt x="212" y="117"/>
                      <a:pt x="212" y="117"/>
                      <a:pt x="212" y="117"/>
                    </a:cubicBezTo>
                    <a:cubicBezTo>
                      <a:pt x="212" y="47"/>
                      <a:pt x="212" y="47"/>
                      <a:pt x="212" y="47"/>
                    </a:cubicBezTo>
                    <a:cubicBezTo>
                      <a:pt x="215" y="46"/>
                      <a:pt x="218" y="45"/>
                      <a:pt x="222" y="44"/>
                    </a:cubicBezTo>
                    <a:cubicBezTo>
                      <a:pt x="226" y="43"/>
                      <a:pt x="230" y="43"/>
                      <a:pt x="235" y="43"/>
                    </a:cubicBezTo>
                    <a:cubicBezTo>
                      <a:pt x="239" y="43"/>
                      <a:pt x="242" y="43"/>
                      <a:pt x="245" y="45"/>
                    </a:cubicBezTo>
                    <a:cubicBezTo>
                      <a:pt x="248" y="46"/>
                      <a:pt x="250" y="48"/>
                      <a:pt x="252" y="50"/>
                    </a:cubicBezTo>
                    <a:cubicBezTo>
                      <a:pt x="253" y="53"/>
                      <a:pt x="254" y="56"/>
                      <a:pt x="255" y="60"/>
                    </a:cubicBezTo>
                    <a:cubicBezTo>
                      <a:pt x="255" y="64"/>
                      <a:pt x="256" y="69"/>
                      <a:pt x="256" y="75"/>
                    </a:cubicBezTo>
                    <a:cubicBezTo>
                      <a:pt x="256" y="117"/>
                      <a:pt x="256" y="117"/>
                      <a:pt x="256" y="117"/>
                    </a:cubicBezTo>
                    <a:cubicBezTo>
                      <a:pt x="267" y="117"/>
                      <a:pt x="267" y="117"/>
                      <a:pt x="267" y="117"/>
                    </a:cubicBezTo>
                    <a:cubicBezTo>
                      <a:pt x="267" y="75"/>
                      <a:pt x="267" y="75"/>
                      <a:pt x="267" y="75"/>
                    </a:cubicBezTo>
                    <a:cubicBezTo>
                      <a:pt x="267" y="69"/>
                      <a:pt x="266" y="64"/>
                      <a:pt x="266" y="59"/>
                    </a:cubicBezTo>
                    <a:cubicBezTo>
                      <a:pt x="265" y="55"/>
                      <a:pt x="264" y="51"/>
                      <a:pt x="262" y="48"/>
                    </a:cubicBezTo>
                    <a:cubicBezTo>
                      <a:pt x="267" y="46"/>
                      <a:pt x="272" y="45"/>
                      <a:pt x="276" y="44"/>
                    </a:cubicBezTo>
                    <a:cubicBezTo>
                      <a:pt x="280" y="43"/>
                      <a:pt x="284" y="43"/>
                      <a:pt x="289" y="43"/>
                    </a:cubicBezTo>
                    <a:cubicBezTo>
                      <a:pt x="293" y="43"/>
                      <a:pt x="297" y="43"/>
                      <a:pt x="300" y="45"/>
                    </a:cubicBezTo>
                    <a:cubicBezTo>
                      <a:pt x="303" y="46"/>
                      <a:pt x="305" y="48"/>
                      <a:pt x="306" y="50"/>
                    </a:cubicBezTo>
                    <a:cubicBezTo>
                      <a:pt x="308" y="53"/>
                      <a:pt x="309" y="56"/>
                      <a:pt x="309" y="60"/>
                    </a:cubicBezTo>
                    <a:cubicBezTo>
                      <a:pt x="310" y="64"/>
                      <a:pt x="310" y="69"/>
                      <a:pt x="310" y="75"/>
                    </a:cubicBezTo>
                    <a:cubicBezTo>
                      <a:pt x="310" y="117"/>
                      <a:pt x="310" y="117"/>
                      <a:pt x="310" y="117"/>
                    </a:cubicBezTo>
                    <a:cubicBezTo>
                      <a:pt x="321" y="117"/>
                      <a:pt x="321" y="117"/>
                      <a:pt x="321" y="117"/>
                    </a:cubicBezTo>
                    <a:cubicBezTo>
                      <a:pt x="321" y="75"/>
                      <a:pt x="321" y="75"/>
                      <a:pt x="321" y="75"/>
                    </a:cubicBezTo>
                    <a:cubicBezTo>
                      <a:pt x="321" y="68"/>
                      <a:pt x="321" y="63"/>
                      <a:pt x="320" y="58"/>
                    </a:cubicBezTo>
                    <a:cubicBezTo>
                      <a:pt x="319" y="53"/>
                      <a:pt x="317" y="48"/>
                      <a:pt x="315" y="45"/>
                    </a:cubicBezTo>
                    <a:cubicBezTo>
                      <a:pt x="312" y="42"/>
                      <a:pt x="309" y="40"/>
                      <a:pt x="305" y="38"/>
                    </a:cubicBezTo>
                    <a:cubicBezTo>
                      <a:pt x="301" y="36"/>
                      <a:pt x="296" y="36"/>
                      <a:pt x="289" y="36"/>
                    </a:cubicBezTo>
                    <a:cubicBezTo>
                      <a:pt x="287" y="36"/>
                      <a:pt x="284" y="36"/>
                      <a:pt x="282" y="36"/>
                    </a:cubicBezTo>
                    <a:cubicBezTo>
                      <a:pt x="279" y="36"/>
                      <a:pt x="277" y="36"/>
                      <a:pt x="274" y="37"/>
                    </a:cubicBezTo>
                    <a:cubicBezTo>
                      <a:pt x="272" y="37"/>
                      <a:pt x="269" y="38"/>
                      <a:pt x="266" y="39"/>
                    </a:cubicBezTo>
                    <a:cubicBezTo>
                      <a:pt x="263" y="40"/>
                      <a:pt x="260" y="41"/>
                      <a:pt x="257" y="42"/>
                    </a:cubicBezTo>
                    <a:cubicBezTo>
                      <a:pt x="252" y="38"/>
                      <a:pt x="245" y="35"/>
                      <a:pt x="235" y="35"/>
                    </a:cubicBezTo>
                    <a:cubicBezTo>
                      <a:pt x="229" y="35"/>
                      <a:pt x="224" y="36"/>
                      <a:pt x="219" y="37"/>
                    </a:cubicBezTo>
                    <a:cubicBezTo>
                      <a:pt x="214" y="38"/>
                      <a:pt x="208" y="40"/>
                      <a:pt x="201" y="42"/>
                    </a:cubicBezTo>
                    <a:lnTo>
                      <a:pt x="201" y="117"/>
                    </a:lnTo>
                    <a:close/>
                    <a:moveTo>
                      <a:pt x="169" y="107"/>
                    </a:moveTo>
                    <a:cubicBezTo>
                      <a:pt x="166" y="108"/>
                      <a:pt x="162" y="108"/>
                      <a:pt x="157" y="109"/>
                    </a:cubicBezTo>
                    <a:cubicBezTo>
                      <a:pt x="152" y="110"/>
                      <a:pt x="147" y="111"/>
                      <a:pt x="142" y="111"/>
                    </a:cubicBezTo>
                    <a:cubicBezTo>
                      <a:pt x="138" y="111"/>
                      <a:pt x="134" y="109"/>
                      <a:pt x="132" y="106"/>
                    </a:cubicBezTo>
                    <a:cubicBezTo>
                      <a:pt x="129" y="103"/>
                      <a:pt x="128" y="99"/>
                      <a:pt x="128" y="94"/>
                    </a:cubicBezTo>
                    <a:cubicBezTo>
                      <a:pt x="128" y="90"/>
                      <a:pt x="129" y="86"/>
                      <a:pt x="132" y="83"/>
                    </a:cubicBezTo>
                    <a:cubicBezTo>
                      <a:pt x="134" y="80"/>
                      <a:pt x="138" y="78"/>
                      <a:pt x="144" y="78"/>
                    </a:cubicBezTo>
                    <a:cubicBezTo>
                      <a:pt x="169" y="76"/>
                      <a:pt x="169" y="76"/>
                      <a:pt x="169" y="76"/>
                    </a:cubicBezTo>
                    <a:lnTo>
                      <a:pt x="169" y="107"/>
                    </a:lnTo>
                    <a:close/>
                    <a:moveTo>
                      <a:pt x="125" y="45"/>
                    </a:moveTo>
                    <a:cubicBezTo>
                      <a:pt x="130" y="45"/>
                      <a:pt x="134" y="44"/>
                      <a:pt x="139" y="44"/>
                    </a:cubicBezTo>
                    <a:cubicBezTo>
                      <a:pt x="144" y="43"/>
                      <a:pt x="148" y="43"/>
                      <a:pt x="152" y="43"/>
                    </a:cubicBezTo>
                    <a:cubicBezTo>
                      <a:pt x="158" y="43"/>
                      <a:pt x="162" y="45"/>
                      <a:pt x="165" y="47"/>
                    </a:cubicBezTo>
                    <a:cubicBezTo>
                      <a:pt x="168" y="50"/>
                      <a:pt x="169" y="54"/>
                      <a:pt x="169" y="61"/>
                    </a:cubicBezTo>
                    <a:cubicBezTo>
                      <a:pt x="169" y="69"/>
                      <a:pt x="169" y="69"/>
                      <a:pt x="169" y="69"/>
                    </a:cubicBezTo>
                    <a:cubicBezTo>
                      <a:pt x="143" y="71"/>
                      <a:pt x="143" y="71"/>
                      <a:pt x="143" y="71"/>
                    </a:cubicBezTo>
                    <a:cubicBezTo>
                      <a:pt x="134" y="72"/>
                      <a:pt x="127" y="74"/>
                      <a:pt x="123" y="78"/>
                    </a:cubicBezTo>
                    <a:cubicBezTo>
                      <a:pt x="119" y="82"/>
                      <a:pt x="117" y="88"/>
                      <a:pt x="117" y="94"/>
                    </a:cubicBezTo>
                    <a:cubicBezTo>
                      <a:pt x="117" y="102"/>
                      <a:pt x="120" y="108"/>
                      <a:pt x="124" y="112"/>
                    </a:cubicBezTo>
                    <a:cubicBezTo>
                      <a:pt x="128" y="116"/>
                      <a:pt x="134" y="118"/>
                      <a:pt x="142" y="118"/>
                    </a:cubicBezTo>
                    <a:cubicBezTo>
                      <a:pt x="150" y="118"/>
                      <a:pt x="157" y="117"/>
                      <a:pt x="163" y="116"/>
                    </a:cubicBezTo>
                    <a:cubicBezTo>
                      <a:pt x="169" y="114"/>
                      <a:pt x="175" y="113"/>
                      <a:pt x="180" y="111"/>
                    </a:cubicBezTo>
                    <a:cubicBezTo>
                      <a:pt x="180" y="61"/>
                      <a:pt x="180" y="61"/>
                      <a:pt x="180" y="61"/>
                    </a:cubicBezTo>
                    <a:cubicBezTo>
                      <a:pt x="180" y="53"/>
                      <a:pt x="177" y="46"/>
                      <a:pt x="173" y="42"/>
                    </a:cubicBezTo>
                    <a:cubicBezTo>
                      <a:pt x="169" y="38"/>
                      <a:pt x="162" y="36"/>
                      <a:pt x="152" y="36"/>
                    </a:cubicBezTo>
                    <a:cubicBezTo>
                      <a:pt x="147" y="36"/>
                      <a:pt x="143" y="36"/>
                      <a:pt x="138" y="36"/>
                    </a:cubicBezTo>
                    <a:cubicBezTo>
                      <a:pt x="133" y="37"/>
                      <a:pt x="128" y="37"/>
                      <a:pt x="123" y="38"/>
                    </a:cubicBezTo>
                    <a:lnTo>
                      <a:pt x="125" y="45"/>
                    </a:lnTo>
                    <a:close/>
                    <a:moveTo>
                      <a:pt x="81" y="34"/>
                    </a:moveTo>
                    <a:cubicBezTo>
                      <a:pt x="91" y="34"/>
                      <a:pt x="91" y="34"/>
                      <a:pt x="91" y="34"/>
                    </a:cubicBezTo>
                    <a:cubicBezTo>
                      <a:pt x="100" y="0"/>
                      <a:pt x="100" y="0"/>
                      <a:pt x="100" y="0"/>
                    </a:cubicBezTo>
                    <a:cubicBezTo>
                      <a:pt x="89" y="0"/>
                      <a:pt x="89" y="0"/>
                      <a:pt x="89" y="0"/>
                    </a:cubicBezTo>
                    <a:lnTo>
                      <a:pt x="81" y="34"/>
                    </a:lnTo>
                    <a:close/>
                    <a:moveTo>
                      <a:pt x="70" y="117"/>
                    </a:moveTo>
                    <a:cubicBezTo>
                      <a:pt x="70" y="109"/>
                      <a:pt x="70" y="109"/>
                      <a:pt x="70" y="109"/>
                    </a:cubicBezTo>
                    <a:cubicBezTo>
                      <a:pt x="11" y="109"/>
                      <a:pt x="11" y="109"/>
                      <a:pt x="11" y="109"/>
                    </a:cubicBezTo>
                    <a:cubicBezTo>
                      <a:pt x="11" y="5"/>
                      <a:pt x="11" y="5"/>
                      <a:pt x="11" y="5"/>
                    </a:cubicBezTo>
                    <a:cubicBezTo>
                      <a:pt x="0" y="5"/>
                      <a:pt x="0" y="5"/>
                      <a:pt x="0" y="5"/>
                    </a:cubicBezTo>
                    <a:cubicBezTo>
                      <a:pt x="0" y="117"/>
                      <a:pt x="0" y="117"/>
                      <a:pt x="0" y="117"/>
                    </a:cubicBezTo>
                    <a:lnTo>
                      <a:pt x="70" y="117"/>
                    </a:lnTo>
                    <a:close/>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14" name="Freeform 22"/>
              <p:cNvSpPr>
                <a:spLocks noEditPoints="1"/>
              </p:cNvSpPr>
              <p:nvPr userDrawn="1"/>
            </p:nvSpPr>
            <p:spPr bwMode="auto">
              <a:xfrm>
                <a:off x="3825875" y="2044700"/>
                <a:ext cx="1347788" cy="114300"/>
              </a:xfrm>
              <a:custGeom>
                <a:avLst/>
                <a:gdLst/>
                <a:ahLst/>
                <a:cxnLst>
                  <a:cxn ang="0">
                    <a:pos x="1726" y="117"/>
                  </a:cxn>
                  <a:cxn ang="0">
                    <a:pos x="1670" y="43"/>
                  </a:cxn>
                  <a:cxn ang="0">
                    <a:pos x="1648" y="17"/>
                  </a:cxn>
                  <a:cxn ang="0">
                    <a:pos x="1557" y="60"/>
                  </a:cxn>
                  <a:cxn ang="0">
                    <a:pos x="1605" y="92"/>
                  </a:cxn>
                  <a:cxn ang="0">
                    <a:pos x="1547" y="57"/>
                  </a:cxn>
                  <a:cxn ang="0">
                    <a:pos x="1615" y="95"/>
                  </a:cxn>
                  <a:cxn ang="0">
                    <a:pos x="1526" y="5"/>
                  </a:cxn>
                  <a:cxn ang="0">
                    <a:pos x="1448" y="114"/>
                  </a:cxn>
                  <a:cxn ang="0">
                    <a:pos x="1430" y="69"/>
                  </a:cxn>
                  <a:cxn ang="0">
                    <a:pos x="1456" y="44"/>
                  </a:cxn>
                  <a:cxn ang="0">
                    <a:pos x="1411" y="46"/>
                  </a:cxn>
                  <a:cxn ang="0">
                    <a:pos x="1435" y="83"/>
                  </a:cxn>
                  <a:cxn ang="0">
                    <a:pos x="1431" y="111"/>
                  </a:cxn>
                  <a:cxn ang="0">
                    <a:pos x="1369" y="110"/>
                  </a:cxn>
                  <a:cxn ang="0">
                    <a:pos x="1332" y="109"/>
                  </a:cxn>
                  <a:cxn ang="0">
                    <a:pos x="1304" y="5"/>
                  </a:cxn>
                  <a:cxn ang="0">
                    <a:pos x="1261" y="63"/>
                  </a:cxn>
                  <a:cxn ang="0">
                    <a:pos x="1218" y="44"/>
                  </a:cxn>
                  <a:cxn ang="0">
                    <a:pos x="1271" y="60"/>
                  </a:cxn>
                  <a:cxn ang="0">
                    <a:pos x="1218" y="114"/>
                  </a:cxn>
                  <a:cxn ang="0">
                    <a:pos x="1155" y="36"/>
                  </a:cxn>
                  <a:cxn ang="0">
                    <a:pos x="1059" y="43"/>
                  </a:cxn>
                  <a:cxn ang="0">
                    <a:pos x="1060" y="111"/>
                  </a:cxn>
                  <a:cxn ang="0">
                    <a:pos x="1059" y="36"/>
                  </a:cxn>
                  <a:cxn ang="0">
                    <a:pos x="1060" y="118"/>
                  </a:cxn>
                  <a:cxn ang="0">
                    <a:pos x="1007" y="5"/>
                  </a:cxn>
                  <a:cxn ang="0">
                    <a:pos x="930" y="107"/>
                  </a:cxn>
                  <a:cxn ang="0">
                    <a:pos x="930" y="107"/>
                  </a:cxn>
                  <a:cxn ang="0">
                    <a:pos x="885" y="78"/>
                  </a:cxn>
                  <a:cxn ang="0">
                    <a:pos x="913" y="36"/>
                  </a:cxn>
                  <a:cxn ang="0">
                    <a:pos x="842" y="34"/>
                  </a:cxn>
                  <a:cxn ang="0">
                    <a:pos x="768" y="61"/>
                  </a:cxn>
                  <a:cxn ang="0">
                    <a:pos x="801" y="37"/>
                  </a:cxn>
                  <a:cxn ang="0">
                    <a:pos x="778" y="116"/>
                  </a:cxn>
                  <a:cxn ang="0">
                    <a:pos x="643" y="117"/>
                  </a:cxn>
                  <a:cxn ang="0">
                    <a:pos x="700" y="75"/>
                  </a:cxn>
                  <a:cxn ang="0">
                    <a:pos x="564" y="109"/>
                  </a:cxn>
                  <a:cxn ang="0">
                    <a:pos x="588" y="45"/>
                  </a:cxn>
                  <a:cxn ang="0">
                    <a:pos x="564" y="109"/>
                  </a:cxn>
                  <a:cxn ang="0">
                    <a:pos x="559" y="116"/>
                  </a:cxn>
                  <a:cxn ang="0">
                    <a:pos x="592" y="38"/>
                  </a:cxn>
                  <a:cxn ang="0">
                    <a:pos x="522" y="17"/>
                  </a:cxn>
                  <a:cxn ang="0">
                    <a:pos x="467" y="45"/>
                  </a:cxn>
                  <a:cxn ang="0">
                    <a:pos x="496" y="110"/>
                  </a:cxn>
                  <a:cxn ang="0">
                    <a:pos x="477" y="45"/>
                  </a:cxn>
                  <a:cxn ang="0">
                    <a:pos x="440" y="37"/>
                  </a:cxn>
                  <a:cxn ang="0">
                    <a:pos x="353" y="47"/>
                  </a:cxn>
                  <a:cxn ang="0">
                    <a:pos x="392" y="102"/>
                  </a:cxn>
                  <a:cxn ang="0">
                    <a:pos x="354" y="118"/>
                  </a:cxn>
                  <a:cxn ang="0">
                    <a:pos x="392" y="38"/>
                  </a:cxn>
                  <a:cxn ang="0">
                    <a:pos x="212" y="47"/>
                  </a:cxn>
                  <a:cxn ang="0">
                    <a:pos x="267" y="117"/>
                  </a:cxn>
                  <a:cxn ang="0">
                    <a:pos x="309" y="60"/>
                  </a:cxn>
                  <a:cxn ang="0">
                    <a:pos x="289" y="36"/>
                  </a:cxn>
                  <a:cxn ang="0">
                    <a:pos x="201" y="117"/>
                  </a:cxn>
                  <a:cxn ang="0">
                    <a:pos x="169" y="76"/>
                  </a:cxn>
                  <a:cxn ang="0">
                    <a:pos x="143" y="71"/>
                  </a:cxn>
                  <a:cxn ang="0">
                    <a:pos x="173" y="42"/>
                  </a:cxn>
                  <a:cxn ang="0">
                    <a:pos x="89" y="0"/>
                  </a:cxn>
                  <a:cxn ang="0">
                    <a:pos x="70" y="117"/>
                  </a:cxn>
                </a:cxnLst>
                <a:rect l="0" t="0" r="r" b="b"/>
                <a:pathLst>
                  <a:path w="1737" h="148">
                    <a:moveTo>
                      <a:pt x="1670" y="117"/>
                    </a:moveTo>
                    <a:cubicBezTo>
                      <a:pt x="1680" y="117"/>
                      <a:pt x="1680" y="117"/>
                      <a:pt x="1680" y="117"/>
                    </a:cubicBezTo>
                    <a:cubicBezTo>
                      <a:pt x="1680" y="47"/>
                      <a:pt x="1680" y="47"/>
                      <a:pt x="1680" y="47"/>
                    </a:cubicBezTo>
                    <a:cubicBezTo>
                      <a:pt x="1683" y="46"/>
                      <a:pt x="1686" y="45"/>
                      <a:pt x="1690" y="44"/>
                    </a:cubicBezTo>
                    <a:cubicBezTo>
                      <a:pt x="1694" y="43"/>
                      <a:pt x="1698" y="43"/>
                      <a:pt x="1703" y="43"/>
                    </a:cubicBezTo>
                    <a:cubicBezTo>
                      <a:pt x="1712" y="43"/>
                      <a:pt x="1718" y="45"/>
                      <a:pt x="1721" y="51"/>
                    </a:cubicBezTo>
                    <a:cubicBezTo>
                      <a:pt x="1725" y="56"/>
                      <a:pt x="1726" y="64"/>
                      <a:pt x="1726" y="75"/>
                    </a:cubicBezTo>
                    <a:cubicBezTo>
                      <a:pt x="1726" y="117"/>
                      <a:pt x="1726" y="117"/>
                      <a:pt x="1726" y="117"/>
                    </a:cubicBezTo>
                    <a:cubicBezTo>
                      <a:pt x="1737" y="117"/>
                      <a:pt x="1737" y="117"/>
                      <a:pt x="1737" y="117"/>
                    </a:cubicBezTo>
                    <a:cubicBezTo>
                      <a:pt x="1737" y="75"/>
                      <a:pt x="1737" y="75"/>
                      <a:pt x="1737" y="75"/>
                    </a:cubicBezTo>
                    <a:cubicBezTo>
                      <a:pt x="1737" y="69"/>
                      <a:pt x="1737" y="63"/>
                      <a:pt x="1736" y="58"/>
                    </a:cubicBezTo>
                    <a:cubicBezTo>
                      <a:pt x="1734" y="53"/>
                      <a:pt x="1732" y="49"/>
                      <a:pt x="1730" y="45"/>
                    </a:cubicBezTo>
                    <a:cubicBezTo>
                      <a:pt x="1727" y="42"/>
                      <a:pt x="1723" y="40"/>
                      <a:pt x="1719" y="38"/>
                    </a:cubicBezTo>
                    <a:cubicBezTo>
                      <a:pt x="1715" y="37"/>
                      <a:pt x="1709" y="36"/>
                      <a:pt x="1703" y="36"/>
                    </a:cubicBezTo>
                    <a:cubicBezTo>
                      <a:pt x="1697" y="36"/>
                      <a:pt x="1692" y="36"/>
                      <a:pt x="1686" y="37"/>
                    </a:cubicBezTo>
                    <a:cubicBezTo>
                      <a:pt x="1681" y="39"/>
                      <a:pt x="1676" y="40"/>
                      <a:pt x="1670" y="43"/>
                    </a:cubicBezTo>
                    <a:lnTo>
                      <a:pt x="1670" y="117"/>
                    </a:lnTo>
                    <a:close/>
                    <a:moveTo>
                      <a:pt x="1637" y="117"/>
                    </a:moveTo>
                    <a:cubicBezTo>
                      <a:pt x="1648" y="117"/>
                      <a:pt x="1648" y="117"/>
                      <a:pt x="1648" y="117"/>
                    </a:cubicBezTo>
                    <a:cubicBezTo>
                      <a:pt x="1648" y="37"/>
                      <a:pt x="1648" y="37"/>
                      <a:pt x="1648" y="37"/>
                    </a:cubicBezTo>
                    <a:cubicBezTo>
                      <a:pt x="1637" y="37"/>
                      <a:pt x="1637" y="37"/>
                      <a:pt x="1637" y="37"/>
                    </a:cubicBezTo>
                    <a:lnTo>
                      <a:pt x="1637" y="117"/>
                    </a:lnTo>
                    <a:close/>
                    <a:moveTo>
                      <a:pt x="1637" y="17"/>
                    </a:moveTo>
                    <a:cubicBezTo>
                      <a:pt x="1648" y="17"/>
                      <a:pt x="1648" y="17"/>
                      <a:pt x="1648" y="17"/>
                    </a:cubicBezTo>
                    <a:cubicBezTo>
                      <a:pt x="1648" y="6"/>
                      <a:pt x="1648" y="6"/>
                      <a:pt x="1648" y="6"/>
                    </a:cubicBezTo>
                    <a:cubicBezTo>
                      <a:pt x="1637" y="6"/>
                      <a:pt x="1637" y="6"/>
                      <a:pt x="1637" y="6"/>
                    </a:cubicBezTo>
                    <a:lnTo>
                      <a:pt x="1637" y="17"/>
                    </a:lnTo>
                    <a:close/>
                    <a:moveTo>
                      <a:pt x="1568" y="109"/>
                    </a:moveTo>
                    <a:cubicBezTo>
                      <a:pt x="1565" y="108"/>
                      <a:pt x="1562" y="106"/>
                      <a:pt x="1560" y="103"/>
                    </a:cubicBezTo>
                    <a:cubicBezTo>
                      <a:pt x="1558" y="100"/>
                      <a:pt x="1557" y="97"/>
                      <a:pt x="1556" y="92"/>
                    </a:cubicBezTo>
                    <a:cubicBezTo>
                      <a:pt x="1556" y="88"/>
                      <a:pt x="1556" y="82"/>
                      <a:pt x="1556" y="76"/>
                    </a:cubicBezTo>
                    <a:cubicBezTo>
                      <a:pt x="1556" y="69"/>
                      <a:pt x="1556" y="64"/>
                      <a:pt x="1557" y="60"/>
                    </a:cubicBezTo>
                    <a:cubicBezTo>
                      <a:pt x="1558" y="56"/>
                      <a:pt x="1559" y="52"/>
                      <a:pt x="1561" y="50"/>
                    </a:cubicBezTo>
                    <a:cubicBezTo>
                      <a:pt x="1563" y="47"/>
                      <a:pt x="1566" y="46"/>
                      <a:pt x="1569" y="45"/>
                    </a:cubicBezTo>
                    <a:cubicBezTo>
                      <a:pt x="1572" y="44"/>
                      <a:pt x="1576" y="43"/>
                      <a:pt x="1581" y="43"/>
                    </a:cubicBezTo>
                    <a:cubicBezTo>
                      <a:pt x="1585" y="43"/>
                      <a:pt x="1588" y="44"/>
                      <a:pt x="1592" y="45"/>
                    </a:cubicBezTo>
                    <a:cubicBezTo>
                      <a:pt x="1595" y="46"/>
                      <a:pt x="1597" y="48"/>
                      <a:pt x="1599" y="50"/>
                    </a:cubicBezTo>
                    <a:cubicBezTo>
                      <a:pt x="1602" y="53"/>
                      <a:pt x="1603" y="56"/>
                      <a:pt x="1604" y="61"/>
                    </a:cubicBezTo>
                    <a:cubicBezTo>
                      <a:pt x="1605" y="65"/>
                      <a:pt x="1606" y="70"/>
                      <a:pt x="1606" y="76"/>
                    </a:cubicBezTo>
                    <a:cubicBezTo>
                      <a:pt x="1606" y="82"/>
                      <a:pt x="1606" y="87"/>
                      <a:pt x="1605" y="92"/>
                    </a:cubicBezTo>
                    <a:cubicBezTo>
                      <a:pt x="1605" y="96"/>
                      <a:pt x="1603" y="100"/>
                      <a:pt x="1602" y="103"/>
                    </a:cubicBezTo>
                    <a:cubicBezTo>
                      <a:pt x="1600" y="106"/>
                      <a:pt x="1597" y="108"/>
                      <a:pt x="1594" y="109"/>
                    </a:cubicBezTo>
                    <a:cubicBezTo>
                      <a:pt x="1591" y="110"/>
                      <a:pt x="1587" y="111"/>
                      <a:pt x="1581" y="111"/>
                    </a:cubicBezTo>
                    <a:cubicBezTo>
                      <a:pt x="1576" y="111"/>
                      <a:pt x="1571" y="111"/>
                      <a:pt x="1568" y="109"/>
                    </a:cubicBezTo>
                    <a:close/>
                    <a:moveTo>
                      <a:pt x="1581" y="36"/>
                    </a:moveTo>
                    <a:cubicBezTo>
                      <a:pt x="1575" y="36"/>
                      <a:pt x="1569" y="36"/>
                      <a:pt x="1565" y="38"/>
                    </a:cubicBezTo>
                    <a:cubicBezTo>
                      <a:pt x="1560" y="39"/>
                      <a:pt x="1557" y="41"/>
                      <a:pt x="1554" y="45"/>
                    </a:cubicBezTo>
                    <a:cubicBezTo>
                      <a:pt x="1551" y="48"/>
                      <a:pt x="1548" y="52"/>
                      <a:pt x="1547" y="57"/>
                    </a:cubicBezTo>
                    <a:cubicBezTo>
                      <a:pt x="1546" y="62"/>
                      <a:pt x="1545" y="68"/>
                      <a:pt x="1545" y="75"/>
                    </a:cubicBezTo>
                    <a:cubicBezTo>
                      <a:pt x="1545" y="83"/>
                      <a:pt x="1545" y="90"/>
                      <a:pt x="1547" y="95"/>
                    </a:cubicBezTo>
                    <a:cubicBezTo>
                      <a:pt x="1548" y="101"/>
                      <a:pt x="1550" y="105"/>
                      <a:pt x="1552" y="109"/>
                    </a:cubicBezTo>
                    <a:cubicBezTo>
                      <a:pt x="1555" y="112"/>
                      <a:pt x="1559" y="114"/>
                      <a:pt x="1563" y="116"/>
                    </a:cubicBezTo>
                    <a:cubicBezTo>
                      <a:pt x="1568" y="118"/>
                      <a:pt x="1574" y="118"/>
                      <a:pt x="1581" y="118"/>
                    </a:cubicBezTo>
                    <a:cubicBezTo>
                      <a:pt x="1588" y="118"/>
                      <a:pt x="1594" y="117"/>
                      <a:pt x="1599" y="116"/>
                    </a:cubicBezTo>
                    <a:cubicBezTo>
                      <a:pt x="1603" y="114"/>
                      <a:pt x="1607" y="111"/>
                      <a:pt x="1610" y="108"/>
                    </a:cubicBezTo>
                    <a:cubicBezTo>
                      <a:pt x="1612" y="104"/>
                      <a:pt x="1614" y="100"/>
                      <a:pt x="1615" y="95"/>
                    </a:cubicBezTo>
                    <a:cubicBezTo>
                      <a:pt x="1616" y="89"/>
                      <a:pt x="1617" y="83"/>
                      <a:pt x="1617" y="76"/>
                    </a:cubicBezTo>
                    <a:cubicBezTo>
                      <a:pt x="1617" y="69"/>
                      <a:pt x="1616" y="63"/>
                      <a:pt x="1614" y="57"/>
                    </a:cubicBezTo>
                    <a:cubicBezTo>
                      <a:pt x="1613" y="52"/>
                      <a:pt x="1610" y="48"/>
                      <a:pt x="1607" y="45"/>
                    </a:cubicBezTo>
                    <a:cubicBezTo>
                      <a:pt x="1604" y="42"/>
                      <a:pt x="1601" y="40"/>
                      <a:pt x="1596" y="38"/>
                    </a:cubicBezTo>
                    <a:cubicBezTo>
                      <a:pt x="1592" y="37"/>
                      <a:pt x="1587" y="36"/>
                      <a:pt x="1581" y="36"/>
                    </a:cubicBezTo>
                    <a:close/>
                    <a:moveTo>
                      <a:pt x="1516" y="117"/>
                    </a:moveTo>
                    <a:cubicBezTo>
                      <a:pt x="1526" y="117"/>
                      <a:pt x="1526" y="117"/>
                      <a:pt x="1526" y="117"/>
                    </a:cubicBezTo>
                    <a:cubicBezTo>
                      <a:pt x="1526" y="5"/>
                      <a:pt x="1526" y="5"/>
                      <a:pt x="1526" y="5"/>
                    </a:cubicBezTo>
                    <a:cubicBezTo>
                      <a:pt x="1516" y="5"/>
                      <a:pt x="1516" y="5"/>
                      <a:pt x="1516" y="5"/>
                    </a:cubicBezTo>
                    <a:lnTo>
                      <a:pt x="1516" y="117"/>
                    </a:lnTo>
                    <a:close/>
                    <a:moveTo>
                      <a:pt x="1408" y="115"/>
                    </a:moveTo>
                    <a:cubicBezTo>
                      <a:pt x="1412" y="116"/>
                      <a:pt x="1415" y="116"/>
                      <a:pt x="1419" y="117"/>
                    </a:cubicBezTo>
                    <a:cubicBezTo>
                      <a:pt x="1422" y="117"/>
                      <a:pt x="1426" y="117"/>
                      <a:pt x="1429" y="117"/>
                    </a:cubicBezTo>
                    <a:cubicBezTo>
                      <a:pt x="1432" y="117"/>
                      <a:pt x="1432" y="117"/>
                      <a:pt x="1432" y="117"/>
                    </a:cubicBezTo>
                    <a:cubicBezTo>
                      <a:pt x="1434" y="117"/>
                      <a:pt x="1437" y="117"/>
                      <a:pt x="1440" y="117"/>
                    </a:cubicBezTo>
                    <a:cubicBezTo>
                      <a:pt x="1443" y="116"/>
                      <a:pt x="1446" y="115"/>
                      <a:pt x="1448" y="114"/>
                    </a:cubicBezTo>
                    <a:cubicBezTo>
                      <a:pt x="1451" y="113"/>
                      <a:pt x="1453" y="111"/>
                      <a:pt x="1455" y="108"/>
                    </a:cubicBezTo>
                    <a:cubicBezTo>
                      <a:pt x="1457" y="106"/>
                      <a:pt x="1457" y="102"/>
                      <a:pt x="1457" y="98"/>
                    </a:cubicBezTo>
                    <a:cubicBezTo>
                      <a:pt x="1457" y="96"/>
                      <a:pt x="1457" y="94"/>
                      <a:pt x="1456" y="91"/>
                    </a:cubicBezTo>
                    <a:cubicBezTo>
                      <a:pt x="1455" y="88"/>
                      <a:pt x="1453" y="85"/>
                      <a:pt x="1450" y="83"/>
                    </a:cubicBezTo>
                    <a:cubicBezTo>
                      <a:pt x="1449" y="82"/>
                      <a:pt x="1448" y="81"/>
                      <a:pt x="1447" y="80"/>
                    </a:cubicBezTo>
                    <a:cubicBezTo>
                      <a:pt x="1445" y="79"/>
                      <a:pt x="1444" y="78"/>
                      <a:pt x="1442" y="77"/>
                    </a:cubicBezTo>
                    <a:cubicBezTo>
                      <a:pt x="1440" y="76"/>
                      <a:pt x="1438" y="74"/>
                      <a:pt x="1436" y="73"/>
                    </a:cubicBezTo>
                    <a:cubicBezTo>
                      <a:pt x="1434" y="72"/>
                      <a:pt x="1432" y="70"/>
                      <a:pt x="1430" y="69"/>
                    </a:cubicBezTo>
                    <a:cubicBezTo>
                      <a:pt x="1426" y="67"/>
                      <a:pt x="1424" y="64"/>
                      <a:pt x="1422" y="62"/>
                    </a:cubicBezTo>
                    <a:cubicBezTo>
                      <a:pt x="1421" y="61"/>
                      <a:pt x="1420" y="58"/>
                      <a:pt x="1420" y="55"/>
                    </a:cubicBezTo>
                    <a:cubicBezTo>
                      <a:pt x="1420" y="53"/>
                      <a:pt x="1420" y="53"/>
                      <a:pt x="1420" y="53"/>
                    </a:cubicBezTo>
                    <a:cubicBezTo>
                      <a:pt x="1420" y="50"/>
                      <a:pt x="1422" y="48"/>
                      <a:pt x="1424" y="46"/>
                    </a:cubicBezTo>
                    <a:cubicBezTo>
                      <a:pt x="1426" y="44"/>
                      <a:pt x="1430" y="43"/>
                      <a:pt x="1435" y="43"/>
                    </a:cubicBezTo>
                    <a:cubicBezTo>
                      <a:pt x="1438" y="43"/>
                      <a:pt x="1438" y="43"/>
                      <a:pt x="1438" y="43"/>
                    </a:cubicBezTo>
                    <a:cubicBezTo>
                      <a:pt x="1441" y="43"/>
                      <a:pt x="1444" y="43"/>
                      <a:pt x="1446" y="43"/>
                    </a:cubicBezTo>
                    <a:cubicBezTo>
                      <a:pt x="1449" y="43"/>
                      <a:pt x="1452" y="44"/>
                      <a:pt x="1456" y="44"/>
                    </a:cubicBezTo>
                    <a:cubicBezTo>
                      <a:pt x="1457" y="37"/>
                      <a:pt x="1457" y="37"/>
                      <a:pt x="1457" y="37"/>
                    </a:cubicBezTo>
                    <a:cubicBezTo>
                      <a:pt x="1455" y="37"/>
                      <a:pt x="1453" y="37"/>
                      <a:pt x="1451" y="37"/>
                    </a:cubicBezTo>
                    <a:cubicBezTo>
                      <a:pt x="1449" y="36"/>
                      <a:pt x="1448" y="36"/>
                      <a:pt x="1446" y="36"/>
                    </a:cubicBezTo>
                    <a:cubicBezTo>
                      <a:pt x="1444" y="36"/>
                      <a:pt x="1443" y="36"/>
                      <a:pt x="1441" y="36"/>
                    </a:cubicBezTo>
                    <a:cubicBezTo>
                      <a:pt x="1439" y="36"/>
                      <a:pt x="1437" y="36"/>
                      <a:pt x="1435" y="36"/>
                    </a:cubicBezTo>
                    <a:cubicBezTo>
                      <a:pt x="1431" y="36"/>
                      <a:pt x="1427" y="36"/>
                      <a:pt x="1424" y="37"/>
                    </a:cubicBezTo>
                    <a:cubicBezTo>
                      <a:pt x="1421" y="38"/>
                      <a:pt x="1418" y="39"/>
                      <a:pt x="1416" y="41"/>
                    </a:cubicBezTo>
                    <a:cubicBezTo>
                      <a:pt x="1414" y="42"/>
                      <a:pt x="1412" y="44"/>
                      <a:pt x="1411" y="46"/>
                    </a:cubicBezTo>
                    <a:cubicBezTo>
                      <a:pt x="1410" y="48"/>
                      <a:pt x="1410" y="50"/>
                      <a:pt x="1410" y="52"/>
                    </a:cubicBezTo>
                    <a:cubicBezTo>
                      <a:pt x="1410" y="55"/>
                      <a:pt x="1410" y="55"/>
                      <a:pt x="1410" y="55"/>
                    </a:cubicBezTo>
                    <a:cubicBezTo>
                      <a:pt x="1410" y="57"/>
                      <a:pt x="1410" y="59"/>
                      <a:pt x="1410" y="61"/>
                    </a:cubicBezTo>
                    <a:cubicBezTo>
                      <a:pt x="1411" y="63"/>
                      <a:pt x="1412" y="65"/>
                      <a:pt x="1413" y="66"/>
                    </a:cubicBezTo>
                    <a:cubicBezTo>
                      <a:pt x="1414" y="68"/>
                      <a:pt x="1416" y="70"/>
                      <a:pt x="1417" y="71"/>
                    </a:cubicBezTo>
                    <a:cubicBezTo>
                      <a:pt x="1419" y="72"/>
                      <a:pt x="1421" y="74"/>
                      <a:pt x="1424" y="75"/>
                    </a:cubicBezTo>
                    <a:cubicBezTo>
                      <a:pt x="1425" y="77"/>
                      <a:pt x="1427" y="78"/>
                      <a:pt x="1429" y="79"/>
                    </a:cubicBezTo>
                    <a:cubicBezTo>
                      <a:pt x="1431" y="80"/>
                      <a:pt x="1433" y="82"/>
                      <a:pt x="1435" y="83"/>
                    </a:cubicBezTo>
                    <a:cubicBezTo>
                      <a:pt x="1436" y="84"/>
                      <a:pt x="1438" y="85"/>
                      <a:pt x="1439" y="86"/>
                    </a:cubicBezTo>
                    <a:cubicBezTo>
                      <a:pt x="1440" y="87"/>
                      <a:pt x="1441" y="88"/>
                      <a:pt x="1442" y="89"/>
                    </a:cubicBezTo>
                    <a:cubicBezTo>
                      <a:pt x="1444" y="90"/>
                      <a:pt x="1445" y="92"/>
                      <a:pt x="1446" y="94"/>
                    </a:cubicBezTo>
                    <a:cubicBezTo>
                      <a:pt x="1446" y="95"/>
                      <a:pt x="1447" y="97"/>
                      <a:pt x="1447" y="99"/>
                    </a:cubicBezTo>
                    <a:cubicBezTo>
                      <a:pt x="1447" y="101"/>
                      <a:pt x="1446" y="103"/>
                      <a:pt x="1446" y="105"/>
                    </a:cubicBezTo>
                    <a:cubicBezTo>
                      <a:pt x="1445" y="107"/>
                      <a:pt x="1444" y="108"/>
                      <a:pt x="1442" y="109"/>
                    </a:cubicBezTo>
                    <a:cubicBezTo>
                      <a:pt x="1441" y="109"/>
                      <a:pt x="1439" y="110"/>
                      <a:pt x="1437" y="110"/>
                    </a:cubicBezTo>
                    <a:cubicBezTo>
                      <a:pt x="1435" y="111"/>
                      <a:pt x="1433" y="111"/>
                      <a:pt x="1431" y="111"/>
                    </a:cubicBezTo>
                    <a:cubicBezTo>
                      <a:pt x="1428" y="111"/>
                      <a:pt x="1428" y="111"/>
                      <a:pt x="1428" y="111"/>
                    </a:cubicBezTo>
                    <a:cubicBezTo>
                      <a:pt x="1426" y="111"/>
                      <a:pt x="1423" y="111"/>
                      <a:pt x="1420" y="110"/>
                    </a:cubicBezTo>
                    <a:cubicBezTo>
                      <a:pt x="1417" y="110"/>
                      <a:pt x="1413" y="109"/>
                      <a:pt x="1409" y="109"/>
                    </a:cubicBezTo>
                    <a:lnTo>
                      <a:pt x="1408" y="115"/>
                    </a:lnTo>
                    <a:close/>
                    <a:moveTo>
                      <a:pt x="1390" y="37"/>
                    </a:moveTo>
                    <a:cubicBezTo>
                      <a:pt x="1379" y="37"/>
                      <a:pt x="1379" y="37"/>
                      <a:pt x="1379" y="37"/>
                    </a:cubicBezTo>
                    <a:cubicBezTo>
                      <a:pt x="1379" y="107"/>
                      <a:pt x="1379" y="107"/>
                      <a:pt x="1379" y="107"/>
                    </a:cubicBezTo>
                    <a:cubicBezTo>
                      <a:pt x="1376" y="108"/>
                      <a:pt x="1373" y="109"/>
                      <a:pt x="1369" y="110"/>
                    </a:cubicBezTo>
                    <a:cubicBezTo>
                      <a:pt x="1366" y="111"/>
                      <a:pt x="1362" y="111"/>
                      <a:pt x="1359" y="111"/>
                    </a:cubicBezTo>
                    <a:cubicBezTo>
                      <a:pt x="1350" y="111"/>
                      <a:pt x="1344" y="109"/>
                      <a:pt x="1340" y="104"/>
                    </a:cubicBezTo>
                    <a:cubicBezTo>
                      <a:pt x="1337" y="99"/>
                      <a:pt x="1335" y="90"/>
                      <a:pt x="1335" y="79"/>
                    </a:cubicBezTo>
                    <a:cubicBezTo>
                      <a:pt x="1335" y="38"/>
                      <a:pt x="1335" y="38"/>
                      <a:pt x="1335" y="38"/>
                    </a:cubicBezTo>
                    <a:cubicBezTo>
                      <a:pt x="1324" y="38"/>
                      <a:pt x="1324" y="38"/>
                      <a:pt x="1324" y="38"/>
                    </a:cubicBezTo>
                    <a:cubicBezTo>
                      <a:pt x="1324" y="79"/>
                      <a:pt x="1324" y="79"/>
                      <a:pt x="1324" y="79"/>
                    </a:cubicBezTo>
                    <a:cubicBezTo>
                      <a:pt x="1324" y="86"/>
                      <a:pt x="1325" y="92"/>
                      <a:pt x="1326" y="97"/>
                    </a:cubicBezTo>
                    <a:cubicBezTo>
                      <a:pt x="1327" y="102"/>
                      <a:pt x="1329" y="106"/>
                      <a:pt x="1332" y="109"/>
                    </a:cubicBezTo>
                    <a:cubicBezTo>
                      <a:pt x="1335" y="112"/>
                      <a:pt x="1338" y="114"/>
                      <a:pt x="1343" y="116"/>
                    </a:cubicBezTo>
                    <a:cubicBezTo>
                      <a:pt x="1347" y="118"/>
                      <a:pt x="1352" y="118"/>
                      <a:pt x="1359" y="118"/>
                    </a:cubicBezTo>
                    <a:cubicBezTo>
                      <a:pt x="1363" y="118"/>
                      <a:pt x="1368" y="118"/>
                      <a:pt x="1373" y="117"/>
                    </a:cubicBezTo>
                    <a:cubicBezTo>
                      <a:pt x="1378" y="116"/>
                      <a:pt x="1384" y="114"/>
                      <a:pt x="1390" y="112"/>
                    </a:cubicBezTo>
                    <a:lnTo>
                      <a:pt x="1390" y="37"/>
                    </a:lnTo>
                    <a:close/>
                    <a:moveTo>
                      <a:pt x="1293" y="117"/>
                    </a:moveTo>
                    <a:cubicBezTo>
                      <a:pt x="1304" y="117"/>
                      <a:pt x="1304" y="117"/>
                      <a:pt x="1304" y="117"/>
                    </a:cubicBezTo>
                    <a:cubicBezTo>
                      <a:pt x="1304" y="5"/>
                      <a:pt x="1304" y="5"/>
                      <a:pt x="1304" y="5"/>
                    </a:cubicBezTo>
                    <a:cubicBezTo>
                      <a:pt x="1293" y="5"/>
                      <a:pt x="1293" y="5"/>
                      <a:pt x="1293" y="5"/>
                    </a:cubicBezTo>
                    <a:lnTo>
                      <a:pt x="1293" y="117"/>
                    </a:lnTo>
                    <a:close/>
                    <a:moveTo>
                      <a:pt x="1218" y="44"/>
                    </a:moveTo>
                    <a:cubicBezTo>
                      <a:pt x="1220" y="43"/>
                      <a:pt x="1222" y="43"/>
                      <a:pt x="1225" y="43"/>
                    </a:cubicBezTo>
                    <a:cubicBezTo>
                      <a:pt x="1228" y="43"/>
                      <a:pt x="1230" y="43"/>
                      <a:pt x="1232" y="43"/>
                    </a:cubicBezTo>
                    <a:cubicBezTo>
                      <a:pt x="1238" y="43"/>
                      <a:pt x="1243" y="44"/>
                      <a:pt x="1247" y="45"/>
                    </a:cubicBezTo>
                    <a:cubicBezTo>
                      <a:pt x="1251" y="47"/>
                      <a:pt x="1254" y="49"/>
                      <a:pt x="1257" y="52"/>
                    </a:cubicBezTo>
                    <a:cubicBezTo>
                      <a:pt x="1259" y="55"/>
                      <a:pt x="1260" y="58"/>
                      <a:pt x="1261" y="63"/>
                    </a:cubicBezTo>
                    <a:cubicBezTo>
                      <a:pt x="1262" y="67"/>
                      <a:pt x="1262" y="72"/>
                      <a:pt x="1262" y="78"/>
                    </a:cubicBezTo>
                    <a:cubicBezTo>
                      <a:pt x="1262" y="84"/>
                      <a:pt x="1262" y="89"/>
                      <a:pt x="1261" y="93"/>
                    </a:cubicBezTo>
                    <a:cubicBezTo>
                      <a:pt x="1260" y="97"/>
                      <a:pt x="1259" y="101"/>
                      <a:pt x="1258" y="103"/>
                    </a:cubicBezTo>
                    <a:cubicBezTo>
                      <a:pt x="1256" y="106"/>
                      <a:pt x="1254" y="108"/>
                      <a:pt x="1251" y="109"/>
                    </a:cubicBezTo>
                    <a:cubicBezTo>
                      <a:pt x="1249" y="110"/>
                      <a:pt x="1245" y="111"/>
                      <a:pt x="1241" y="111"/>
                    </a:cubicBezTo>
                    <a:cubicBezTo>
                      <a:pt x="1236" y="111"/>
                      <a:pt x="1232" y="111"/>
                      <a:pt x="1228" y="110"/>
                    </a:cubicBezTo>
                    <a:cubicBezTo>
                      <a:pt x="1224" y="109"/>
                      <a:pt x="1220" y="108"/>
                      <a:pt x="1218" y="107"/>
                    </a:cubicBezTo>
                    <a:lnTo>
                      <a:pt x="1218" y="44"/>
                    </a:lnTo>
                    <a:close/>
                    <a:moveTo>
                      <a:pt x="1218" y="114"/>
                    </a:moveTo>
                    <a:cubicBezTo>
                      <a:pt x="1220" y="115"/>
                      <a:pt x="1224" y="116"/>
                      <a:pt x="1228" y="117"/>
                    </a:cubicBezTo>
                    <a:cubicBezTo>
                      <a:pt x="1232" y="118"/>
                      <a:pt x="1236" y="118"/>
                      <a:pt x="1241" y="118"/>
                    </a:cubicBezTo>
                    <a:cubicBezTo>
                      <a:pt x="1247" y="118"/>
                      <a:pt x="1252" y="117"/>
                      <a:pt x="1256" y="116"/>
                    </a:cubicBezTo>
                    <a:cubicBezTo>
                      <a:pt x="1260" y="114"/>
                      <a:pt x="1264" y="112"/>
                      <a:pt x="1266" y="108"/>
                    </a:cubicBezTo>
                    <a:cubicBezTo>
                      <a:pt x="1268" y="105"/>
                      <a:pt x="1270" y="101"/>
                      <a:pt x="1271" y="96"/>
                    </a:cubicBezTo>
                    <a:cubicBezTo>
                      <a:pt x="1272" y="91"/>
                      <a:pt x="1273" y="85"/>
                      <a:pt x="1273" y="79"/>
                    </a:cubicBezTo>
                    <a:cubicBezTo>
                      <a:pt x="1273" y="71"/>
                      <a:pt x="1272" y="65"/>
                      <a:pt x="1271" y="60"/>
                    </a:cubicBezTo>
                    <a:cubicBezTo>
                      <a:pt x="1270" y="54"/>
                      <a:pt x="1267" y="50"/>
                      <a:pt x="1264" y="46"/>
                    </a:cubicBezTo>
                    <a:cubicBezTo>
                      <a:pt x="1261" y="43"/>
                      <a:pt x="1257" y="40"/>
                      <a:pt x="1251" y="38"/>
                    </a:cubicBezTo>
                    <a:cubicBezTo>
                      <a:pt x="1246" y="37"/>
                      <a:pt x="1239" y="36"/>
                      <a:pt x="1230" y="36"/>
                    </a:cubicBezTo>
                    <a:cubicBezTo>
                      <a:pt x="1226" y="36"/>
                      <a:pt x="1222" y="36"/>
                      <a:pt x="1219" y="36"/>
                    </a:cubicBezTo>
                    <a:cubicBezTo>
                      <a:pt x="1215" y="36"/>
                      <a:pt x="1211" y="37"/>
                      <a:pt x="1207" y="37"/>
                    </a:cubicBezTo>
                    <a:cubicBezTo>
                      <a:pt x="1207" y="148"/>
                      <a:pt x="1207" y="148"/>
                      <a:pt x="1207" y="148"/>
                    </a:cubicBezTo>
                    <a:cubicBezTo>
                      <a:pt x="1218" y="148"/>
                      <a:pt x="1218" y="148"/>
                      <a:pt x="1218" y="148"/>
                    </a:cubicBezTo>
                    <a:lnTo>
                      <a:pt x="1218" y="114"/>
                    </a:lnTo>
                    <a:close/>
                    <a:moveTo>
                      <a:pt x="1113" y="117"/>
                    </a:moveTo>
                    <a:cubicBezTo>
                      <a:pt x="1124" y="117"/>
                      <a:pt x="1124" y="117"/>
                      <a:pt x="1124" y="117"/>
                    </a:cubicBezTo>
                    <a:cubicBezTo>
                      <a:pt x="1124" y="47"/>
                      <a:pt x="1124" y="47"/>
                      <a:pt x="1124" y="47"/>
                    </a:cubicBezTo>
                    <a:cubicBezTo>
                      <a:pt x="1126" y="46"/>
                      <a:pt x="1130" y="45"/>
                      <a:pt x="1134" y="44"/>
                    </a:cubicBezTo>
                    <a:cubicBezTo>
                      <a:pt x="1138" y="43"/>
                      <a:pt x="1142" y="43"/>
                      <a:pt x="1146" y="43"/>
                    </a:cubicBezTo>
                    <a:cubicBezTo>
                      <a:pt x="1147" y="43"/>
                      <a:pt x="1149" y="43"/>
                      <a:pt x="1150" y="43"/>
                    </a:cubicBezTo>
                    <a:cubicBezTo>
                      <a:pt x="1151" y="43"/>
                      <a:pt x="1152" y="43"/>
                      <a:pt x="1154" y="44"/>
                    </a:cubicBezTo>
                    <a:cubicBezTo>
                      <a:pt x="1155" y="36"/>
                      <a:pt x="1155" y="36"/>
                      <a:pt x="1155" y="36"/>
                    </a:cubicBezTo>
                    <a:cubicBezTo>
                      <a:pt x="1153" y="36"/>
                      <a:pt x="1151" y="36"/>
                      <a:pt x="1150" y="36"/>
                    </a:cubicBezTo>
                    <a:cubicBezTo>
                      <a:pt x="1149" y="36"/>
                      <a:pt x="1148" y="36"/>
                      <a:pt x="1146" y="36"/>
                    </a:cubicBezTo>
                    <a:cubicBezTo>
                      <a:pt x="1141" y="36"/>
                      <a:pt x="1135" y="36"/>
                      <a:pt x="1130" y="38"/>
                    </a:cubicBezTo>
                    <a:cubicBezTo>
                      <a:pt x="1125" y="39"/>
                      <a:pt x="1119" y="40"/>
                      <a:pt x="1113" y="43"/>
                    </a:cubicBezTo>
                    <a:lnTo>
                      <a:pt x="1113" y="117"/>
                    </a:lnTo>
                    <a:close/>
                    <a:moveTo>
                      <a:pt x="1036" y="73"/>
                    </a:moveTo>
                    <a:cubicBezTo>
                      <a:pt x="1036" y="62"/>
                      <a:pt x="1038" y="54"/>
                      <a:pt x="1042" y="50"/>
                    </a:cubicBezTo>
                    <a:cubicBezTo>
                      <a:pt x="1046" y="45"/>
                      <a:pt x="1051" y="43"/>
                      <a:pt x="1059" y="43"/>
                    </a:cubicBezTo>
                    <a:cubicBezTo>
                      <a:pt x="1068" y="43"/>
                      <a:pt x="1074" y="45"/>
                      <a:pt x="1077" y="50"/>
                    </a:cubicBezTo>
                    <a:cubicBezTo>
                      <a:pt x="1081" y="54"/>
                      <a:pt x="1083" y="62"/>
                      <a:pt x="1083" y="73"/>
                    </a:cubicBezTo>
                    <a:lnTo>
                      <a:pt x="1036" y="73"/>
                    </a:lnTo>
                    <a:close/>
                    <a:moveTo>
                      <a:pt x="1090" y="107"/>
                    </a:moveTo>
                    <a:cubicBezTo>
                      <a:pt x="1088" y="107"/>
                      <a:pt x="1086" y="107"/>
                      <a:pt x="1084" y="108"/>
                    </a:cubicBezTo>
                    <a:cubicBezTo>
                      <a:pt x="1081" y="108"/>
                      <a:pt x="1079" y="109"/>
                      <a:pt x="1076" y="109"/>
                    </a:cubicBezTo>
                    <a:cubicBezTo>
                      <a:pt x="1073" y="110"/>
                      <a:pt x="1071" y="110"/>
                      <a:pt x="1068" y="111"/>
                    </a:cubicBezTo>
                    <a:cubicBezTo>
                      <a:pt x="1065" y="111"/>
                      <a:pt x="1063" y="111"/>
                      <a:pt x="1060" y="111"/>
                    </a:cubicBezTo>
                    <a:cubicBezTo>
                      <a:pt x="1056" y="111"/>
                      <a:pt x="1052" y="110"/>
                      <a:pt x="1049" y="109"/>
                    </a:cubicBezTo>
                    <a:cubicBezTo>
                      <a:pt x="1046" y="108"/>
                      <a:pt x="1043" y="106"/>
                      <a:pt x="1041" y="103"/>
                    </a:cubicBezTo>
                    <a:cubicBezTo>
                      <a:pt x="1040" y="101"/>
                      <a:pt x="1038" y="97"/>
                      <a:pt x="1037" y="93"/>
                    </a:cubicBezTo>
                    <a:cubicBezTo>
                      <a:pt x="1037" y="90"/>
                      <a:pt x="1036" y="85"/>
                      <a:pt x="1036" y="80"/>
                    </a:cubicBezTo>
                    <a:cubicBezTo>
                      <a:pt x="1094" y="80"/>
                      <a:pt x="1094" y="80"/>
                      <a:pt x="1094" y="80"/>
                    </a:cubicBezTo>
                    <a:cubicBezTo>
                      <a:pt x="1094" y="74"/>
                      <a:pt x="1094" y="74"/>
                      <a:pt x="1094" y="74"/>
                    </a:cubicBezTo>
                    <a:cubicBezTo>
                      <a:pt x="1094" y="60"/>
                      <a:pt x="1091" y="51"/>
                      <a:pt x="1085" y="45"/>
                    </a:cubicBezTo>
                    <a:cubicBezTo>
                      <a:pt x="1079" y="39"/>
                      <a:pt x="1071" y="36"/>
                      <a:pt x="1059" y="36"/>
                    </a:cubicBezTo>
                    <a:cubicBezTo>
                      <a:pt x="1054" y="36"/>
                      <a:pt x="1049" y="36"/>
                      <a:pt x="1045" y="38"/>
                    </a:cubicBezTo>
                    <a:cubicBezTo>
                      <a:pt x="1041" y="39"/>
                      <a:pt x="1037" y="41"/>
                      <a:pt x="1034" y="45"/>
                    </a:cubicBezTo>
                    <a:cubicBezTo>
                      <a:pt x="1031" y="48"/>
                      <a:pt x="1029" y="52"/>
                      <a:pt x="1028" y="57"/>
                    </a:cubicBezTo>
                    <a:cubicBezTo>
                      <a:pt x="1026" y="63"/>
                      <a:pt x="1025" y="69"/>
                      <a:pt x="1025" y="77"/>
                    </a:cubicBezTo>
                    <a:cubicBezTo>
                      <a:pt x="1025" y="83"/>
                      <a:pt x="1026" y="89"/>
                      <a:pt x="1027" y="94"/>
                    </a:cubicBezTo>
                    <a:cubicBezTo>
                      <a:pt x="1028" y="99"/>
                      <a:pt x="1030" y="104"/>
                      <a:pt x="1032" y="107"/>
                    </a:cubicBezTo>
                    <a:cubicBezTo>
                      <a:pt x="1035" y="111"/>
                      <a:pt x="1039" y="113"/>
                      <a:pt x="1043" y="115"/>
                    </a:cubicBezTo>
                    <a:cubicBezTo>
                      <a:pt x="1048" y="117"/>
                      <a:pt x="1053" y="118"/>
                      <a:pt x="1060" y="118"/>
                    </a:cubicBezTo>
                    <a:cubicBezTo>
                      <a:pt x="1063" y="118"/>
                      <a:pt x="1066" y="118"/>
                      <a:pt x="1068" y="118"/>
                    </a:cubicBezTo>
                    <a:cubicBezTo>
                      <a:pt x="1071" y="117"/>
                      <a:pt x="1074" y="117"/>
                      <a:pt x="1077" y="116"/>
                    </a:cubicBezTo>
                    <a:cubicBezTo>
                      <a:pt x="1080" y="116"/>
                      <a:pt x="1082" y="116"/>
                      <a:pt x="1085" y="115"/>
                    </a:cubicBezTo>
                    <a:cubicBezTo>
                      <a:pt x="1087" y="115"/>
                      <a:pt x="1089" y="114"/>
                      <a:pt x="1091" y="114"/>
                    </a:cubicBezTo>
                    <a:lnTo>
                      <a:pt x="1090" y="107"/>
                    </a:lnTo>
                    <a:close/>
                    <a:moveTo>
                      <a:pt x="996" y="117"/>
                    </a:moveTo>
                    <a:cubicBezTo>
                      <a:pt x="1007" y="117"/>
                      <a:pt x="1007" y="117"/>
                      <a:pt x="1007" y="117"/>
                    </a:cubicBezTo>
                    <a:cubicBezTo>
                      <a:pt x="1007" y="5"/>
                      <a:pt x="1007" y="5"/>
                      <a:pt x="1007" y="5"/>
                    </a:cubicBezTo>
                    <a:cubicBezTo>
                      <a:pt x="996" y="5"/>
                      <a:pt x="996" y="5"/>
                      <a:pt x="996" y="5"/>
                    </a:cubicBezTo>
                    <a:lnTo>
                      <a:pt x="996" y="117"/>
                    </a:lnTo>
                    <a:close/>
                    <a:moveTo>
                      <a:pt x="963" y="117"/>
                    </a:moveTo>
                    <a:cubicBezTo>
                      <a:pt x="974" y="117"/>
                      <a:pt x="974" y="117"/>
                      <a:pt x="974" y="117"/>
                    </a:cubicBezTo>
                    <a:cubicBezTo>
                      <a:pt x="974" y="5"/>
                      <a:pt x="974" y="5"/>
                      <a:pt x="974" y="5"/>
                    </a:cubicBezTo>
                    <a:cubicBezTo>
                      <a:pt x="963" y="5"/>
                      <a:pt x="963" y="5"/>
                      <a:pt x="963" y="5"/>
                    </a:cubicBezTo>
                    <a:lnTo>
                      <a:pt x="963" y="117"/>
                    </a:lnTo>
                    <a:close/>
                    <a:moveTo>
                      <a:pt x="930" y="107"/>
                    </a:moveTo>
                    <a:cubicBezTo>
                      <a:pt x="927" y="108"/>
                      <a:pt x="923" y="108"/>
                      <a:pt x="918" y="109"/>
                    </a:cubicBezTo>
                    <a:cubicBezTo>
                      <a:pt x="913" y="110"/>
                      <a:pt x="908" y="111"/>
                      <a:pt x="903" y="111"/>
                    </a:cubicBezTo>
                    <a:cubicBezTo>
                      <a:pt x="899" y="111"/>
                      <a:pt x="895" y="109"/>
                      <a:pt x="893" y="106"/>
                    </a:cubicBezTo>
                    <a:cubicBezTo>
                      <a:pt x="890" y="103"/>
                      <a:pt x="889" y="99"/>
                      <a:pt x="889" y="94"/>
                    </a:cubicBezTo>
                    <a:cubicBezTo>
                      <a:pt x="889" y="90"/>
                      <a:pt x="890" y="86"/>
                      <a:pt x="893" y="83"/>
                    </a:cubicBezTo>
                    <a:cubicBezTo>
                      <a:pt x="895" y="80"/>
                      <a:pt x="899" y="78"/>
                      <a:pt x="906" y="78"/>
                    </a:cubicBezTo>
                    <a:cubicBezTo>
                      <a:pt x="930" y="76"/>
                      <a:pt x="930" y="76"/>
                      <a:pt x="930" y="76"/>
                    </a:cubicBezTo>
                    <a:lnTo>
                      <a:pt x="930" y="107"/>
                    </a:lnTo>
                    <a:close/>
                    <a:moveTo>
                      <a:pt x="886" y="45"/>
                    </a:moveTo>
                    <a:cubicBezTo>
                      <a:pt x="891" y="45"/>
                      <a:pt x="896" y="44"/>
                      <a:pt x="900" y="44"/>
                    </a:cubicBezTo>
                    <a:cubicBezTo>
                      <a:pt x="905" y="43"/>
                      <a:pt x="909" y="43"/>
                      <a:pt x="913" y="43"/>
                    </a:cubicBezTo>
                    <a:cubicBezTo>
                      <a:pt x="919" y="43"/>
                      <a:pt x="923" y="45"/>
                      <a:pt x="926" y="47"/>
                    </a:cubicBezTo>
                    <a:cubicBezTo>
                      <a:pt x="929" y="50"/>
                      <a:pt x="930" y="54"/>
                      <a:pt x="930" y="61"/>
                    </a:cubicBezTo>
                    <a:cubicBezTo>
                      <a:pt x="930" y="69"/>
                      <a:pt x="930" y="69"/>
                      <a:pt x="930" y="69"/>
                    </a:cubicBezTo>
                    <a:cubicBezTo>
                      <a:pt x="905" y="71"/>
                      <a:pt x="905" y="71"/>
                      <a:pt x="905" y="71"/>
                    </a:cubicBezTo>
                    <a:cubicBezTo>
                      <a:pt x="895" y="72"/>
                      <a:pt x="889" y="74"/>
                      <a:pt x="885" y="78"/>
                    </a:cubicBezTo>
                    <a:cubicBezTo>
                      <a:pt x="881" y="82"/>
                      <a:pt x="879" y="88"/>
                      <a:pt x="879" y="94"/>
                    </a:cubicBezTo>
                    <a:cubicBezTo>
                      <a:pt x="879" y="102"/>
                      <a:pt x="881" y="108"/>
                      <a:pt x="885" y="112"/>
                    </a:cubicBezTo>
                    <a:cubicBezTo>
                      <a:pt x="889" y="116"/>
                      <a:pt x="895" y="118"/>
                      <a:pt x="903" y="118"/>
                    </a:cubicBezTo>
                    <a:cubicBezTo>
                      <a:pt x="911" y="118"/>
                      <a:pt x="918" y="117"/>
                      <a:pt x="924" y="116"/>
                    </a:cubicBezTo>
                    <a:cubicBezTo>
                      <a:pt x="931" y="114"/>
                      <a:pt x="936" y="113"/>
                      <a:pt x="941" y="111"/>
                    </a:cubicBezTo>
                    <a:cubicBezTo>
                      <a:pt x="941" y="61"/>
                      <a:pt x="941" y="61"/>
                      <a:pt x="941" y="61"/>
                    </a:cubicBezTo>
                    <a:cubicBezTo>
                      <a:pt x="941" y="53"/>
                      <a:pt x="939" y="46"/>
                      <a:pt x="934" y="42"/>
                    </a:cubicBezTo>
                    <a:cubicBezTo>
                      <a:pt x="930" y="38"/>
                      <a:pt x="923" y="36"/>
                      <a:pt x="913" y="36"/>
                    </a:cubicBezTo>
                    <a:cubicBezTo>
                      <a:pt x="909" y="36"/>
                      <a:pt x="904" y="36"/>
                      <a:pt x="899" y="36"/>
                    </a:cubicBezTo>
                    <a:cubicBezTo>
                      <a:pt x="894" y="37"/>
                      <a:pt x="889" y="37"/>
                      <a:pt x="884" y="38"/>
                    </a:cubicBezTo>
                    <a:lnTo>
                      <a:pt x="886" y="45"/>
                    </a:lnTo>
                    <a:close/>
                    <a:moveTo>
                      <a:pt x="842" y="34"/>
                    </a:moveTo>
                    <a:cubicBezTo>
                      <a:pt x="852" y="34"/>
                      <a:pt x="852" y="34"/>
                      <a:pt x="852" y="34"/>
                    </a:cubicBezTo>
                    <a:cubicBezTo>
                      <a:pt x="861" y="0"/>
                      <a:pt x="861" y="0"/>
                      <a:pt x="861" y="0"/>
                    </a:cubicBezTo>
                    <a:cubicBezTo>
                      <a:pt x="850" y="0"/>
                      <a:pt x="850" y="0"/>
                      <a:pt x="850" y="0"/>
                    </a:cubicBezTo>
                    <a:lnTo>
                      <a:pt x="842" y="34"/>
                    </a:lnTo>
                    <a:close/>
                    <a:moveTo>
                      <a:pt x="811" y="110"/>
                    </a:moveTo>
                    <a:cubicBezTo>
                      <a:pt x="809" y="110"/>
                      <a:pt x="807" y="111"/>
                      <a:pt x="804" y="111"/>
                    </a:cubicBezTo>
                    <a:cubicBezTo>
                      <a:pt x="802" y="111"/>
                      <a:pt x="799" y="111"/>
                      <a:pt x="798" y="111"/>
                    </a:cubicBezTo>
                    <a:cubicBezTo>
                      <a:pt x="791" y="111"/>
                      <a:pt x="786" y="110"/>
                      <a:pt x="782" y="109"/>
                    </a:cubicBezTo>
                    <a:cubicBezTo>
                      <a:pt x="778" y="107"/>
                      <a:pt x="775" y="105"/>
                      <a:pt x="773" y="102"/>
                    </a:cubicBezTo>
                    <a:cubicBezTo>
                      <a:pt x="771" y="99"/>
                      <a:pt x="769" y="95"/>
                      <a:pt x="768" y="91"/>
                    </a:cubicBezTo>
                    <a:cubicBezTo>
                      <a:pt x="768" y="87"/>
                      <a:pt x="767" y="81"/>
                      <a:pt x="767" y="76"/>
                    </a:cubicBezTo>
                    <a:cubicBezTo>
                      <a:pt x="767" y="70"/>
                      <a:pt x="768" y="65"/>
                      <a:pt x="768" y="61"/>
                    </a:cubicBezTo>
                    <a:cubicBezTo>
                      <a:pt x="769" y="57"/>
                      <a:pt x="770" y="53"/>
                      <a:pt x="771" y="51"/>
                    </a:cubicBezTo>
                    <a:cubicBezTo>
                      <a:pt x="773" y="48"/>
                      <a:pt x="775" y="46"/>
                      <a:pt x="778" y="45"/>
                    </a:cubicBezTo>
                    <a:cubicBezTo>
                      <a:pt x="781" y="44"/>
                      <a:pt x="784" y="43"/>
                      <a:pt x="789" y="43"/>
                    </a:cubicBezTo>
                    <a:cubicBezTo>
                      <a:pt x="793" y="43"/>
                      <a:pt x="797" y="43"/>
                      <a:pt x="801" y="44"/>
                    </a:cubicBezTo>
                    <a:cubicBezTo>
                      <a:pt x="805" y="45"/>
                      <a:pt x="809" y="46"/>
                      <a:pt x="811" y="47"/>
                    </a:cubicBezTo>
                    <a:lnTo>
                      <a:pt x="811" y="110"/>
                    </a:lnTo>
                    <a:close/>
                    <a:moveTo>
                      <a:pt x="811" y="40"/>
                    </a:moveTo>
                    <a:cubicBezTo>
                      <a:pt x="809" y="39"/>
                      <a:pt x="805" y="38"/>
                      <a:pt x="801" y="37"/>
                    </a:cubicBezTo>
                    <a:cubicBezTo>
                      <a:pt x="797" y="36"/>
                      <a:pt x="793" y="36"/>
                      <a:pt x="789" y="36"/>
                    </a:cubicBezTo>
                    <a:cubicBezTo>
                      <a:pt x="782" y="36"/>
                      <a:pt x="777" y="37"/>
                      <a:pt x="773" y="38"/>
                    </a:cubicBezTo>
                    <a:cubicBezTo>
                      <a:pt x="769" y="40"/>
                      <a:pt x="766" y="42"/>
                      <a:pt x="763" y="45"/>
                    </a:cubicBezTo>
                    <a:cubicBezTo>
                      <a:pt x="761" y="49"/>
                      <a:pt x="759" y="53"/>
                      <a:pt x="758" y="58"/>
                    </a:cubicBezTo>
                    <a:cubicBezTo>
                      <a:pt x="757" y="63"/>
                      <a:pt x="757" y="69"/>
                      <a:pt x="757" y="75"/>
                    </a:cubicBezTo>
                    <a:cubicBezTo>
                      <a:pt x="757" y="83"/>
                      <a:pt x="757" y="89"/>
                      <a:pt x="758" y="94"/>
                    </a:cubicBezTo>
                    <a:cubicBezTo>
                      <a:pt x="760" y="100"/>
                      <a:pt x="762" y="104"/>
                      <a:pt x="765" y="108"/>
                    </a:cubicBezTo>
                    <a:cubicBezTo>
                      <a:pt x="768" y="111"/>
                      <a:pt x="772" y="114"/>
                      <a:pt x="778" y="116"/>
                    </a:cubicBezTo>
                    <a:cubicBezTo>
                      <a:pt x="783" y="117"/>
                      <a:pt x="790" y="118"/>
                      <a:pt x="799" y="118"/>
                    </a:cubicBezTo>
                    <a:cubicBezTo>
                      <a:pt x="803" y="118"/>
                      <a:pt x="807" y="118"/>
                      <a:pt x="811" y="118"/>
                    </a:cubicBezTo>
                    <a:cubicBezTo>
                      <a:pt x="814" y="117"/>
                      <a:pt x="818" y="117"/>
                      <a:pt x="822" y="117"/>
                    </a:cubicBezTo>
                    <a:cubicBezTo>
                      <a:pt x="822" y="5"/>
                      <a:pt x="822" y="5"/>
                      <a:pt x="822" y="5"/>
                    </a:cubicBezTo>
                    <a:cubicBezTo>
                      <a:pt x="811" y="5"/>
                      <a:pt x="811" y="5"/>
                      <a:pt x="811" y="5"/>
                    </a:cubicBezTo>
                    <a:lnTo>
                      <a:pt x="811" y="40"/>
                    </a:lnTo>
                    <a:close/>
                    <a:moveTo>
                      <a:pt x="633" y="117"/>
                    </a:moveTo>
                    <a:cubicBezTo>
                      <a:pt x="643" y="117"/>
                      <a:pt x="643" y="117"/>
                      <a:pt x="643" y="117"/>
                    </a:cubicBezTo>
                    <a:cubicBezTo>
                      <a:pt x="643" y="47"/>
                      <a:pt x="643" y="47"/>
                      <a:pt x="643" y="47"/>
                    </a:cubicBezTo>
                    <a:cubicBezTo>
                      <a:pt x="646" y="46"/>
                      <a:pt x="649" y="45"/>
                      <a:pt x="653" y="44"/>
                    </a:cubicBezTo>
                    <a:cubicBezTo>
                      <a:pt x="657" y="43"/>
                      <a:pt x="661" y="43"/>
                      <a:pt x="666" y="43"/>
                    </a:cubicBezTo>
                    <a:cubicBezTo>
                      <a:pt x="675" y="43"/>
                      <a:pt x="681" y="45"/>
                      <a:pt x="684" y="51"/>
                    </a:cubicBezTo>
                    <a:cubicBezTo>
                      <a:pt x="688" y="56"/>
                      <a:pt x="689" y="64"/>
                      <a:pt x="689" y="75"/>
                    </a:cubicBezTo>
                    <a:cubicBezTo>
                      <a:pt x="689" y="117"/>
                      <a:pt x="689" y="117"/>
                      <a:pt x="689" y="117"/>
                    </a:cubicBezTo>
                    <a:cubicBezTo>
                      <a:pt x="700" y="117"/>
                      <a:pt x="700" y="117"/>
                      <a:pt x="700" y="117"/>
                    </a:cubicBezTo>
                    <a:cubicBezTo>
                      <a:pt x="700" y="75"/>
                      <a:pt x="700" y="75"/>
                      <a:pt x="700" y="75"/>
                    </a:cubicBezTo>
                    <a:cubicBezTo>
                      <a:pt x="700" y="69"/>
                      <a:pt x="700" y="63"/>
                      <a:pt x="698" y="58"/>
                    </a:cubicBezTo>
                    <a:cubicBezTo>
                      <a:pt x="697" y="53"/>
                      <a:pt x="695" y="49"/>
                      <a:pt x="693" y="45"/>
                    </a:cubicBezTo>
                    <a:cubicBezTo>
                      <a:pt x="690" y="42"/>
                      <a:pt x="686" y="40"/>
                      <a:pt x="682" y="38"/>
                    </a:cubicBezTo>
                    <a:cubicBezTo>
                      <a:pt x="677" y="37"/>
                      <a:pt x="672" y="36"/>
                      <a:pt x="666" y="36"/>
                    </a:cubicBezTo>
                    <a:cubicBezTo>
                      <a:pt x="660" y="36"/>
                      <a:pt x="654" y="36"/>
                      <a:pt x="649" y="37"/>
                    </a:cubicBezTo>
                    <a:cubicBezTo>
                      <a:pt x="644" y="39"/>
                      <a:pt x="639" y="40"/>
                      <a:pt x="632" y="43"/>
                    </a:cubicBezTo>
                    <a:lnTo>
                      <a:pt x="633" y="117"/>
                    </a:lnTo>
                    <a:close/>
                    <a:moveTo>
                      <a:pt x="564" y="109"/>
                    </a:moveTo>
                    <a:cubicBezTo>
                      <a:pt x="561" y="108"/>
                      <a:pt x="558" y="106"/>
                      <a:pt x="556" y="103"/>
                    </a:cubicBezTo>
                    <a:cubicBezTo>
                      <a:pt x="554" y="100"/>
                      <a:pt x="553" y="97"/>
                      <a:pt x="552" y="92"/>
                    </a:cubicBezTo>
                    <a:cubicBezTo>
                      <a:pt x="552" y="88"/>
                      <a:pt x="551" y="82"/>
                      <a:pt x="551" y="76"/>
                    </a:cubicBezTo>
                    <a:cubicBezTo>
                      <a:pt x="551" y="69"/>
                      <a:pt x="552" y="64"/>
                      <a:pt x="553" y="60"/>
                    </a:cubicBezTo>
                    <a:cubicBezTo>
                      <a:pt x="554" y="56"/>
                      <a:pt x="555" y="52"/>
                      <a:pt x="557" y="50"/>
                    </a:cubicBezTo>
                    <a:cubicBezTo>
                      <a:pt x="559" y="47"/>
                      <a:pt x="562" y="46"/>
                      <a:pt x="565" y="45"/>
                    </a:cubicBezTo>
                    <a:cubicBezTo>
                      <a:pt x="568" y="44"/>
                      <a:pt x="572" y="43"/>
                      <a:pt x="577" y="43"/>
                    </a:cubicBezTo>
                    <a:cubicBezTo>
                      <a:pt x="581" y="43"/>
                      <a:pt x="584" y="44"/>
                      <a:pt x="588" y="45"/>
                    </a:cubicBezTo>
                    <a:cubicBezTo>
                      <a:pt x="591" y="46"/>
                      <a:pt x="593" y="48"/>
                      <a:pt x="595" y="50"/>
                    </a:cubicBezTo>
                    <a:cubicBezTo>
                      <a:pt x="597" y="53"/>
                      <a:pt x="599" y="56"/>
                      <a:pt x="600" y="61"/>
                    </a:cubicBezTo>
                    <a:cubicBezTo>
                      <a:pt x="601" y="65"/>
                      <a:pt x="602" y="70"/>
                      <a:pt x="602" y="76"/>
                    </a:cubicBezTo>
                    <a:cubicBezTo>
                      <a:pt x="602" y="82"/>
                      <a:pt x="602" y="87"/>
                      <a:pt x="601" y="92"/>
                    </a:cubicBezTo>
                    <a:cubicBezTo>
                      <a:pt x="601" y="96"/>
                      <a:pt x="599" y="100"/>
                      <a:pt x="598" y="103"/>
                    </a:cubicBezTo>
                    <a:cubicBezTo>
                      <a:pt x="596" y="106"/>
                      <a:pt x="593" y="108"/>
                      <a:pt x="590" y="109"/>
                    </a:cubicBezTo>
                    <a:cubicBezTo>
                      <a:pt x="587" y="110"/>
                      <a:pt x="582" y="111"/>
                      <a:pt x="577" y="111"/>
                    </a:cubicBezTo>
                    <a:cubicBezTo>
                      <a:pt x="572" y="111"/>
                      <a:pt x="567" y="111"/>
                      <a:pt x="564" y="109"/>
                    </a:cubicBezTo>
                    <a:close/>
                    <a:moveTo>
                      <a:pt x="577" y="36"/>
                    </a:moveTo>
                    <a:cubicBezTo>
                      <a:pt x="571" y="36"/>
                      <a:pt x="565" y="36"/>
                      <a:pt x="561" y="38"/>
                    </a:cubicBezTo>
                    <a:cubicBezTo>
                      <a:pt x="556" y="39"/>
                      <a:pt x="553" y="41"/>
                      <a:pt x="550" y="45"/>
                    </a:cubicBezTo>
                    <a:cubicBezTo>
                      <a:pt x="547" y="48"/>
                      <a:pt x="544" y="52"/>
                      <a:pt x="543" y="57"/>
                    </a:cubicBezTo>
                    <a:cubicBezTo>
                      <a:pt x="542" y="62"/>
                      <a:pt x="541" y="68"/>
                      <a:pt x="541" y="75"/>
                    </a:cubicBezTo>
                    <a:cubicBezTo>
                      <a:pt x="541" y="83"/>
                      <a:pt x="541" y="90"/>
                      <a:pt x="542" y="95"/>
                    </a:cubicBezTo>
                    <a:cubicBezTo>
                      <a:pt x="544" y="101"/>
                      <a:pt x="546" y="105"/>
                      <a:pt x="548" y="109"/>
                    </a:cubicBezTo>
                    <a:cubicBezTo>
                      <a:pt x="551" y="112"/>
                      <a:pt x="555" y="114"/>
                      <a:pt x="559" y="116"/>
                    </a:cubicBezTo>
                    <a:cubicBezTo>
                      <a:pt x="564" y="118"/>
                      <a:pt x="570" y="118"/>
                      <a:pt x="577" y="118"/>
                    </a:cubicBezTo>
                    <a:cubicBezTo>
                      <a:pt x="584" y="118"/>
                      <a:pt x="590" y="117"/>
                      <a:pt x="595" y="116"/>
                    </a:cubicBezTo>
                    <a:cubicBezTo>
                      <a:pt x="599" y="114"/>
                      <a:pt x="603" y="111"/>
                      <a:pt x="605" y="108"/>
                    </a:cubicBezTo>
                    <a:cubicBezTo>
                      <a:pt x="608" y="104"/>
                      <a:pt x="610" y="100"/>
                      <a:pt x="611" y="95"/>
                    </a:cubicBezTo>
                    <a:cubicBezTo>
                      <a:pt x="612" y="89"/>
                      <a:pt x="613" y="83"/>
                      <a:pt x="613" y="76"/>
                    </a:cubicBezTo>
                    <a:cubicBezTo>
                      <a:pt x="613" y="69"/>
                      <a:pt x="612" y="63"/>
                      <a:pt x="610" y="57"/>
                    </a:cubicBezTo>
                    <a:cubicBezTo>
                      <a:pt x="609" y="52"/>
                      <a:pt x="606" y="48"/>
                      <a:pt x="603" y="45"/>
                    </a:cubicBezTo>
                    <a:cubicBezTo>
                      <a:pt x="600" y="42"/>
                      <a:pt x="597" y="40"/>
                      <a:pt x="592" y="38"/>
                    </a:cubicBezTo>
                    <a:cubicBezTo>
                      <a:pt x="588" y="37"/>
                      <a:pt x="583" y="36"/>
                      <a:pt x="577" y="36"/>
                    </a:cubicBezTo>
                    <a:close/>
                    <a:moveTo>
                      <a:pt x="512" y="117"/>
                    </a:moveTo>
                    <a:cubicBezTo>
                      <a:pt x="522" y="117"/>
                      <a:pt x="522" y="117"/>
                      <a:pt x="522" y="117"/>
                    </a:cubicBezTo>
                    <a:cubicBezTo>
                      <a:pt x="522" y="37"/>
                      <a:pt x="522" y="37"/>
                      <a:pt x="522" y="37"/>
                    </a:cubicBezTo>
                    <a:cubicBezTo>
                      <a:pt x="512" y="37"/>
                      <a:pt x="512" y="37"/>
                      <a:pt x="512" y="37"/>
                    </a:cubicBezTo>
                    <a:lnTo>
                      <a:pt x="512" y="117"/>
                    </a:lnTo>
                    <a:close/>
                    <a:moveTo>
                      <a:pt x="512" y="17"/>
                    </a:moveTo>
                    <a:cubicBezTo>
                      <a:pt x="522" y="17"/>
                      <a:pt x="522" y="17"/>
                      <a:pt x="522" y="17"/>
                    </a:cubicBezTo>
                    <a:cubicBezTo>
                      <a:pt x="522" y="6"/>
                      <a:pt x="522" y="6"/>
                      <a:pt x="522" y="6"/>
                    </a:cubicBezTo>
                    <a:cubicBezTo>
                      <a:pt x="512" y="6"/>
                      <a:pt x="512" y="6"/>
                      <a:pt x="512" y="6"/>
                    </a:cubicBezTo>
                    <a:lnTo>
                      <a:pt x="512" y="17"/>
                    </a:lnTo>
                    <a:close/>
                    <a:moveTo>
                      <a:pt x="467" y="17"/>
                    </a:moveTo>
                    <a:cubicBezTo>
                      <a:pt x="467" y="37"/>
                      <a:pt x="467" y="37"/>
                      <a:pt x="467" y="37"/>
                    </a:cubicBezTo>
                    <a:cubicBezTo>
                      <a:pt x="450" y="37"/>
                      <a:pt x="450" y="37"/>
                      <a:pt x="450" y="37"/>
                    </a:cubicBezTo>
                    <a:cubicBezTo>
                      <a:pt x="450" y="45"/>
                      <a:pt x="450" y="45"/>
                      <a:pt x="450" y="45"/>
                    </a:cubicBezTo>
                    <a:cubicBezTo>
                      <a:pt x="467" y="45"/>
                      <a:pt x="467" y="45"/>
                      <a:pt x="467" y="45"/>
                    </a:cubicBezTo>
                    <a:cubicBezTo>
                      <a:pt x="467" y="92"/>
                      <a:pt x="467" y="92"/>
                      <a:pt x="467" y="92"/>
                    </a:cubicBezTo>
                    <a:cubicBezTo>
                      <a:pt x="467" y="96"/>
                      <a:pt x="467" y="101"/>
                      <a:pt x="468" y="104"/>
                    </a:cubicBezTo>
                    <a:cubicBezTo>
                      <a:pt x="468" y="107"/>
                      <a:pt x="469" y="110"/>
                      <a:pt x="470" y="112"/>
                    </a:cubicBezTo>
                    <a:cubicBezTo>
                      <a:pt x="471" y="114"/>
                      <a:pt x="473" y="116"/>
                      <a:pt x="475" y="117"/>
                    </a:cubicBezTo>
                    <a:cubicBezTo>
                      <a:pt x="478" y="118"/>
                      <a:pt x="481" y="118"/>
                      <a:pt x="484" y="118"/>
                    </a:cubicBezTo>
                    <a:cubicBezTo>
                      <a:pt x="486" y="118"/>
                      <a:pt x="487" y="118"/>
                      <a:pt x="488" y="118"/>
                    </a:cubicBezTo>
                    <a:cubicBezTo>
                      <a:pt x="490" y="118"/>
                      <a:pt x="492" y="117"/>
                      <a:pt x="495" y="117"/>
                    </a:cubicBezTo>
                    <a:cubicBezTo>
                      <a:pt x="496" y="110"/>
                      <a:pt x="496" y="110"/>
                      <a:pt x="496" y="110"/>
                    </a:cubicBezTo>
                    <a:cubicBezTo>
                      <a:pt x="494" y="110"/>
                      <a:pt x="492" y="110"/>
                      <a:pt x="490" y="111"/>
                    </a:cubicBezTo>
                    <a:cubicBezTo>
                      <a:pt x="489" y="111"/>
                      <a:pt x="487" y="111"/>
                      <a:pt x="486" y="111"/>
                    </a:cubicBezTo>
                    <a:cubicBezTo>
                      <a:pt x="485" y="111"/>
                      <a:pt x="485" y="111"/>
                      <a:pt x="485" y="111"/>
                    </a:cubicBezTo>
                    <a:cubicBezTo>
                      <a:pt x="484" y="111"/>
                      <a:pt x="482" y="111"/>
                      <a:pt x="481" y="110"/>
                    </a:cubicBezTo>
                    <a:cubicBezTo>
                      <a:pt x="480" y="110"/>
                      <a:pt x="479" y="109"/>
                      <a:pt x="479" y="107"/>
                    </a:cubicBezTo>
                    <a:cubicBezTo>
                      <a:pt x="478" y="106"/>
                      <a:pt x="478" y="104"/>
                      <a:pt x="478" y="101"/>
                    </a:cubicBezTo>
                    <a:cubicBezTo>
                      <a:pt x="477" y="99"/>
                      <a:pt x="477" y="96"/>
                      <a:pt x="477" y="92"/>
                    </a:cubicBezTo>
                    <a:cubicBezTo>
                      <a:pt x="477" y="45"/>
                      <a:pt x="477" y="45"/>
                      <a:pt x="477" y="45"/>
                    </a:cubicBezTo>
                    <a:cubicBezTo>
                      <a:pt x="496" y="45"/>
                      <a:pt x="496" y="45"/>
                      <a:pt x="496" y="45"/>
                    </a:cubicBezTo>
                    <a:cubicBezTo>
                      <a:pt x="496" y="37"/>
                      <a:pt x="496" y="37"/>
                      <a:pt x="496" y="37"/>
                    </a:cubicBezTo>
                    <a:cubicBezTo>
                      <a:pt x="477" y="37"/>
                      <a:pt x="477" y="37"/>
                      <a:pt x="477" y="37"/>
                    </a:cubicBezTo>
                    <a:cubicBezTo>
                      <a:pt x="477" y="17"/>
                      <a:pt x="477" y="17"/>
                      <a:pt x="477" y="17"/>
                    </a:cubicBezTo>
                    <a:lnTo>
                      <a:pt x="467" y="17"/>
                    </a:lnTo>
                    <a:close/>
                    <a:moveTo>
                      <a:pt x="429" y="117"/>
                    </a:moveTo>
                    <a:cubicBezTo>
                      <a:pt x="440" y="117"/>
                      <a:pt x="440" y="117"/>
                      <a:pt x="440" y="117"/>
                    </a:cubicBezTo>
                    <a:cubicBezTo>
                      <a:pt x="440" y="37"/>
                      <a:pt x="440" y="37"/>
                      <a:pt x="440" y="37"/>
                    </a:cubicBezTo>
                    <a:cubicBezTo>
                      <a:pt x="429" y="37"/>
                      <a:pt x="429" y="37"/>
                      <a:pt x="429" y="37"/>
                    </a:cubicBezTo>
                    <a:lnTo>
                      <a:pt x="429" y="117"/>
                    </a:lnTo>
                    <a:close/>
                    <a:moveTo>
                      <a:pt x="429" y="17"/>
                    </a:moveTo>
                    <a:cubicBezTo>
                      <a:pt x="440" y="17"/>
                      <a:pt x="440" y="17"/>
                      <a:pt x="440" y="17"/>
                    </a:cubicBezTo>
                    <a:cubicBezTo>
                      <a:pt x="440" y="6"/>
                      <a:pt x="440" y="6"/>
                      <a:pt x="440" y="6"/>
                    </a:cubicBezTo>
                    <a:cubicBezTo>
                      <a:pt x="429" y="6"/>
                      <a:pt x="429" y="6"/>
                      <a:pt x="429" y="6"/>
                    </a:cubicBezTo>
                    <a:lnTo>
                      <a:pt x="429" y="17"/>
                    </a:lnTo>
                    <a:close/>
                    <a:moveTo>
                      <a:pt x="353" y="47"/>
                    </a:moveTo>
                    <a:cubicBezTo>
                      <a:pt x="356" y="46"/>
                      <a:pt x="359" y="45"/>
                      <a:pt x="363" y="44"/>
                    </a:cubicBezTo>
                    <a:cubicBezTo>
                      <a:pt x="367" y="43"/>
                      <a:pt x="372" y="43"/>
                      <a:pt x="376" y="43"/>
                    </a:cubicBezTo>
                    <a:cubicBezTo>
                      <a:pt x="380" y="43"/>
                      <a:pt x="384" y="43"/>
                      <a:pt x="387" y="45"/>
                    </a:cubicBezTo>
                    <a:cubicBezTo>
                      <a:pt x="390" y="46"/>
                      <a:pt x="392" y="48"/>
                      <a:pt x="393" y="50"/>
                    </a:cubicBezTo>
                    <a:cubicBezTo>
                      <a:pt x="395" y="53"/>
                      <a:pt x="396" y="56"/>
                      <a:pt x="396" y="61"/>
                    </a:cubicBezTo>
                    <a:cubicBezTo>
                      <a:pt x="397" y="65"/>
                      <a:pt x="397" y="70"/>
                      <a:pt x="397" y="75"/>
                    </a:cubicBezTo>
                    <a:cubicBezTo>
                      <a:pt x="397" y="81"/>
                      <a:pt x="397" y="86"/>
                      <a:pt x="396" y="91"/>
                    </a:cubicBezTo>
                    <a:cubicBezTo>
                      <a:pt x="396" y="95"/>
                      <a:pt x="394" y="99"/>
                      <a:pt x="392" y="102"/>
                    </a:cubicBezTo>
                    <a:cubicBezTo>
                      <a:pt x="390" y="105"/>
                      <a:pt x="387" y="107"/>
                      <a:pt x="383" y="108"/>
                    </a:cubicBezTo>
                    <a:cubicBezTo>
                      <a:pt x="379" y="110"/>
                      <a:pt x="374" y="111"/>
                      <a:pt x="367" y="111"/>
                    </a:cubicBezTo>
                    <a:cubicBezTo>
                      <a:pt x="365" y="111"/>
                      <a:pt x="363" y="111"/>
                      <a:pt x="361" y="111"/>
                    </a:cubicBezTo>
                    <a:cubicBezTo>
                      <a:pt x="358" y="110"/>
                      <a:pt x="356" y="110"/>
                      <a:pt x="353" y="110"/>
                    </a:cubicBezTo>
                    <a:lnTo>
                      <a:pt x="353" y="47"/>
                    </a:lnTo>
                    <a:close/>
                    <a:moveTo>
                      <a:pt x="343" y="5"/>
                    </a:moveTo>
                    <a:cubicBezTo>
                      <a:pt x="343" y="117"/>
                      <a:pt x="343" y="117"/>
                      <a:pt x="343" y="117"/>
                    </a:cubicBezTo>
                    <a:cubicBezTo>
                      <a:pt x="346" y="117"/>
                      <a:pt x="350" y="117"/>
                      <a:pt x="354" y="118"/>
                    </a:cubicBezTo>
                    <a:cubicBezTo>
                      <a:pt x="358" y="118"/>
                      <a:pt x="362" y="118"/>
                      <a:pt x="366" y="118"/>
                    </a:cubicBezTo>
                    <a:cubicBezTo>
                      <a:pt x="374" y="118"/>
                      <a:pt x="381" y="117"/>
                      <a:pt x="387" y="116"/>
                    </a:cubicBezTo>
                    <a:cubicBezTo>
                      <a:pt x="392" y="114"/>
                      <a:pt x="397" y="111"/>
                      <a:pt x="400" y="108"/>
                    </a:cubicBezTo>
                    <a:cubicBezTo>
                      <a:pt x="403" y="104"/>
                      <a:pt x="405" y="100"/>
                      <a:pt x="406" y="94"/>
                    </a:cubicBezTo>
                    <a:cubicBezTo>
                      <a:pt x="407" y="89"/>
                      <a:pt x="408" y="83"/>
                      <a:pt x="408" y="75"/>
                    </a:cubicBezTo>
                    <a:cubicBezTo>
                      <a:pt x="408" y="69"/>
                      <a:pt x="407" y="63"/>
                      <a:pt x="406" y="58"/>
                    </a:cubicBezTo>
                    <a:cubicBezTo>
                      <a:pt x="405" y="53"/>
                      <a:pt x="404" y="49"/>
                      <a:pt x="401" y="45"/>
                    </a:cubicBezTo>
                    <a:cubicBezTo>
                      <a:pt x="399" y="42"/>
                      <a:pt x="396" y="40"/>
                      <a:pt x="392" y="38"/>
                    </a:cubicBezTo>
                    <a:cubicBezTo>
                      <a:pt x="388" y="37"/>
                      <a:pt x="382" y="36"/>
                      <a:pt x="376" y="36"/>
                    </a:cubicBezTo>
                    <a:cubicBezTo>
                      <a:pt x="372" y="36"/>
                      <a:pt x="367" y="36"/>
                      <a:pt x="363" y="37"/>
                    </a:cubicBezTo>
                    <a:cubicBezTo>
                      <a:pt x="359" y="38"/>
                      <a:pt x="356" y="39"/>
                      <a:pt x="353" y="40"/>
                    </a:cubicBezTo>
                    <a:cubicBezTo>
                      <a:pt x="353" y="5"/>
                      <a:pt x="353" y="5"/>
                      <a:pt x="353" y="5"/>
                    </a:cubicBezTo>
                    <a:lnTo>
                      <a:pt x="343" y="5"/>
                    </a:lnTo>
                    <a:close/>
                    <a:moveTo>
                      <a:pt x="201" y="117"/>
                    </a:moveTo>
                    <a:cubicBezTo>
                      <a:pt x="212" y="117"/>
                      <a:pt x="212" y="117"/>
                      <a:pt x="212" y="117"/>
                    </a:cubicBezTo>
                    <a:cubicBezTo>
                      <a:pt x="212" y="47"/>
                      <a:pt x="212" y="47"/>
                      <a:pt x="212" y="47"/>
                    </a:cubicBezTo>
                    <a:cubicBezTo>
                      <a:pt x="215" y="46"/>
                      <a:pt x="218" y="45"/>
                      <a:pt x="222" y="44"/>
                    </a:cubicBezTo>
                    <a:cubicBezTo>
                      <a:pt x="226" y="43"/>
                      <a:pt x="230" y="43"/>
                      <a:pt x="235" y="43"/>
                    </a:cubicBezTo>
                    <a:cubicBezTo>
                      <a:pt x="239" y="43"/>
                      <a:pt x="242" y="43"/>
                      <a:pt x="245" y="45"/>
                    </a:cubicBezTo>
                    <a:cubicBezTo>
                      <a:pt x="248" y="46"/>
                      <a:pt x="250" y="48"/>
                      <a:pt x="252" y="50"/>
                    </a:cubicBezTo>
                    <a:cubicBezTo>
                      <a:pt x="253" y="53"/>
                      <a:pt x="254" y="56"/>
                      <a:pt x="255" y="60"/>
                    </a:cubicBezTo>
                    <a:cubicBezTo>
                      <a:pt x="255" y="64"/>
                      <a:pt x="256" y="69"/>
                      <a:pt x="256" y="75"/>
                    </a:cubicBezTo>
                    <a:cubicBezTo>
                      <a:pt x="256" y="117"/>
                      <a:pt x="256" y="117"/>
                      <a:pt x="256" y="117"/>
                    </a:cubicBezTo>
                    <a:cubicBezTo>
                      <a:pt x="267" y="117"/>
                      <a:pt x="267" y="117"/>
                      <a:pt x="267" y="117"/>
                    </a:cubicBezTo>
                    <a:cubicBezTo>
                      <a:pt x="267" y="75"/>
                      <a:pt x="267" y="75"/>
                      <a:pt x="267" y="75"/>
                    </a:cubicBezTo>
                    <a:cubicBezTo>
                      <a:pt x="267" y="69"/>
                      <a:pt x="266" y="64"/>
                      <a:pt x="266" y="59"/>
                    </a:cubicBezTo>
                    <a:cubicBezTo>
                      <a:pt x="265" y="55"/>
                      <a:pt x="264" y="51"/>
                      <a:pt x="262" y="48"/>
                    </a:cubicBezTo>
                    <a:cubicBezTo>
                      <a:pt x="267" y="46"/>
                      <a:pt x="272" y="45"/>
                      <a:pt x="276" y="44"/>
                    </a:cubicBezTo>
                    <a:cubicBezTo>
                      <a:pt x="280" y="43"/>
                      <a:pt x="284" y="43"/>
                      <a:pt x="289" y="43"/>
                    </a:cubicBezTo>
                    <a:cubicBezTo>
                      <a:pt x="293" y="43"/>
                      <a:pt x="297" y="43"/>
                      <a:pt x="300" y="45"/>
                    </a:cubicBezTo>
                    <a:cubicBezTo>
                      <a:pt x="303" y="46"/>
                      <a:pt x="305" y="48"/>
                      <a:pt x="306" y="50"/>
                    </a:cubicBezTo>
                    <a:cubicBezTo>
                      <a:pt x="308" y="53"/>
                      <a:pt x="309" y="56"/>
                      <a:pt x="309" y="60"/>
                    </a:cubicBezTo>
                    <a:cubicBezTo>
                      <a:pt x="310" y="64"/>
                      <a:pt x="310" y="69"/>
                      <a:pt x="310" y="75"/>
                    </a:cubicBezTo>
                    <a:cubicBezTo>
                      <a:pt x="310" y="117"/>
                      <a:pt x="310" y="117"/>
                      <a:pt x="310" y="117"/>
                    </a:cubicBezTo>
                    <a:cubicBezTo>
                      <a:pt x="321" y="117"/>
                      <a:pt x="321" y="117"/>
                      <a:pt x="321" y="117"/>
                    </a:cubicBezTo>
                    <a:cubicBezTo>
                      <a:pt x="321" y="75"/>
                      <a:pt x="321" y="75"/>
                      <a:pt x="321" y="75"/>
                    </a:cubicBezTo>
                    <a:cubicBezTo>
                      <a:pt x="321" y="68"/>
                      <a:pt x="321" y="63"/>
                      <a:pt x="320" y="58"/>
                    </a:cubicBezTo>
                    <a:cubicBezTo>
                      <a:pt x="319" y="53"/>
                      <a:pt x="317" y="48"/>
                      <a:pt x="315" y="45"/>
                    </a:cubicBezTo>
                    <a:cubicBezTo>
                      <a:pt x="312" y="42"/>
                      <a:pt x="309" y="40"/>
                      <a:pt x="305" y="38"/>
                    </a:cubicBezTo>
                    <a:cubicBezTo>
                      <a:pt x="301" y="36"/>
                      <a:pt x="296" y="36"/>
                      <a:pt x="289" y="36"/>
                    </a:cubicBezTo>
                    <a:cubicBezTo>
                      <a:pt x="287" y="36"/>
                      <a:pt x="284" y="36"/>
                      <a:pt x="282" y="36"/>
                    </a:cubicBezTo>
                    <a:cubicBezTo>
                      <a:pt x="279" y="36"/>
                      <a:pt x="277" y="36"/>
                      <a:pt x="274" y="37"/>
                    </a:cubicBezTo>
                    <a:cubicBezTo>
                      <a:pt x="272" y="37"/>
                      <a:pt x="269" y="38"/>
                      <a:pt x="266" y="39"/>
                    </a:cubicBezTo>
                    <a:cubicBezTo>
                      <a:pt x="263" y="40"/>
                      <a:pt x="260" y="41"/>
                      <a:pt x="257" y="42"/>
                    </a:cubicBezTo>
                    <a:cubicBezTo>
                      <a:pt x="252" y="38"/>
                      <a:pt x="245" y="35"/>
                      <a:pt x="235" y="35"/>
                    </a:cubicBezTo>
                    <a:cubicBezTo>
                      <a:pt x="229" y="35"/>
                      <a:pt x="224" y="36"/>
                      <a:pt x="219" y="37"/>
                    </a:cubicBezTo>
                    <a:cubicBezTo>
                      <a:pt x="214" y="38"/>
                      <a:pt x="208" y="40"/>
                      <a:pt x="201" y="42"/>
                    </a:cubicBezTo>
                    <a:lnTo>
                      <a:pt x="201" y="117"/>
                    </a:lnTo>
                    <a:close/>
                    <a:moveTo>
                      <a:pt x="169" y="107"/>
                    </a:moveTo>
                    <a:cubicBezTo>
                      <a:pt x="166" y="108"/>
                      <a:pt x="162" y="108"/>
                      <a:pt x="157" y="109"/>
                    </a:cubicBezTo>
                    <a:cubicBezTo>
                      <a:pt x="152" y="110"/>
                      <a:pt x="147" y="111"/>
                      <a:pt x="142" y="111"/>
                    </a:cubicBezTo>
                    <a:cubicBezTo>
                      <a:pt x="138" y="111"/>
                      <a:pt x="134" y="109"/>
                      <a:pt x="132" y="106"/>
                    </a:cubicBezTo>
                    <a:cubicBezTo>
                      <a:pt x="129" y="103"/>
                      <a:pt x="128" y="99"/>
                      <a:pt x="128" y="94"/>
                    </a:cubicBezTo>
                    <a:cubicBezTo>
                      <a:pt x="128" y="90"/>
                      <a:pt x="129" y="86"/>
                      <a:pt x="132" y="83"/>
                    </a:cubicBezTo>
                    <a:cubicBezTo>
                      <a:pt x="134" y="80"/>
                      <a:pt x="138" y="78"/>
                      <a:pt x="144" y="78"/>
                    </a:cubicBezTo>
                    <a:cubicBezTo>
                      <a:pt x="169" y="76"/>
                      <a:pt x="169" y="76"/>
                      <a:pt x="169" y="76"/>
                    </a:cubicBezTo>
                    <a:lnTo>
                      <a:pt x="169" y="107"/>
                    </a:lnTo>
                    <a:close/>
                    <a:moveTo>
                      <a:pt x="125" y="45"/>
                    </a:moveTo>
                    <a:cubicBezTo>
                      <a:pt x="130" y="45"/>
                      <a:pt x="134" y="44"/>
                      <a:pt x="139" y="44"/>
                    </a:cubicBezTo>
                    <a:cubicBezTo>
                      <a:pt x="144" y="43"/>
                      <a:pt x="148" y="43"/>
                      <a:pt x="152" y="43"/>
                    </a:cubicBezTo>
                    <a:cubicBezTo>
                      <a:pt x="158" y="43"/>
                      <a:pt x="162" y="45"/>
                      <a:pt x="165" y="47"/>
                    </a:cubicBezTo>
                    <a:cubicBezTo>
                      <a:pt x="168" y="50"/>
                      <a:pt x="169" y="54"/>
                      <a:pt x="169" y="61"/>
                    </a:cubicBezTo>
                    <a:cubicBezTo>
                      <a:pt x="169" y="69"/>
                      <a:pt x="169" y="69"/>
                      <a:pt x="169" y="69"/>
                    </a:cubicBezTo>
                    <a:cubicBezTo>
                      <a:pt x="143" y="71"/>
                      <a:pt x="143" y="71"/>
                      <a:pt x="143" y="71"/>
                    </a:cubicBezTo>
                    <a:cubicBezTo>
                      <a:pt x="134" y="72"/>
                      <a:pt x="127" y="74"/>
                      <a:pt x="123" y="78"/>
                    </a:cubicBezTo>
                    <a:cubicBezTo>
                      <a:pt x="119" y="82"/>
                      <a:pt x="117" y="88"/>
                      <a:pt x="117" y="94"/>
                    </a:cubicBezTo>
                    <a:cubicBezTo>
                      <a:pt x="117" y="102"/>
                      <a:pt x="120" y="108"/>
                      <a:pt x="124" y="112"/>
                    </a:cubicBezTo>
                    <a:cubicBezTo>
                      <a:pt x="128" y="116"/>
                      <a:pt x="134" y="118"/>
                      <a:pt x="142" y="118"/>
                    </a:cubicBezTo>
                    <a:cubicBezTo>
                      <a:pt x="150" y="118"/>
                      <a:pt x="157" y="117"/>
                      <a:pt x="163" y="116"/>
                    </a:cubicBezTo>
                    <a:cubicBezTo>
                      <a:pt x="169" y="114"/>
                      <a:pt x="175" y="113"/>
                      <a:pt x="180" y="111"/>
                    </a:cubicBezTo>
                    <a:cubicBezTo>
                      <a:pt x="180" y="61"/>
                      <a:pt x="180" y="61"/>
                      <a:pt x="180" y="61"/>
                    </a:cubicBezTo>
                    <a:cubicBezTo>
                      <a:pt x="180" y="53"/>
                      <a:pt x="177" y="46"/>
                      <a:pt x="173" y="42"/>
                    </a:cubicBezTo>
                    <a:cubicBezTo>
                      <a:pt x="169" y="38"/>
                      <a:pt x="162" y="36"/>
                      <a:pt x="152" y="36"/>
                    </a:cubicBezTo>
                    <a:cubicBezTo>
                      <a:pt x="147" y="36"/>
                      <a:pt x="143" y="36"/>
                      <a:pt x="138" y="36"/>
                    </a:cubicBezTo>
                    <a:cubicBezTo>
                      <a:pt x="133" y="37"/>
                      <a:pt x="128" y="37"/>
                      <a:pt x="123" y="38"/>
                    </a:cubicBezTo>
                    <a:lnTo>
                      <a:pt x="125" y="45"/>
                    </a:lnTo>
                    <a:close/>
                    <a:moveTo>
                      <a:pt x="81" y="34"/>
                    </a:moveTo>
                    <a:cubicBezTo>
                      <a:pt x="91" y="34"/>
                      <a:pt x="91" y="34"/>
                      <a:pt x="91" y="34"/>
                    </a:cubicBezTo>
                    <a:cubicBezTo>
                      <a:pt x="100" y="0"/>
                      <a:pt x="100" y="0"/>
                      <a:pt x="100" y="0"/>
                    </a:cubicBezTo>
                    <a:cubicBezTo>
                      <a:pt x="89" y="0"/>
                      <a:pt x="89" y="0"/>
                      <a:pt x="89" y="0"/>
                    </a:cubicBezTo>
                    <a:lnTo>
                      <a:pt x="81" y="34"/>
                    </a:lnTo>
                    <a:close/>
                    <a:moveTo>
                      <a:pt x="70" y="117"/>
                    </a:moveTo>
                    <a:cubicBezTo>
                      <a:pt x="70" y="109"/>
                      <a:pt x="70" y="109"/>
                      <a:pt x="70" y="109"/>
                    </a:cubicBezTo>
                    <a:cubicBezTo>
                      <a:pt x="11" y="109"/>
                      <a:pt x="11" y="109"/>
                      <a:pt x="11" y="109"/>
                    </a:cubicBezTo>
                    <a:cubicBezTo>
                      <a:pt x="11" y="5"/>
                      <a:pt x="11" y="5"/>
                      <a:pt x="11" y="5"/>
                    </a:cubicBezTo>
                    <a:cubicBezTo>
                      <a:pt x="0" y="5"/>
                      <a:pt x="0" y="5"/>
                      <a:pt x="0" y="5"/>
                    </a:cubicBezTo>
                    <a:cubicBezTo>
                      <a:pt x="0" y="117"/>
                      <a:pt x="0" y="117"/>
                      <a:pt x="0" y="117"/>
                    </a:cubicBezTo>
                    <a:lnTo>
                      <a:pt x="70" y="117"/>
                    </a:lnTo>
                    <a:close/>
                  </a:path>
                </a:pathLst>
              </a:custGeom>
              <a:noFill/>
              <a:ln w="0" cap="flat">
                <a:solidFill>
                  <a:srgbClr val="225696"/>
                </a:solidFill>
                <a:prstDash val="solid"/>
                <a:miter lim="800000"/>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grpSp>
      <p:cxnSp>
        <p:nvCxnSpPr>
          <p:cNvPr id="34" name="Connecteur droit 39"/>
          <p:cNvCxnSpPr/>
          <p:nvPr userDrawn="1"/>
        </p:nvCxnSpPr>
        <p:spPr>
          <a:xfrm>
            <a:off x="8412516" y="297692"/>
            <a:ext cx="0" cy="324000"/>
          </a:xfrm>
          <a:prstGeom prst="line">
            <a:avLst/>
          </a:prstGeom>
          <a:ln w="12700">
            <a:solidFill>
              <a:schemeClr val="accent3"/>
            </a:solidFill>
          </a:ln>
        </p:spPr>
        <p:style>
          <a:lnRef idx="1">
            <a:schemeClr val="accent6"/>
          </a:lnRef>
          <a:fillRef idx="0">
            <a:schemeClr val="accent6"/>
          </a:fillRef>
          <a:effectRef idx="0">
            <a:schemeClr val="accent6"/>
          </a:effectRef>
          <a:fontRef idx="minor">
            <a:schemeClr val="tx1"/>
          </a:fontRef>
        </p:style>
      </p:cxnSp>
      <p:sp>
        <p:nvSpPr>
          <p:cNvPr id="35" name="Text Placeholder 21"/>
          <p:cNvSpPr>
            <a:spLocks noGrp="1"/>
          </p:cNvSpPr>
          <p:nvPr>
            <p:ph type="body" sz="quarter" idx="12" hasCustomPrompt="1"/>
          </p:nvPr>
        </p:nvSpPr>
        <p:spPr>
          <a:xfrm>
            <a:off x="7317226" y="321194"/>
            <a:ext cx="1046440" cy="276999"/>
          </a:xfrm>
        </p:spPr>
        <p:txBody>
          <a:bodyPr>
            <a:noAutofit/>
          </a:bodyPr>
          <a:lstStyle>
            <a:lvl1pPr algn="r">
              <a:defRPr sz="1200" b="0"/>
            </a:lvl1pPr>
          </a:lstStyle>
          <a:p>
            <a:pPr lvl="0"/>
            <a:r>
              <a:rPr lang="fr-FR" noProof="0"/>
              <a:t>Rappel partie</a:t>
            </a:r>
          </a:p>
        </p:txBody>
      </p:sp>
    </p:spTree>
    <p:extLst>
      <p:ext uri="{BB962C8B-B14F-4D97-AF65-F5344CB8AC3E}">
        <p14:creationId xmlns:p14="http://schemas.microsoft.com/office/powerpoint/2010/main" val="283055951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cus">
    <p:spTree>
      <p:nvGrpSpPr>
        <p:cNvPr id="1" name=""/>
        <p:cNvGrpSpPr/>
        <p:nvPr/>
      </p:nvGrpSpPr>
      <p:grpSpPr>
        <a:xfrm>
          <a:off x="0" y="0"/>
          <a:ext cx="0" cy="0"/>
          <a:chOff x="0" y="0"/>
          <a:chExt cx="0" cy="0"/>
        </a:xfrm>
      </p:grpSpPr>
      <p:graphicFrame>
        <p:nvGraphicFramePr>
          <p:cNvPr id="41" name="Object 40" hidden="1"/>
          <p:cNvGraphicFramePr>
            <a:graphicFrameLocks noChangeAspect="1"/>
          </p:cNvGraphicFramePr>
          <p:nvPr>
            <p:custDataLst>
              <p:tags r:id="rId1"/>
            </p:custData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name="think-cell Slide" r:id="rId13" imgW="360" imgH="360" progId="">
                  <p:embed/>
                </p:oleObj>
              </mc:Choice>
              <mc:Fallback>
                <p:oleObj name="think-cell Slide" r:id="rId13" imgW="360" imgH="360" progId="">
                  <p:embed/>
                  <p:pic>
                    <p:nvPicPr>
                      <p:cNvPr id="41" name="Object 4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466" y="158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5" name="Rectangle 44"/>
          <p:cNvSpPr/>
          <p:nvPr userDrawn="1">
            <p:custDataLst>
              <p:tags r:id="rId2"/>
            </p:custDataLst>
          </p:nvPr>
        </p:nvSpPr>
        <p:spPr>
          <a:xfrm>
            <a:off x="6898018" y="1685925"/>
            <a:ext cx="1957302" cy="4410075"/>
          </a:xfrm>
          <a:prstGeom prst="rect">
            <a:avLst/>
          </a:prstGeom>
          <a:solidFill>
            <a:srgbClr val="BFBFBF"/>
          </a:solidFill>
        </p:spPr>
        <p:txBody>
          <a:bodyPr vert="horz" lIns="90000" tIns="45720" rIns="90000" bIns="45720" rtlCol="0">
            <a:noAutofit/>
          </a:bodyPr>
          <a:lstStyle/>
          <a:p>
            <a:pPr defTabSz="957816">
              <a:spcBef>
                <a:spcPts val="432"/>
              </a:spcBef>
            </a:pPr>
            <a:endParaRPr lang="fr-FR" sz="1600" b="1">
              <a:solidFill>
                <a:prstClr val="white"/>
              </a:solidFill>
            </a:endParaRPr>
          </a:p>
        </p:txBody>
      </p:sp>
      <p:sp>
        <p:nvSpPr>
          <p:cNvPr id="43" name="Text Placeholder 42"/>
          <p:cNvSpPr>
            <a:spLocks noGrp="1"/>
          </p:cNvSpPr>
          <p:nvPr>
            <p:ph type="body" sz="quarter" idx="15" hasCustomPrompt="1"/>
            <p:custDataLst>
              <p:tags r:id="rId3"/>
            </p:custDataLst>
          </p:nvPr>
        </p:nvSpPr>
        <p:spPr>
          <a:xfrm>
            <a:off x="6898018" y="1685925"/>
            <a:ext cx="1957302" cy="4410075"/>
          </a:xfrm>
          <a:noFill/>
        </p:spPr>
        <p:txBody>
          <a:bodyPr lIns="90000" rIns="90000"/>
          <a:lstStyle>
            <a:lvl1pPr>
              <a:defRPr sz="16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200">
                <a:solidFill>
                  <a:schemeClr val="bg1"/>
                </a:solidFill>
              </a:defRPr>
            </a:lvl4pPr>
          </a:lstStyle>
          <a:p>
            <a:pPr lvl="0"/>
            <a:r>
              <a:rPr lang="fr-FR" noProof="0"/>
              <a:t>Premier niveau</a:t>
            </a:r>
          </a:p>
          <a:p>
            <a:pPr lvl="1"/>
            <a:r>
              <a:rPr lang="fr-FR" noProof="0"/>
              <a:t>Deuxième niveau</a:t>
            </a:r>
          </a:p>
          <a:p>
            <a:pPr lvl="2"/>
            <a:r>
              <a:rPr lang="fr-FR" noProof="0"/>
              <a:t>Troisième niveau</a:t>
            </a:r>
          </a:p>
          <a:p>
            <a:pPr lvl="3"/>
            <a:r>
              <a:rPr lang="fr-FR" noProof="0"/>
              <a:t>Quatrième niveau</a:t>
            </a:r>
          </a:p>
        </p:txBody>
      </p:sp>
      <p:sp>
        <p:nvSpPr>
          <p:cNvPr id="2" name="Title 1"/>
          <p:cNvSpPr>
            <a:spLocks noGrp="1"/>
          </p:cNvSpPr>
          <p:nvPr>
            <p:ph type="title" hasCustomPrompt="1"/>
            <p:custDataLst>
              <p:tags r:id="rId4"/>
            </p:custDataLst>
          </p:nvPr>
        </p:nvSpPr>
        <p:spPr>
          <a:xfrm>
            <a:off x="382466" y="4984"/>
            <a:ext cx="6934759" cy="909416"/>
          </a:xfrm>
        </p:spPr>
        <p:txBody>
          <a:bodyPr/>
          <a:lstStyle/>
          <a:p>
            <a:r>
              <a:rPr lang="fr-FR" noProof="0"/>
              <a:t>Titre</a:t>
            </a:r>
            <a:endParaRPr lang="fr-FR"/>
          </a:p>
        </p:txBody>
      </p:sp>
      <p:sp>
        <p:nvSpPr>
          <p:cNvPr id="3" name="Content Placeholder 2"/>
          <p:cNvSpPr>
            <a:spLocks noGrp="1"/>
          </p:cNvSpPr>
          <p:nvPr>
            <p:ph idx="1" hasCustomPrompt="1"/>
            <p:custDataLst>
              <p:tags r:id="rId5"/>
            </p:custDataLst>
          </p:nvPr>
        </p:nvSpPr>
        <p:spPr>
          <a:xfrm>
            <a:off x="382467" y="1685925"/>
            <a:ext cx="6440364" cy="4410075"/>
          </a:xfrm>
        </p:spPr>
        <p:txBody>
          <a:bodyPr/>
          <a:lstStyle>
            <a:lvl3pPr>
              <a:defRPr/>
            </a:lvl3pPr>
            <a:lvl4pPr>
              <a:defRPr/>
            </a:lvl4pPr>
          </a:lstStyle>
          <a:p>
            <a:pPr lvl="0"/>
            <a:r>
              <a:rPr lang="fr-FR" noProof="0"/>
              <a:t>Premier niveau</a:t>
            </a:r>
          </a:p>
          <a:p>
            <a:pPr lvl="1"/>
            <a:r>
              <a:rPr lang="fr-FR" noProof="0"/>
              <a:t>Deuxième niveau</a:t>
            </a:r>
          </a:p>
          <a:p>
            <a:pPr lvl="2"/>
            <a:r>
              <a:rPr lang="fr-FR" noProof="0"/>
              <a:t>Troisième niveau</a:t>
            </a:r>
          </a:p>
          <a:p>
            <a:pPr lvl="3"/>
            <a:r>
              <a:rPr lang="fr-FR" noProof="0"/>
              <a:t>Quatrième niveau</a:t>
            </a:r>
          </a:p>
        </p:txBody>
      </p:sp>
      <p:sp>
        <p:nvSpPr>
          <p:cNvPr id="20" name="ZoneTexte 18"/>
          <p:cNvSpPr txBox="1"/>
          <p:nvPr userDrawn="1">
            <p:custDataLst>
              <p:tags r:id="rId6"/>
            </p:custDataLst>
          </p:nvPr>
        </p:nvSpPr>
        <p:spPr>
          <a:xfrm>
            <a:off x="6780754" y="5722143"/>
            <a:ext cx="502061" cy="523220"/>
          </a:xfrm>
          <a:prstGeom prst="rect">
            <a:avLst/>
          </a:prstGeom>
          <a:noFill/>
        </p:spPr>
        <p:txBody>
          <a:bodyPr wrap="none" rtlCol="0">
            <a:spAutoFit/>
          </a:bodyPr>
          <a:lstStyle/>
          <a:p>
            <a:pPr defTabSz="957816"/>
            <a:r>
              <a:rPr lang="fr-FR" sz="2800">
                <a:solidFill>
                  <a:prstClr val="white"/>
                </a:solidFill>
              </a:rPr>
              <a:t>↗</a:t>
            </a:r>
          </a:p>
        </p:txBody>
      </p:sp>
      <p:sp>
        <p:nvSpPr>
          <p:cNvPr id="25" name="Text Placeholder 17"/>
          <p:cNvSpPr>
            <a:spLocks noGrp="1"/>
          </p:cNvSpPr>
          <p:nvPr>
            <p:ph type="body" sz="quarter" idx="11" hasCustomPrompt="1"/>
            <p:custDataLst>
              <p:tags r:id="rId7"/>
            </p:custDataLst>
          </p:nvPr>
        </p:nvSpPr>
        <p:spPr>
          <a:xfrm>
            <a:off x="382466" y="934810"/>
            <a:ext cx="6934759" cy="344606"/>
          </a:xfrm>
        </p:spPr>
        <p:txBody>
          <a:bodyPr>
            <a:noAutofit/>
          </a:bodyPr>
          <a:lstStyle>
            <a:lvl1pPr marL="266700" indent="-266700">
              <a:buClr>
                <a:schemeClr val="accent3"/>
              </a:buClr>
              <a:buFont typeface="Calibri" pitchFamily="34" charset="0"/>
              <a:buChar char="↗"/>
              <a:defRPr sz="2000" b="0"/>
            </a:lvl1pPr>
          </a:lstStyle>
          <a:p>
            <a:r>
              <a:rPr lang="fr-FR"/>
              <a:t>Phrase clé - proposition clé</a:t>
            </a:r>
          </a:p>
        </p:txBody>
      </p:sp>
      <p:cxnSp>
        <p:nvCxnSpPr>
          <p:cNvPr id="17" name="Connecteur droit 8"/>
          <p:cNvCxnSpPr/>
          <p:nvPr userDrawn="1">
            <p:custDataLst>
              <p:tags r:id="rId8"/>
            </p:custDataLst>
          </p:nvPr>
        </p:nvCxnSpPr>
        <p:spPr>
          <a:xfrm>
            <a:off x="807480" y="6519411"/>
            <a:ext cx="0" cy="238496"/>
          </a:xfrm>
          <a:prstGeom prst="line">
            <a:avLst/>
          </a:prstGeom>
          <a:noFill/>
          <a:ln w="9525" cap="flat" cmpd="sng" algn="ctr">
            <a:solidFill>
              <a:srgbClr val="1F497D"/>
            </a:solidFill>
            <a:prstDash val="solid"/>
          </a:ln>
          <a:effectLst/>
        </p:spPr>
      </p:cxnSp>
      <p:cxnSp>
        <p:nvCxnSpPr>
          <p:cNvPr id="18" name="Connecteur droit 10"/>
          <p:cNvCxnSpPr/>
          <p:nvPr userDrawn="1">
            <p:custDataLst>
              <p:tags r:id="rId9"/>
            </p:custDataLst>
          </p:nvPr>
        </p:nvCxnSpPr>
        <p:spPr>
          <a:xfrm>
            <a:off x="1612496" y="6519411"/>
            <a:ext cx="0" cy="238496"/>
          </a:xfrm>
          <a:prstGeom prst="line">
            <a:avLst/>
          </a:prstGeom>
          <a:noFill/>
          <a:ln w="9525" cap="flat" cmpd="sng" algn="ctr">
            <a:solidFill>
              <a:srgbClr val="1F497D"/>
            </a:solidFill>
            <a:prstDash val="solid"/>
          </a:ln>
          <a:effectLst/>
        </p:spPr>
      </p:cxnSp>
      <p:cxnSp>
        <p:nvCxnSpPr>
          <p:cNvPr id="21" name="Connecteur droit 12"/>
          <p:cNvCxnSpPr/>
          <p:nvPr userDrawn="1">
            <p:custDataLst>
              <p:tags r:id="rId10"/>
            </p:custDataLst>
          </p:nvPr>
        </p:nvCxnSpPr>
        <p:spPr>
          <a:xfrm>
            <a:off x="8784581" y="6519411"/>
            <a:ext cx="0" cy="238496"/>
          </a:xfrm>
          <a:prstGeom prst="line">
            <a:avLst/>
          </a:prstGeom>
          <a:noFill/>
          <a:ln w="9525" cap="flat" cmpd="sng" algn="ctr">
            <a:solidFill>
              <a:srgbClr val="1F497D"/>
            </a:solidFill>
            <a:prstDash val="solid"/>
          </a:ln>
          <a:effectLst/>
        </p:spPr>
      </p:cxnSp>
      <p:grpSp>
        <p:nvGrpSpPr>
          <p:cNvPr id="11" name="Group 10"/>
          <p:cNvGrpSpPr/>
          <p:nvPr userDrawn="1">
            <p:custDataLst>
              <p:tags r:id="rId11"/>
            </p:custDataLst>
          </p:nvPr>
        </p:nvGrpSpPr>
        <p:grpSpPr>
          <a:xfrm>
            <a:off x="8460398" y="276993"/>
            <a:ext cx="606670" cy="347673"/>
            <a:chOff x="3813175" y="1435101"/>
            <a:chExt cx="1368425" cy="723899"/>
          </a:xfrm>
        </p:grpSpPr>
        <p:grpSp>
          <p:nvGrpSpPr>
            <p:cNvPr id="12" name="Group 32"/>
            <p:cNvGrpSpPr/>
            <p:nvPr userDrawn="1"/>
          </p:nvGrpSpPr>
          <p:grpSpPr>
            <a:xfrm>
              <a:off x="3813175" y="1801813"/>
              <a:ext cx="1358900" cy="138112"/>
              <a:chOff x="3813175" y="1801813"/>
              <a:chExt cx="1358900" cy="138112"/>
            </a:xfrm>
          </p:grpSpPr>
          <p:sp>
            <p:nvSpPr>
              <p:cNvPr id="29" name="Freeform 5"/>
              <p:cNvSpPr>
                <a:spLocks/>
              </p:cNvSpPr>
              <p:nvPr userDrawn="1"/>
            </p:nvSpPr>
            <p:spPr bwMode="auto">
              <a:xfrm>
                <a:off x="3813175" y="1801813"/>
                <a:ext cx="103188" cy="138112"/>
              </a:xfrm>
              <a:custGeom>
                <a:avLst/>
                <a:gdLst/>
                <a:ahLst/>
                <a:cxnLst>
                  <a:cxn ang="0">
                    <a:pos x="74" y="20"/>
                  </a:cxn>
                  <a:cxn ang="0">
                    <a:pos x="34" y="79"/>
                  </a:cxn>
                  <a:cxn ang="0">
                    <a:pos x="86" y="152"/>
                  </a:cxn>
                  <a:cxn ang="0">
                    <a:pos x="115" y="142"/>
                  </a:cxn>
                  <a:cxn ang="0">
                    <a:pos x="123" y="138"/>
                  </a:cxn>
                  <a:cxn ang="0">
                    <a:pos x="131" y="146"/>
                  </a:cxn>
                  <a:cxn ang="0">
                    <a:pos x="78" y="177"/>
                  </a:cxn>
                  <a:cxn ang="0">
                    <a:pos x="0" y="87"/>
                  </a:cxn>
                  <a:cxn ang="0">
                    <a:pos x="77" y="0"/>
                  </a:cxn>
                  <a:cxn ang="0">
                    <a:pos x="133" y="35"/>
                  </a:cxn>
                  <a:cxn ang="0">
                    <a:pos x="119" y="49"/>
                  </a:cxn>
                  <a:cxn ang="0">
                    <a:pos x="106" y="42"/>
                  </a:cxn>
                  <a:cxn ang="0">
                    <a:pos x="74" y="20"/>
                  </a:cxn>
                </a:cxnLst>
                <a:rect l="0" t="0" r="r" b="b"/>
                <a:pathLst>
                  <a:path w="133" h="177">
                    <a:moveTo>
                      <a:pt x="74" y="20"/>
                    </a:moveTo>
                    <a:cubicBezTo>
                      <a:pt x="52" y="20"/>
                      <a:pt x="34" y="41"/>
                      <a:pt x="34" y="79"/>
                    </a:cubicBezTo>
                    <a:cubicBezTo>
                      <a:pt x="34" y="126"/>
                      <a:pt x="58" y="152"/>
                      <a:pt x="86" y="152"/>
                    </a:cubicBezTo>
                    <a:cubicBezTo>
                      <a:pt x="101" y="152"/>
                      <a:pt x="111" y="145"/>
                      <a:pt x="115" y="142"/>
                    </a:cubicBezTo>
                    <a:cubicBezTo>
                      <a:pt x="119" y="139"/>
                      <a:pt x="121" y="138"/>
                      <a:pt x="123" y="138"/>
                    </a:cubicBezTo>
                    <a:cubicBezTo>
                      <a:pt x="128" y="138"/>
                      <a:pt x="131" y="141"/>
                      <a:pt x="131" y="146"/>
                    </a:cubicBezTo>
                    <a:cubicBezTo>
                      <a:pt x="131" y="156"/>
                      <a:pt x="112" y="177"/>
                      <a:pt x="78" y="177"/>
                    </a:cubicBezTo>
                    <a:cubicBezTo>
                      <a:pt x="24" y="177"/>
                      <a:pt x="0" y="133"/>
                      <a:pt x="0" y="87"/>
                    </a:cubicBezTo>
                    <a:cubicBezTo>
                      <a:pt x="0" y="39"/>
                      <a:pt x="28" y="0"/>
                      <a:pt x="77" y="0"/>
                    </a:cubicBezTo>
                    <a:cubicBezTo>
                      <a:pt x="112" y="0"/>
                      <a:pt x="133" y="21"/>
                      <a:pt x="133" y="35"/>
                    </a:cubicBezTo>
                    <a:cubicBezTo>
                      <a:pt x="133" y="43"/>
                      <a:pt x="127" y="49"/>
                      <a:pt x="119" y="49"/>
                    </a:cubicBezTo>
                    <a:cubicBezTo>
                      <a:pt x="113" y="49"/>
                      <a:pt x="109" y="46"/>
                      <a:pt x="106" y="42"/>
                    </a:cubicBezTo>
                    <a:cubicBezTo>
                      <a:pt x="99" y="31"/>
                      <a:pt x="92" y="20"/>
                      <a:pt x="74" y="20"/>
                    </a:cubicBezTo>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0" name="Freeform 6"/>
              <p:cNvSpPr>
                <a:spLocks noEditPoints="1"/>
              </p:cNvSpPr>
              <p:nvPr userDrawn="1"/>
            </p:nvSpPr>
            <p:spPr bwMode="auto">
              <a:xfrm>
                <a:off x="3948113" y="1801813"/>
                <a:ext cx="119063" cy="138112"/>
              </a:xfrm>
              <a:custGeom>
                <a:avLst/>
                <a:gdLst/>
                <a:ahLst/>
                <a:cxnLst>
                  <a:cxn ang="0">
                    <a:pos x="108" y="39"/>
                  </a:cxn>
                  <a:cxn ang="0">
                    <a:pos x="76" y="20"/>
                  </a:cxn>
                  <a:cxn ang="0">
                    <a:pos x="58" y="25"/>
                  </a:cxn>
                  <a:cxn ang="0">
                    <a:pos x="34" y="86"/>
                  </a:cxn>
                  <a:cxn ang="0">
                    <a:pos x="36" y="110"/>
                  </a:cxn>
                  <a:cxn ang="0">
                    <a:pos x="77" y="154"/>
                  </a:cxn>
                  <a:cxn ang="0">
                    <a:pos x="110" y="133"/>
                  </a:cxn>
                  <a:cxn ang="0">
                    <a:pos x="119" y="84"/>
                  </a:cxn>
                  <a:cxn ang="0">
                    <a:pos x="108" y="39"/>
                  </a:cxn>
                  <a:cxn ang="0">
                    <a:pos x="77" y="177"/>
                  </a:cxn>
                  <a:cxn ang="0">
                    <a:pos x="0" y="89"/>
                  </a:cxn>
                  <a:cxn ang="0">
                    <a:pos x="77" y="0"/>
                  </a:cxn>
                  <a:cxn ang="0">
                    <a:pos x="153" y="84"/>
                  </a:cxn>
                  <a:cxn ang="0">
                    <a:pos x="77" y="177"/>
                  </a:cxn>
                </a:cxnLst>
                <a:rect l="0" t="0" r="r" b="b"/>
                <a:pathLst>
                  <a:path w="155" h="177">
                    <a:moveTo>
                      <a:pt x="108" y="39"/>
                    </a:moveTo>
                    <a:cubicBezTo>
                      <a:pt x="96" y="21"/>
                      <a:pt x="81" y="20"/>
                      <a:pt x="76" y="20"/>
                    </a:cubicBezTo>
                    <a:cubicBezTo>
                      <a:pt x="70" y="20"/>
                      <a:pt x="64" y="22"/>
                      <a:pt x="58" y="25"/>
                    </a:cubicBezTo>
                    <a:cubicBezTo>
                      <a:pt x="35" y="39"/>
                      <a:pt x="34" y="73"/>
                      <a:pt x="34" y="86"/>
                    </a:cubicBezTo>
                    <a:cubicBezTo>
                      <a:pt x="34" y="96"/>
                      <a:pt x="35" y="103"/>
                      <a:pt x="36" y="110"/>
                    </a:cubicBezTo>
                    <a:cubicBezTo>
                      <a:pt x="43" y="149"/>
                      <a:pt x="67" y="154"/>
                      <a:pt x="77" y="154"/>
                    </a:cubicBezTo>
                    <a:cubicBezTo>
                      <a:pt x="88" y="154"/>
                      <a:pt x="101" y="149"/>
                      <a:pt x="110" y="133"/>
                    </a:cubicBezTo>
                    <a:cubicBezTo>
                      <a:pt x="117" y="119"/>
                      <a:pt x="119" y="101"/>
                      <a:pt x="119" y="84"/>
                    </a:cubicBezTo>
                    <a:cubicBezTo>
                      <a:pt x="119" y="72"/>
                      <a:pt x="117" y="54"/>
                      <a:pt x="108" y="39"/>
                    </a:cubicBezTo>
                    <a:moveTo>
                      <a:pt x="77" y="177"/>
                    </a:moveTo>
                    <a:cubicBezTo>
                      <a:pt x="36" y="177"/>
                      <a:pt x="0" y="147"/>
                      <a:pt x="0" y="89"/>
                    </a:cubicBezTo>
                    <a:cubicBezTo>
                      <a:pt x="0" y="39"/>
                      <a:pt x="28" y="0"/>
                      <a:pt x="77" y="0"/>
                    </a:cubicBezTo>
                    <a:cubicBezTo>
                      <a:pt x="125" y="0"/>
                      <a:pt x="151" y="39"/>
                      <a:pt x="153" y="84"/>
                    </a:cubicBezTo>
                    <a:cubicBezTo>
                      <a:pt x="155" y="138"/>
                      <a:pt x="123" y="177"/>
                      <a:pt x="77" y="177"/>
                    </a:cubicBezTo>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1" name="Freeform 7"/>
              <p:cNvSpPr>
                <a:spLocks/>
              </p:cNvSpPr>
              <p:nvPr userDrawn="1"/>
            </p:nvSpPr>
            <p:spPr bwMode="auto">
              <a:xfrm>
                <a:off x="4108450" y="1804988"/>
                <a:ext cx="103188" cy="131762"/>
              </a:xfrm>
              <a:custGeom>
                <a:avLst/>
                <a:gdLst/>
                <a:ahLst/>
                <a:cxnLst>
                  <a:cxn ang="0">
                    <a:pos x="108" y="111"/>
                  </a:cxn>
                  <a:cxn ang="0">
                    <a:pos x="108" y="5"/>
                  </a:cxn>
                  <a:cxn ang="0">
                    <a:pos x="113" y="0"/>
                  </a:cxn>
                  <a:cxn ang="0">
                    <a:pos x="128" y="0"/>
                  </a:cxn>
                  <a:cxn ang="0">
                    <a:pos x="133" y="5"/>
                  </a:cxn>
                  <a:cxn ang="0">
                    <a:pos x="133" y="164"/>
                  </a:cxn>
                  <a:cxn ang="0">
                    <a:pos x="128" y="169"/>
                  </a:cxn>
                  <a:cxn ang="0">
                    <a:pos x="114" y="169"/>
                  </a:cxn>
                  <a:cxn ang="0">
                    <a:pos x="108" y="164"/>
                  </a:cxn>
                  <a:cxn ang="0">
                    <a:pos x="26" y="48"/>
                  </a:cxn>
                  <a:cxn ang="0">
                    <a:pos x="26" y="164"/>
                  </a:cxn>
                  <a:cxn ang="0">
                    <a:pos x="21" y="169"/>
                  </a:cxn>
                  <a:cxn ang="0">
                    <a:pos x="6" y="169"/>
                  </a:cxn>
                  <a:cxn ang="0">
                    <a:pos x="0" y="164"/>
                  </a:cxn>
                  <a:cxn ang="0">
                    <a:pos x="0" y="5"/>
                  </a:cxn>
                  <a:cxn ang="0">
                    <a:pos x="6" y="0"/>
                  </a:cxn>
                  <a:cxn ang="0">
                    <a:pos x="24" y="0"/>
                  </a:cxn>
                  <a:cxn ang="0">
                    <a:pos x="32" y="4"/>
                  </a:cxn>
                  <a:cxn ang="0">
                    <a:pos x="108" y="111"/>
                  </a:cxn>
                </a:cxnLst>
                <a:rect l="0" t="0" r="r" b="b"/>
                <a:pathLst>
                  <a:path w="133" h="169">
                    <a:moveTo>
                      <a:pt x="108" y="111"/>
                    </a:moveTo>
                    <a:cubicBezTo>
                      <a:pt x="108" y="5"/>
                      <a:pt x="108" y="5"/>
                      <a:pt x="108" y="5"/>
                    </a:cubicBezTo>
                    <a:cubicBezTo>
                      <a:pt x="108" y="1"/>
                      <a:pt x="109" y="0"/>
                      <a:pt x="113" y="0"/>
                    </a:cubicBezTo>
                    <a:cubicBezTo>
                      <a:pt x="128" y="0"/>
                      <a:pt x="128" y="0"/>
                      <a:pt x="128" y="0"/>
                    </a:cubicBezTo>
                    <a:cubicBezTo>
                      <a:pt x="132" y="0"/>
                      <a:pt x="133" y="1"/>
                      <a:pt x="133" y="5"/>
                    </a:cubicBezTo>
                    <a:cubicBezTo>
                      <a:pt x="133" y="164"/>
                      <a:pt x="133" y="164"/>
                      <a:pt x="133" y="164"/>
                    </a:cubicBezTo>
                    <a:cubicBezTo>
                      <a:pt x="133" y="168"/>
                      <a:pt x="131" y="169"/>
                      <a:pt x="128" y="169"/>
                    </a:cubicBezTo>
                    <a:cubicBezTo>
                      <a:pt x="114" y="169"/>
                      <a:pt x="114" y="169"/>
                      <a:pt x="114" y="169"/>
                    </a:cubicBezTo>
                    <a:cubicBezTo>
                      <a:pt x="111" y="169"/>
                      <a:pt x="111" y="168"/>
                      <a:pt x="108" y="164"/>
                    </a:cubicBezTo>
                    <a:cubicBezTo>
                      <a:pt x="26" y="48"/>
                      <a:pt x="26" y="48"/>
                      <a:pt x="26" y="48"/>
                    </a:cubicBezTo>
                    <a:cubicBezTo>
                      <a:pt x="26" y="164"/>
                      <a:pt x="26" y="164"/>
                      <a:pt x="26" y="164"/>
                    </a:cubicBezTo>
                    <a:cubicBezTo>
                      <a:pt x="26" y="168"/>
                      <a:pt x="25" y="169"/>
                      <a:pt x="21" y="169"/>
                    </a:cubicBezTo>
                    <a:cubicBezTo>
                      <a:pt x="6" y="169"/>
                      <a:pt x="6" y="169"/>
                      <a:pt x="6" y="169"/>
                    </a:cubicBezTo>
                    <a:cubicBezTo>
                      <a:pt x="2" y="169"/>
                      <a:pt x="0" y="169"/>
                      <a:pt x="0" y="164"/>
                    </a:cubicBezTo>
                    <a:cubicBezTo>
                      <a:pt x="0" y="5"/>
                      <a:pt x="0" y="5"/>
                      <a:pt x="0" y="5"/>
                    </a:cubicBezTo>
                    <a:cubicBezTo>
                      <a:pt x="0" y="0"/>
                      <a:pt x="2" y="0"/>
                      <a:pt x="6" y="0"/>
                    </a:cubicBezTo>
                    <a:cubicBezTo>
                      <a:pt x="24" y="0"/>
                      <a:pt x="24" y="0"/>
                      <a:pt x="24" y="0"/>
                    </a:cubicBezTo>
                    <a:cubicBezTo>
                      <a:pt x="28" y="0"/>
                      <a:pt x="29" y="0"/>
                      <a:pt x="32" y="4"/>
                    </a:cubicBezTo>
                    <a:lnTo>
                      <a:pt x="108" y="11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2" name="Freeform 8"/>
              <p:cNvSpPr>
                <a:spLocks/>
              </p:cNvSpPr>
              <p:nvPr userDrawn="1"/>
            </p:nvSpPr>
            <p:spPr bwMode="auto">
              <a:xfrm>
                <a:off x="4254500" y="1801813"/>
                <a:ext cx="85725" cy="138112"/>
              </a:xfrm>
              <a:custGeom>
                <a:avLst/>
                <a:gdLst/>
                <a:ahLst/>
                <a:cxnLst>
                  <a:cxn ang="0">
                    <a:pos x="71" y="75"/>
                  </a:cxn>
                  <a:cxn ang="0">
                    <a:pos x="110" y="127"/>
                  </a:cxn>
                  <a:cxn ang="0">
                    <a:pos x="55" y="177"/>
                  </a:cxn>
                  <a:cxn ang="0">
                    <a:pos x="0" y="138"/>
                  </a:cxn>
                  <a:cxn ang="0">
                    <a:pos x="14" y="123"/>
                  </a:cxn>
                  <a:cxn ang="0">
                    <a:pos x="31" y="137"/>
                  </a:cxn>
                  <a:cxn ang="0">
                    <a:pos x="57" y="156"/>
                  </a:cxn>
                  <a:cxn ang="0">
                    <a:pos x="80" y="134"/>
                  </a:cxn>
                  <a:cxn ang="0">
                    <a:pos x="48" y="100"/>
                  </a:cxn>
                  <a:cxn ang="0">
                    <a:pos x="35" y="93"/>
                  </a:cxn>
                  <a:cxn ang="0">
                    <a:pos x="2" y="47"/>
                  </a:cxn>
                  <a:cxn ang="0">
                    <a:pos x="54" y="0"/>
                  </a:cxn>
                  <a:cxn ang="0">
                    <a:pos x="104" y="32"/>
                  </a:cxn>
                  <a:cxn ang="0">
                    <a:pos x="90" y="46"/>
                  </a:cxn>
                  <a:cxn ang="0">
                    <a:pos x="76" y="35"/>
                  </a:cxn>
                  <a:cxn ang="0">
                    <a:pos x="53" y="19"/>
                  </a:cxn>
                  <a:cxn ang="0">
                    <a:pos x="32" y="40"/>
                  </a:cxn>
                  <a:cxn ang="0">
                    <a:pos x="60" y="70"/>
                  </a:cxn>
                  <a:cxn ang="0">
                    <a:pos x="71" y="75"/>
                  </a:cxn>
                </a:cxnLst>
                <a:rect l="0" t="0" r="r" b="b"/>
                <a:pathLst>
                  <a:path w="110" h="177">
                    <a:moveTo>
                      <a:pt x="71" y="75"/>
                    </a:moveTo>
                    <a:cubicBezTo>
                      <a:pt x="87" y="83"/>
                      <a:pt x="110" y="96"/>
                      <a:pt x="110" y="127"/>
                    </a:cubicBezTo>
                    <a:cubicBezTo>
                      <a:pt x="110" y="159"/>
                      <a:pt x="86" y="177"/>
                      <a:pt x="55" y="177"/>
                    </a:cubicBezTo>
                    <a:cubicBezTo>
                      <a:pt x="16" y="177"/>
                      <a:pt x="0" y="151"/>
                      <a:pt x="0" y="138"/>
                    </a:cubicBezTo>
                    <a:cubicBezTo>
                      <a:pt x="0" y="127"/>
                      <a:pt x="8" y="123"/>
                      <a:pt x="14" y="123"/>
                    </a:cubicBezTo>
                    <a:cubicBezTo>
                      <a:pt x="24" y="123"/>
                      <a:pt x="28" y="130"/>
                      <a:pt x="31" y="137"/>
                    </a:cubicBezTo>
                    <a:cubicBezTo>
                      <a:pt x="34" y="143"/>
                      <a:pt x="41" y="156"/>
                      <a:pt x="57" y="156"/>
                    </a:cubicBezTo>
                    <a:cubicBezTo>
                      <a:pt x="70" y="156"/>
                      <a:pt x="80" y="147"/>
                      <a:pt x="80" y="134"/>
                    </a:cubicBezTo>
                    <a:cubicBezTo>
                      <a:pt x="80" y="117"/>
                      <a:pt x="67" y="110"/>
                      <a:pt x="48" y="100"/>
                    </a:cubicBezTo>
                    <a:cubicBezTo>
                      <a:pt x="35" y="93"/>
                      <a:pt x="35" y="93"/>
                      <a:pt x="35" y="93"/>
                    </a:cubicBezTo>
                    <a:cubicBezTo>
                      <a:pt x="26" y="88"/>
                      <a:pt x="2" y="76"/>
                      <a:pt x="2" y="47"/>
                    </a:cubicBezTo>
                    <a:cubicBezTo>
                      <a:pt x="2" y="18"/>
                      <a:pt x="24" y="0"/>
                      <a:pt x="54" y="0"/>
                    </a:cubicBezTo>
                    <a:cubicBezTo>
                      <a:pt x="85" y="0"/>
                      <a:pt x="104" y="18"/>
                      <a:pt x="104" y="32"/>
                    </a:cubicBezTo>
                    <a:cubicBezTo>
                      <a:pt x="104" y="40"/>
                      <a:pt x="98" y="46"/>
                      <a:pt x="90" y="46"/>
                    </a:cubicBezTo>
                    <a:cubicBezTo>
                      <a:pt x="82" y="46"/>
                      <a:pt x="79" y="40"/>
                      <a:pt x="76" y="35"/>
                    </a:cubicBezTo>
                    <a:cubicBezTo>
                      <a:pt x="72" y="29"/>
                      <a:pt x="65" y="19"/>
                      <a:pt x="53" y="19"/>
                    </a:cubicBezTo>
                    <a:cubicBezTo>
                      <a:pt x="40" y="19"/>
                      <a:pt x="32" y="28"/>
                      <a:pt x="32" y="40"/>
                    </a:cubicBezTo>
                    <a:cubicBezTo>
                      <a:pt x="32" y="56"/>
                      <a:pt x="44" y="62"/>
                      <a:pt x="60" y="70"/>
                    </a:cubicBezTo>
                    <a:lnTo>
                      <a:pt x="71" y="75"/>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3" name="Freeform 9"/>
              <p:cNvSpPr>
                <a:spLocks/>
              </p:cNvSpPr>
              <p:nvPr userDrawn="1"/>
            </p:nvSpPr>
            <p:spPr bwMode="auto">
              <a:xfrm>
                <a:off x="4383088" y="1804988"/>
                <a:ext cx="88900" cy="134937"/>
              </a:xfrm>
              <a:custGeom>
                <a:avLst/>
                <a:gdLst/>
                <a:ahLst/>
                <a:cxnLst>
                  <a:cxn ang="0">
                    <a:pos x="116" y="119"/>
                  </a:cxn>
                  <a:cxn ang="0">
                    <a:pos x="111" y="146"/>
                  </a:cxn>
                  <a:cxn ang="0">
                    <a:pos x="58" y="173"/>
                  </a:cxn>
                  <a:cxn ang="0">
                    <a:pos x="5" y="146"/>
                  </a:cxn>
                  <a:cxn ang="0">
                    <a:pos x="0" y="117"/>
                  </a:cxn>
                  <a:cxn ang="0">
                    <a:pos x="0" y="4"/>
                  </a:cxn>
                  <a:cxn ang="0">
                    <a:pos x="4" y="0"/>
                  </a:cxn>
                  <a:cxn ang="0">
                    <a:pos x="28" y="0"/>
                  </a:cxn>
                  <a:cxn ang="0">
                    <a:pos x="33" y="4"/>
                  </a:cxn>
                  <a:cxn ang="0">
                    <a:pos x="33" y="114"/>
                  </a:cxn>
                  <a:cxn ang="0">
                    <a:pos x="62" y="148"/>
                  </a:cxn>
                  <a:cxn ang="0">
                    <a:pos x="90" y="116"/>
                  </a:cxn>
                  <a:cxn ang="0">
                    <a:pos x="90" y="5"/>
                  </a:cxn>
                  <a:cxn ang="0">
                    <a:pos x="95" y="0"/>
                  </a:cxn>
                  <a:cxn ang="0">
                    <a:pos x="111" y="0"/>
                  </a:cxn>
                  <a:cxn ang="0">
                    <a:pos x="116" y="4"/>
                  </a:cxn>
                  <a:cxn ang="0">
                    <a:pos x="116" y="119"/>
                  </a:cxn>
                </a:cxnLst>
                <a:rect l="0" t="0" r="r" b="b"/>
                <a:pathLst>
                  <a:path w="116" h="173">
                    <a:moveTo>
                      <a:pt x="116" y="119"/>
                    </a:moveTo>
                    <a:cubicBezTo>
                      <a:pt x="115" y="127"/>
                      <a:pt x="115" y="136"/>
                      <a:pt x="111" y="146"/>
                    </a:cubicBezTo>
                    <a:cubicBezTo>
                      <a:pt x="109" y="151"/>
                      <a:pt x="98" y="173"/>
                      <a:pt x="58" y="173"/>
                    </a:cubicBezTo>
                    <a:cubicBezTo>
                      <a:pt x="36" y="173"/>
                      <a:pt x="14" y="166"/>
                      <a:pt x="5" y="146"/>
                    </a:cubicBezTo>
                    <a:cubicBezTo>
                      <a:pt x="1" y="137"/>
                      <a:pt x="0" y="127"/>
                      <a:pt x="0" y="117"/>
                    </a:cubicBezTo>
                    <a:cubicBezTo>
                      <a:pt x="0" y="4"/>
                      <a:pt x="0" y="4"/>
                      <a:pt x="0" y="4"/>
                    </a:cubicBezTo>
                    <a:cubicBezTo>
                      <a:pt x="0" y="0"/>
                      <a:pt x="1" y="0"/>
                      <a:pt x="4" y="0"/>
                    </a:cubicBezTo>
                    <a:cubicBezTo>
                      <a:pt x="28" y="0"/>
                      <a:pt x="28" y="0"/>
                      <a:pt x="28" y="0"/>
                    </a:cubicBezTo>
                    <a:cubicBezTo>
                      <a:pt x="32" y="0"/>
                      <a:pt x="33" y="0"/>
                      <a:pt x="33" y="4"/>
                    </a:cubicBezTo>
                    <a:cubicBezTo>
                      <a:pt x="33" y="114"/>
                      <a:pt x="33" y="114"/>
                      <a:pt x="33" y="114"/>
                    </a:cubicBezTo>
                    <a:cubicBezTo>
                      <a:pt x="33" y="124"/>
                      <a:pt x="34" y="148"/>
                      <a:pt x="62" y="148"/>
                    </a:cubicBezTo>
                    <a:cubicBezTo>
                      <a:pt x="90" y="148"/>
                      <a:pt x="90" y="123"/>
                      <a:pt x="90" y="116"/>
                    </a:cubicBezTo>
                    <a:cubicBezTo>
                      <a:pt x="90" y="5"/>
                      <a:pt x="90" y="5"/>
                      <a:pt x="90" y="5"/>
                    </a:cubicBezTo>
                    <a:cubicBezTo>
                      <a:pt x="90" y="1"/>
                      <a:pt x="91" y="0"/>
                      <a:pt x="95" y="0"/>
                    </a:cubicBezTo>
                    <a:cubicBezTo>
                      <a:pt x="111" y="0"/>
                      <a:pt x="111" y="0"/>
                      <a:pt x="111" y="0"/>
                    </a:cubicBezTo>
                    <a:cubicBezTo>
                      <a:pt x="114" y="0"/>
                      <a:pt x="116" y="0"/>
                      <a:pt x="116" y="4"/>
                    </a:cubicBezTo>
                    <a:lnTo>
                      <a:pt x="116" y="119"/>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4" name="Freeform 10"/>
              <p:cNvSpPr>
                <a:spLocks/>
              </p:cNvSpPr>
              <p:nvPr userDrawn="1"/>
            </p:nvSpPr>
            <p:spPr bwMode="auto">
              <a:xfrm>
                <a:off x="4521200" y="1804988"/>
                <a:ext cx="71438" cy="131762"/>
              </a:xfrm>
              <a:custGeom>
                <a:avLst/>
                <a:gdLst/>
                <a:ahLst/>
                <a:cxnLst>
                  <a:cxn ang="0">
                    <a:pos x="32" y="147"/>
                  </a:cxn>
                  <a:cxn ang="0">
                    <a:pos x="87" y="147"/>
                  </a:cxn>
                  <a:cxn ang="0">
                    <a:pos x="92" y="152"/>
                  </a:cxn>
                  <a:cxn ang="0">
                    <a:pos x="92" y="164"/>
                  </a:cxn>
                  <a:cxn ang="0">
                    <a:pos x="87" y="169"/>
                  </a:cxn>
                  <a:cxn ang="0">
                    <a:pos x="5" y="169"/>
                  </a:cxn>
                  <a:cxn ang="0">
                    <a:pos x="0" y="164"/>
                  </a:cxn>
                  <a:cxn ang="0">
                    <a:pos x="0" y="5"/>
                  </a:cxn>
                  <a:cxn ang="0">
                    <a:pos x="5" y="0"/>
                  </a:cxn>
                  <a:cxn ang="0">
                    <a:pos x="27" y="0"/>
                  </a:cxn>
                  <a:cxn ang="0">
                    <a:pos x="32" y="5"/>
                  </a:cxn>
                  <a:cxn ang="0">
                    <a:pos x="32" y="147"/>
                  </a:cxn>
                </a:cxnLst>
                <a:rect l="0" t="0" r="r" b="b"/>
                <a:pathLst>
                  <a:path w="92" h="169">
                    <a:moveTo>
                      <a:pt x="32" y="147"/>
                    </a:moveTo>
                    <a:cubicBezTo>
                      <a:pt x="87" y="147"/>
                      <a:pt x="87" y="147"/>
                      <a:pt x="87" y="147"/>
                    </a:cubicBezTo>
                    <a:cubicBezTo>
                      <a:pt x="91" y="147"/>
                      <a:pt x="92" y="148"/>
                      <a:pt x="92" y="152"/>
                    </a:cubicBezTo>
                    <a:cubicBezTo>
                      <a:pt x="92" y="164"/>
                      <a:pt x="92" y="164"/>
                      <a:pt x="92" y="164"/>
                    </a:cubicBezTo>
                    <a:cubicBezTo>
                      <a:pt x="92" y="168"/>
                      <a:pt x="91" y="169"/>
                      <a:pt x="87" y="169"/>
                    </a:cubicBezTo>
                    <a:cubicBezTo>
                      <a:pt x="5" y="169"/>
                      <a:pt x="5" y="169"/>
                      <a:pt x="5" y="169"/>
                    </a:cubicBezTo>
                    <a:cubicBezTo>
                      <a:pt x="2" y="169"/>
                      <a:pt x="0" y="169"/>
                      <a:pt x="0" y="164"/>
                    </a:cubicBezTo>
                    <a:cubicBezTo>
                      <a:pt x="0" y="5"/>
                      <a:pt x="0" y="5"/>
                      <a:pt x="0" y="5"/>
                    </a:cubicBezTo>
                    <a:cubicBezTo>
                      <a:pt x="0" y="1"/>
                      <a:pt x="1" y="0"/>
                      <a:pt x="5" y="0"/>
                    </a:cubicBezTo>
                    <a:cubicBezTo>
                      <a:pt x="27" y="0"/>
                      <a:pt x="27" y="0"/>
                      <a:pt x="27" y="0"/>
                    </a:cubicBezTo>
                    <a:cubicBezTo>
                      <a:pt x="31" y="0"/>
                      <a:pt x="32" y="1"/>
                      <a:pt x="32" y="5"/>
                    </a:cubicBezTo>
                    <a:lnTo>
                      <a:pt x="32" y="147"/>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5" name="Freeform 11"/>
              <p:cNvSpPr>
                <a:spLocks/>
              </p:cNvSpPr>
              <p:nvPr userDrawn="1"/>
            </p:nvSpPr>
            <p:spPr bwMode="auto">
              <a:xfrm>
                <a:off x="4595813" y="1804988"/>
                <a:ext cx="90488" cy="131762"/>
              </a:xfrm>
              <a:custGeom>
                <a:avLst/>
                <a:gdLst/>
                <a:ahLst/>
                <a:cxnLst>
                  <a:cxn ang="0">
                    <a:pos x="74" y="21"/>
                  </a:cxn>
                  <a:cxn ang="0">
                    <a:pos x="74" y="163"/>
                  </a:cxn>
                  <a:cxn ang="0">
                    <a:pos x="69" y="169"/>
                  </a:cxn>
                  <a:cxn ang="0">
                    <a:pos x="47" y="169"/>
                  </a:cxn>
                  <a:cxn ang="0">
                    <a:pos x="41" y="163"/>
                  </a:cxn>
                  <a:cxn ang="0">
                    <a:pos x="41" y="21"/>
                  </a:cxn>
                  <a:cxn ang="0">
                    <a:pos x="5" y="21"/>
                  </a:cxn>
                  <a:cxn ang="0">
                    <a:pos x="0" y="16"/>
                  </a:cxn>
                  <a:cxn ang="0">
                    <a:pos x="0" y="5"/>
                  </a:cxn>
                  <a:cxn ang="0">
                    <a:pos x="5" y="0"/>
                  </a:cxn>
                  <a:cxn ang="0">
                    <a:pos x="110" y="0"/>
                  </a:cxn>
                  <a:cxn ang="0">
                    <a:pos x="116" y="4"/>
                  </a:cxn>
                  <a:cxn ang="0">
                    <a:pos x="116" y="16"/>
                  </a:cxn>
                  <a:cxn ang="0">
                    <a:pos x="110" y="21"/>
                  </a:cxn>
                  <a:cxn ang="0">
                    <a:pos x="74" y="21"/>
                  </a:cxn>
                </a:cxnLst>
                <a:rect l="0" t="0" r="r" b="b"/>
                <a:pathLst>
                  <a:path w="116" h="169">
                    <a:moveTo>
                      <a:pt x="74" y="21"/>
                    </a:moveTo>
                    <a:cubicBezTo>
                      <a:pt x="74" y="163"/>
                      <a:pt x="74" y="163"/>
                      <a:pt x="74" y="163"/>
                    </a:cubicBezTo>
                    <a:cubicBezTo>
                      <a:pt x="74" y="167"/>
                      <a:pt x="73" y="169"/>
                      <a:pt x="69" y="169"/>
                    </a:cubicBezTo>
                    <a:cubicBezTo>
                      <a:pt x="47" y="169"/>
                      <a:pt x="47" y="169"/>
                      <a:pt x="47" y="169"/>
                    </a:cubicBezTo>
                    <a:cubicBezTo>
                      <a:pt x="43" y="169"/>
                      <a:pt x="41" y="168"/>
                      <a:pt x="41" y="163"/>
                    </a:cubicBezTo>
                    <a:cubicBezTo>
                      <a:pt x="41" y="21"/>
                      <a:pt x="41" y="21"/>
                      <a:pt x="41" y="21"/>
                    </a:cubicBezTo>
                    <a:cubicBezTo>
                      <a:pt x="5" y="21"/>
                      <a:pt x="5" y="21"/>
                      <a:pt x="5" y="21"/>
                    </a:cubicBezTo>
                    <a:cubicBezTo>
                      <a:pt x="1" y="21"/>
                      <a:pt x="0" y="20"/>
                      <a:pt x="0" y="16"/>
                    </a:cubicBezTo>
                    <a:cubicBezTo>
                      <a:pt x="0" y="5"/>
                      <a:pt x="0" y="5"/>
                      <a:pt x="0" y="5"/>
                    </a:cubicBezTo>
                    <a:cubicBezTo>
                      <a:pt x="0" y="0"/>
                      <a:pt x="2" y="0"/>
                      <a:pt x="5" y="0"/>
                    </a:cubicBezTo>
                    <a:cubicBezTo>
                      <a:pt x="110" y="0"/>
                      <a:pt x="110" y="0"/>
                      <a:pt x="110" y="0"/>
                    </a:cubicBezTo>
                    <a:cubicBezTo>
                      <a:pt x="114" y="0"/>
                      <a:pt x="116" y="0"/>
                      <a:pt x="116" y="4"/>
                    </a:cubicBezTo>
                    <a:cubicBezTo>
                      <a:pt x="116" y="16"/>
                      <a:pt x="116" y="16"/>
                      <a:pt x="116" y="16"/>
                    </a:cubicBezTo>
                    <a:cubicBezTo>
                      <a:pt x="116" y="20"/>
                      <a:pt x="115" y="21"/>
                      <a:pt x="110" y="21"/>
                    </a:cubicBezTo>
                    <a:lnTo>
                      <a:pt x="74" y="2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6" name="Freeform 12"/>
              <p:cNvSpPr>
                <a:spLocks noEditPoints="1"/>
              </p:cNvSpPr>
              <p:nvPr userDrawn="1"/>
            </p:nvSpPr>
            <p:spPr bwMode="auto">
              <a:xfrm>
                <a:off x="4689475" y="1804988"/>
                <a:ext cx="112713" cy="131762"/>
              </a:xfrm>
              <a:custGeom>
                <a:avLst/>
                <a:gdLst/>
                <a:ahLst/>
                <a:cxnLst>
                  <a:cxn ang="0">
                    <a:pos x="87" y="98"/>
                  </a:cxn>
                  <a:cxn ang="0">
                    <a:pos x="68" y="43"/>
                  </a:cxn>
                  <a:cxn ang="0">
                    <a:pos x="50" y="98"/>
                  </a:cxn>
                  <a:cxn ang="0">
                    <a:pos x="87" y="98"/>
                  </a:cxn>
                  <a:cxn ang="0">
                    <a:pos x="93" y="116"/>
                  </a:cxn>
                  <a:cxn ang="0">
                    <a:pos x="44" y="116"/>
                  </a:cxn>
                  <a:cxn ang="0">
                    <a:pos x="27" y="164"/>
                  </a:cxn>
                  <a:cxn ang="0">
                    <a:pos x="21" y="169"/>
                  </a:cxn>
                  <a:cxn ang="0">
                    <a:pos x="5" y="169"/>
                  </a:cxn>
                  <a:cxn ang="0">
                    <a:pos x="0" y="166"/>
                  </a:cxn>
                  <a:cxn ang="0">
                    <a:pos x="2" y="161"/>
                  </a:cxn>
                  <a:cxn ang="0">
                    <a:pos x="60" y="4"/>
                  </a:cxn>
                  <a:cxn ang="0">
                    <a:pos x="66" y="0"/>
                  </a:cxn>
                  <a:cxn ang="0">
                    <a:pos x="80" y="0"/>
                  </a:cxn>
                  <a:cxn ang="0">
                    <a:pos x="86" y="3"/>
                  </a:cxn>
                  <a:cxn ang="0">
                    <a:pos x="144" y="163"/>
                  </a:cxn>
                  <a:cxn ang="0">
                    <a:pos x="145" y="166"/>
                  </a:cxn>
                  <a:cxn ang="0">
                    <a:pos x="141" y="169"/>
                  </a:cxn>
                  <a:cxn ang="0">
                    <a:pos x="117" y="169"/>
                  </a:cxn>
                  <a:cxn ang="0">
                    <a:pos x="110" y="165"/>
                  </a:cxn>
                  <a:cxn ang="0">
                    <a:pos x="93" y="116"/>
                  </a:cxn>
                </a:cxnLst>
                <a:rect l="0" t="0" r="r" b="b"/>
                <a:pathLst>
                  <a:path w="145" h="169">
                    <a:moveTo>
                      <a:pt x="87" y="98"/>
                    </a:moveTo>
                    <a:cubicBezTo>
                      <a:pt x="68" y="43"/>
                      <a:pt x="68" y="43"/>
                      <a:pt x="68" y="43"/>
                    </a:cubicBezTo>
                    <a:cubicBezTo>
                      <a:pt x="50" y="98"/>
                      <a:pt x="50" y="98"/>
                      <a:pt x="50" y="98"/>
                    </a:cubicBezTo>
                    <a:lnTo>
                      <a:pt x="87" y="98"/>
                    </a:lnTo>
                    <a:close/>
                    <a:moveTo>
                      <a:pt x="93" y="116"/>
                    </a:moveTo>
                    <a:cubicBezTo>
                      <a:pt x="44" y="116"/>
                      <a:pt x="44" y="116"/>
                      <a:pt x="44" y="116"/>
                    </a:cubicBezTo>
                    <a:cubicBezTo>
                      <a:pt x="27" y="164"/>
                      <a:pt x="27" y="164"/>
                      <a:pt x="27" y="164"/>
                    </a:cubicBezTo>
                    <a:cubicBezTo>
                      <a:pt x="26" y="168"/>
                      <a:pt x="25" y="169"/>
                      <a:pt x="21" y="169"/>
                    </a:cubicBezTo>
                    <a:cubicBezTo>
                      <a:pt x="5" y="169"/>
                      <a:pt x="5" y="169"/>
                      <a:pt x="5" y="169"/>
                    </a:cubicBezTo>
                    <a:cubicBezTo>
                      <a:pt x="3" y="169"/>
                      <a:pt x="0" y="169"/>
                      <a:pt x="0" y="166"/>
                    </a:cubicBezTo>
                    <a:cubicBezTo>
                      <a:pt x="0" y="165"/>
                      <a:pt x="2" y="162"/>
                      <a:pt x="2" y="161"/>
                    </a:cubicBezTo>
                    <a:cubicBezTo>
                      <a:pt x="60" y="4"/>
                      <a:pt x="60" y="4"/>
                      <a:pt x="60" y="4"/>
                    </a:cubicBezTo>
                    <a:cubicBezTo>
                      <a:pt x="62" y="1"/>
                      <a:pt x="62" y="0"/>
                      <a:pt x="66" y="0"/>
                    </a:cubicBezTo>
                    <a:cubicBezTo>
                      <a:pt x="80" y="0"/>
                      <a:pt x="80" y="0"/>
                      <a:pt x="80" y="0"/>
                    </a:cubicBezTo>
                    <a:cubicBezTo>
                      <a:pt x="84" y="0"/>
                      <a:pt x="84" y="0"/>
                      <a:pt x="86" y="3"/>
                    </a:cubicBezTo>
                    <a:cubicBezTo>
                      <a:pt x="144" y="163"/>
                      <a:pt x="144" y="163"/>
                      <a:pt x="144" y="163"/>
                    </a:cubicBezTo>
                    <a:cubicBezTo>
                      <a:pt x="145" y="164"/>
                      <a:pt x="145" y="165"/>
                      <a:pt x="145" y="166"/>
                    </a:cubicBezTo>
                    <a:cubicBezTo>
                      <a:pt x="145" y="169"/>
                      <a:pt x="143" y="169"/>
                      <a:pt x="141" y="169"/>
                    </a:cubicBezTo>
                    <a:cubicBezTo>
                      <a:pt x="117" y="169"/>
                      <a:pt x="117" y="169"/>
                      <a:pt x="117" y="169"/>
                    </a:cubicBezTo>
                    <a:cubicBezTo>
                      <a:pt x="113" y="169"/>
                      <a:pt x="112" y="169"/>
                      <a:pt x="110" y="165"/>
                    </a:cubicBezTo>
                    <a:lnTo>
                      <a:pt x="93" y="116"/>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7" name="Freeform 13"/>
              <p:cNvSpPr>
                <a:spLocks/>
              </p:cNvSpPr>
              <p:nvPr userDrawn="1"/>
            </p:nvSpPr>
            <p:spPr bwMode="auto">
              <a:xfrm>
                <a:off x="4833938" y="1804988"/>
                <a:ext cx="103188" cy="131762"/>
              </a:xfrm>
              <a:custGeom>
                <a:avLst/>
                <a:gdLst/>
                <a:ahLst/>
                <a:cxnLst>
                  <a:cxn ang="0">
                    <a:pos x="108" y="111"/>
                  </a:cxn>
                  <a:cxn ang="0">
                    <a:pos x="108" y="5"/>
                  </a:cxn>
                  <a:cxn ang="0">
                    <a:pos x="113" y="0"/>
                  </a:cxn>
                  <a:cxn ang="0">
                    <a:pos x="128" y="0"/>
                  </a:cxn>
                  <a:cxn ang="0">
                    <a:pos x="133" y="5"/>
                  </a:cxn>
                  <a:cxn ang="0">
                    <a:pos x="133" y="164"/>
                  </a:cxn>
                  <a:cxn ang="0">
                    <a:pos x="128" y="169"/>
                  </a:cxn>
                  <a:cxn ang="0">
                    <a:pos x="114" y="169"/>
                  </a:cxn>
                  <a:cxn ang="0">
                    <a:pos x="108" y="164"/>
                  </a:cxn>
                  <a:cxn ang="0">
                    <a:pos x="26" y="48"/>
                  </a:cxn>
                  <a:cxn ang="0">
                    <a:pos x="26" y="164"/>
                  </a:cxn>
                  <a:cxn ang="0">
                    <a:pos x="21" y="169"/>
                  </a:cxn>
                  <a:cxn ang="0">
                    <a:pos x="6" y="169"/>
                  </a:cxn>
                  <a:cxn ang="0">
                    <a:pos x="0" y="164"/>
                  </a:cxn>
                  <a:cxn ang="0">
                    <a:pos x="0" y="5"/>
                  </a:cxn>
                  <a:cxn ang="0">
                    <a:pos x="6" y="0"/>
                  </a:cxn>
                  <a:cxn ang="0">
                    <a:pos x="24" y="0"/>
                  </a:cxn>
                  <a:cxn ang="0">
                    <a:pos x="32" y="4"/>
                  </a:cxn>
                  <a:cxn ang="0">
                    <a:pos x="108" y="111"/>
                  </a:cxn>
                </a:cxnLst>
                <a:rect l="0" t="0" r="r" b="b"/>
                <a:pathLst>
                  <a:path w="133" h="169">
                    <a:moveTo>
                      <a:pt x="108" y="111"/>
                    </a:moveTo>
                    <a:cubicBezTo>
                      <a:pt x="108" y="5"/>
                      <a:pt x="108" y="5"/>
                      <a:pt x="108" y="5"/>
                    </a:cubicBezTo>
                    <a:cubicBezTo>
                      <a:pt x="108" y="1"/>
                      <a:pt x="109" y="0"/>
                      <a:pt x="113" y="0"/>
                    </a:cubicBezTo>
                    <a:cubicBezTo>
                      <a:pt x="128" y="0"/>
                      <a:pt x="128" y="0"/>
                      <a:pt x="128" y="0"/>
                    </a:cubicBezTo>
                    <a:cubicBezTo>
                      <a:pt x="132" y="0"/>
                      <a:pt x="133" y="1"/>
                      <a:pt x="133" y="5"/>
                    </a:cubicBezTo>
                    <a:cubicBezTo>
                      <a:pt x="133" y="164"/>
                      <a:pt x="133" y="164"/>
                      <a:pt x="133" y="164"/>
                    </a:cubicBezTo>
                    <a:cubicBezTo>
                      <a:pt x="133" y="168"/>
                      <a:pt x="131" y="169"/>
                      <a:pt x="128" y="169"/>
                    </a:cubicBezTo>
                    <a:cubicBezTo>
                      <a:pt x="114" y="169"/>
                      <a:pt x="114" y="169"/>
                      <a:pt x="114" y="169"/>
                    </a:cubicBezTo>
                    <a:cubicBezTo>
                      <a:pt x="111" y="169"/>
                      <a:pt x="111" y="168"/>
                      <a:pt x="108" y="164"/>
                    </a:cubicBezTo>
                    <a:cubicBezTo>
                      <a:pt x="26" y="48"/>
                      <a:pt x="26" y="48"/>
                      <a:pt x="26" y="48"/>
                    </a:cubicBezTo>
                    <a:cubicBezTo>
                      <a:pt x="26" y="164"/>
                      <a:pt x="26" y="164"/>
                      <a:pt x="26" y="164"/>
                    </a:cubicBezTo>
                    <a:cubicBezTo>
                      <a:pt x="26" y="168"/>
                      <a:pt x="25" y="169"/>
                      <a:pt x="21" y="169"/>
                    </a:cubicBezTo>
                    <a:cubicBezTo>
                      <a:pt x="6" y="169"/>
                      <a:pt x="6" y="169"/>
                      <a:pt x="6" y="169"/>
                    </a:cubicBezTo>
                    <a:cubicBezTo>
                      <a:pt x="2" y="169"/>
                      <a:pt x="0" y="169"/>
                      <a:pt x="0" y="164"/>
                    </a:cubicBezTo>
                    <a:cubicBezTo>
                      <a:pt x="0" y="5"/>
                      <a:pt x="0" y="5"/>
                      <a:pt x="0" y="5"/>
                    </a:cubicBezTo>
                    <a:cubicBezTo>
                      <a:pt x="0" y="0"/>
                      <a:pt x="2" y="0"/>
                      <a:pt x="6" y="0"/>
                    </a:cubicBezTo>
                    <a:cubicBezTo>
                      <a:pt x="24" y="0"/>
                      <a:pt x="24" y="0"/>
                      <a:pt x="24" y="0"/>
                    </a:cubicBezTo>
                    <a:cubicBezTo>
                      <a:pt x="28" y="0"/>
                      <a:pt x="29" y="0"/>
                      <a:pt x="32" y="4"/>
                    </a:cubicBezTo>
                    <a:lnTo>
                      <a:pt x="108" y="11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8" name="Freeform 14"/>
              <p:cNvSpPr>
                <a:spLocks/>
              </p:cNvSpPr>
              <p:nvPr userDrawn="1"/>
            </p:nvSpPr>
            <p:spPr bwMode="auto">
              <a:xfrm>
                <a:off x="4970463" y="1804988"/>
                <a:ext cx="88900" cy="131762"/>
              </a:xfrm>
              <a:custGeom>
                <a:avLst/>
                <a:gdLst/>
                <a:ahLst/>
                <a:cxnLst>
                  <a:cxn ang="0">
                    <a:pos x="74" y="21"/>
                  </a:cxn>
                  <a:cxn ang="0">
                    <a:pos x="74" y="163"/>
                  </a:cxn>
                  <a:cxn ang="0">
                    <a:pos x="69" y="169"/>
                  </a:cxn>
                  <a:cxn ang="0">
                    <a:pos x="48" y="169"/>
                  </a:cxn>
                  <a:cxn ang="0">
                    <a:pos x="42" y="163"/>
                  </a:cxn>
                  <a:cxn ang="0">
                    <a:pos x="42" y="21"/>
                  </a:cxn>
                  <a:cxn ang="0">
                    <a:pos x="6" y="21"/>
                  </a:cxn>
                  <a:cxn ang="0">
                    <a:pos x="0" y="16"/>
                  </a:cxn>
                  <a:cxn ang="0">
                    <a:pos x="0" y="5"/>
                  </a:cxn>
                  <a:cxn ang="0">
                    <a:pos x="6" y="0"/>
                  </a:cxn>
                  <a:cxn ang="0">
                    <a:pos x="111" y="0"/>
                  </a:cxn>
                  <a:cxn ang="0">
                    <a:pos x="116" y="4"/>
                  </a:cxn>
                  <a:cxn ang="0">
                    <a:pos x="116" y="16"/>
                  </a:cxn>
                  <a:cxn ang="0">
                    <a:pos x="111" y="21"/>
                  </a:cxn>
                  <a:cxn ang="0">
                    <a:pos x="74" y="21"/>
                  </a:cxn>
                </a:cxnLst>
                <a:rect l="0" t="0" r="r" b="b"/>
                <a:pathLst>
                  <a:path w="116" h="169">
                    <a:moveTo>
                      <a:pt x="74" y="21"/>
                    </a:moveTo>
                    <a:cubicBezTo>
                      <a:pt x="74" y="163"/>
                      <a:pt x="74" y="163"/>
                      <a:pt x="74" y="163"/>
                    </a:cubicBezTo>
                    <a:cubicBezTo>
                      <a:pt x="74" y="167"/>
                      <a:pt x="74" y="169"/>
                      <a:pt x="69" y="169"/>
                    </a:cubicBezTo>
                    <a:cubicBezTo>
                      <a:pt x="48" y="169"/>
                      <a:pt x="48" y="169"/>
                      <a:pt x="48" y="169"/>
                    </a:cubicBezTo>
                    <a:cubicBezTo>
                      <a:pt x="43" y="169"/>
                      <a:pt x="42" y="168"/>
                      <a:pt x="42" y="163"/>
                    </a:cubicBezTo>
                    <a:cubicBezTo>
                      <a:pt x="42" y="21"/>
                      <a:pt x="42" y="21"/>
                      <a:pt x="42" y="21"/>
                    </a:cubicBezTo>
                    <a:cubicBezTo>
                      <a:pt x="6" y="21"/>
                      <a:pt x="6" y="21"/>
                      <a:pt x="6" y="21"/>
                    </a:cubicBezTo>
                    <a:cubicBezTo>
                      <a:pt x="1" y="21"/>
                      <a:pt x="0" y="20"/>
                      <a:pt x="0" y="16"/>
                    </a:cubicBezTo>
                    <a:cubicBezTo>
                      <a:pt x="0" y="5"/>
                      <a:pt x="0" y="5"/>
                      <a:pt x="0" y="5"/>
                    </a:cubicBezTo>
                    <a:cubicBezTo>
                      <a:pt x="0" y="0"/>
                      <a:pt x="2" y="0"/>
                      <a:pt x="6" y="0"/>
                    </a:cubicBezTo>
                    <a:cubicBezTo>
                      <a:pt x="111" y="0"/>
                      <a:pt x="111" y="0"/>
                      <a:pt x="111" y="0"/>
                    </a:cubicBezTo>
                    <a:cubicBezTo>
                      <a:pt x="114" y="0"/>
                      <a:pt x="116" y="0"/>
                      <a:pt x="116" y="4"/>
                    </a:cubicBezTo>
                    <a:cubicBezTo>
                      <a:pt x="116" y="16"/>
                      <a:pt x="116" y="16"/>
                      <a:pt x="116" y="16"/>
                    </a:cubicBezTo>
                    <a:cubicBezTo>
                      <a:pt x="116" y="20"/>
                      <a:pt x="115" y="21"/>
                      <a:pt x="111" y="21"/>
                    </a:cubicBezTo>
                    <a:lnTo>
                      <a:pt x="74" y="2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9" name="Freeform 15"/>
              <p:cNvSpPr>
                <a:spLocks/>
              </p:cNvSpPr>
              <p:nvPr userDrawn="1"/>
            </p:nvSpPr>
            <p:spPr bwMode="auto">
              <a:xfrm>
                <a:off x="5086350" y="1801813"/>
                <a:ext cx="85725" cy="138112"/>
              </a:xfrm>
              <a:custGeom>
                <a:avLst/>
                <a:gdLst/>
                <a:ahLst/>
                <a:cxnLst>
                  <a:cxn ang="0">
                    <a:pos x="71" y="75"/>
                  </a:cxn>
                  <a:cxn ang="0">
                    <a:pos x="110" y="127"/>
                  </a:cxn>
                  <a:cxn ang="0">
                    <a:pos x="55" y="177"/>
                  </a:cxn>
                  <a:cxn ang="0">
                    <a:pos x="0" y="138"/>
                  </a:cxn>
                  <a:cxn ang="0">
                    <a:pos x="14" y="123"/>
                  </a:cxn>
                  <a:cxn ang="0">
                    <a:pos x="31" y="137"/>
                  </a:cxn>
                  <a:cxn ang="0">
                    <a:pos x="57" y="156"/>
                  </a:cxn>
                  <a:cxn ang="0">
                    <a:pos x="79" y="134"/>
                  </a:cxn>
                  <a:cxn ang="0">
                    <a:pos x="48" y="100"/>
                  </a:cxn>
                  <a:cxn ang="0">
                    <a:pos x="34" y="93"/>
                  </a:cxn>
                  <a:cxn ang="0">
                    <a:pos x="2" y="47"/>
                  </a:cxn>
                  <a:cxn ang="0">
                    <a:pos x="53" y="0"/>
                  </a:cxn>
                  <a:cxn ang="0">
                    <a:pos x="104" y="32"/>
                  </a:cxn>
                  <a:cxn ang="0">
                    <a:pos x="90" y="46"/>
                  </a:cxn>
                  <a:cxn ang="0">
                    <a:pos x="75" y="35"/>
                  </a:cxn>
                  <a:cxn ang="0">
                    <a:pos x="52" y="19"/>
                  </a:cxn>
                  <a:cxn ang="0">
                    <a:pos x="31" y="40"/>
                  </a:cxn>
                  <a:cxn ang="0">
                    <a:pos x="60" y="70"/>
                  </a:cxn>
                  <a:cxn ang="0">
                    <a:pos x="71" y="75"/>
                  </a:cxn>
                </a:cxnLst>
                <a:rect l="0" t="0" r="r" b="b"/>
                <a:pathLst>
                  <a:path w="110" h="177">
                    <a:moveTo>
                      <a:pt x="71" y="75"/>
                    </a:moveTo>
                    <a:cubicBezTo>
                      <a:pt x="86" y="83"/>
                      <a:pt x="110" y="96"/>
                      <a:pt x="110" y="127"/>
                    </a:cubicBezTo>
                    <a:cubicBezTo>
                      <a:pt x="110" y="159"/>
                      <a:pt x="86" y="177"/>
                      <a:pt x="55" y="177"/>
                    </a:cubicBezTo>
                    <a:cubicBezTo>
                      <a:pt x="16" y="177"/>
                      <a:pt x="0" y="151"/>
                      <a:pt x="0" y="138"/>
                    </a:cubicBezTo>
                    <a:cubicBezTo>
                      <a:pt x="0" y="127"/>
                      <a:pt x="8" y="123"/>
                      <a:pt x="14" y="123"/>
                    </a:cubicBezTo>
                    <a:cubicBezTo>
                      <a:pt x="23" y="123"/>
                      <a:pt x="27" y="130"/>
                      <a:pt x="31" y="137"/>
                    </a:cubicBezTo>
                    <a:cubicBezTo>
                      <a:pt x="34" y="143"/>
                      <a:pt x="41" y="156"/>
                      <a:pt x="57" y="156"/>
                    </a:cubicBezTo>
                    <a:cubicBezTo>
                      <a:pt x="70" y="156"/>
                      <a:pt x="79" y="147"/>
                      <a:pt x="79" y="134"/>
                    </a:cubicBezTo>
                    <a:cubicBezTo>
                      <a:pt x="79" y="117"/>
                      <a:pt x="67" y="110"/>
                      <a:pt x="48" y="100"/>
                    </a:cubicBezTo>
                    <a:cubicBezTo>
                      <a:pt x="34" y="93"/>
                      <a:pt x="34" y="93"/>
                      <a:pt x="34" y="93"/>
                    </a:cubicBezTo>
                    <a:cubicBezTo>
                      <a:pt x="25" y="88"/>
                      <a:pt x="2" y="76"/>
                      <a:pt x="2" y="47"/>
                    </a:cubicBezTo>
                    <a:cubicBezTo>
                      <a:pt x="2" y="18"/>
                      <a:pt x="23" y="0"/>
                      <a:pt x="53" y="0"/>
                    </a:cubicBezTo>
                    <a:cubicBezTo>
                      <a:pt x="85" y="0"/>
                      <a:pt x="104" y="18"/>
                      <a:pt x="104" y="32"/>
                    </a:cubicBezTo>
                    <a:cubicBezTo>
                      <a:pt x="104" y="40"/>
                      <a:pt x="98" y="46"/>
                      <a:pt x="90" y="46"/>
                    </a:cubicBezTo>
                    <a:cubicBezTo>
                      <a:pt x="82" y="46"/>
                      <a:pt x="79" y="40"/>
                      <a:pt x="75" y="35"/>
                    </a:cubicBezTo>
                    <a:cubicBezTo>
                      <a:pt x="71" y="29"/>
                      <a:pt x="65" y="19"/>
                      <a:pt x="52" y="19"/>
                    </a:cubicBezTo>
                    <a:cubicBezTo>
                      <a:pt x="40" y="19"/>
                      <a:pt x="31" y="28"/>
                      <a:pt x="31" y="40"/>
                    </a:cubicBezTo>
                    <a:cubicBezTo>
                      <a:pt x="31" y="56"/>
                      <a:pt x="44" y="62"/>
                      <a:pt x="60" y="70"/>
                    </a:cubicBezTo>
                    <a:lnTo>
                      <a:pt x="71" y="75"/>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sp>
          <p:nvSpPr>
            <p:cNvPr id="13" name="Rectangle 16"/>
            <p:cNvSpPr>
              <a:spLocks noChangeArrowheads="1"/>
            </p:cNvSpPr>
            <p:nvPr userDrawn="1"/>
          </p:nvSpPr>
          <p:spPr bwMode="auto">
            <a:xfrm>
              <a:off x="3813175" y="1984375"/>
              <a:ext cx="1368425" cy="9525"/>
            </a:xfrm>
            <a:prstGeom prst="rect">
              <a:avLst/>
            </a:prstGeom>
            <a:solidFill>
              <a:srgbClr val="225696"/>
            </a:solidFill>
            <a:ln w="9525">
              <a:noFill/>
              <a:miter lim="800000"/>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nvGrpSpPr>
            <p:cNvPr id="14" name="Group 31"/>
            <p:cNvGrpSpPr/>
            <p:nvPr userDrawn="1"/>
          </p:nvGrpSpPr>
          <p:grpSpPr>
            <a:xfrm>
              <a:off x="3813175" y="1435101"/>
              <a:ext cx="1358901" cy="317499"/>
              <a:chOff x="3813175" y="1435101"/>
              <a:chExt cx="1358901" cy="317499"/>
            </a:xfrm>
          </p:grpSpPr>
          <p:sp>
            <p:nvSpPr>
              <p:cNvPr id="23" name="Freeform 17"/>
              <p:cNvSpPr>
                <a:spLocks/>
              </p:cNvSpPr>
              <p:nvPr userDrawn="1"/>
            </p:nvSpPr>
            <p:spPr bwMode="auto">
              <a:xfrm>
                <a:off x="4551363" y="1452563"/>
                <a:ext cx="285750" cy="300037"/>
              </a:xfrm>
              <a:custGeom>
                <a:avLst/>
                <a:gdLst/>
                <a:ahLst/>
                <a:cxnLst>
                  <a:cxn ang="0">
                    <a:pos x="54" y="0"/>
                  </a:cxn>
                  <a:cxn ang="0">
                    <a:pos x="201" y="207"/>
                  </a:cxn>
                  <a:cxn ang="0">
                    <a:pos x="330" y="0"/>
                  </a:cxn>
                  <a:cxn ang="0">
                    <a:pos x="368" y="38"/>
                  </a:cxn>
                  <a:cxn ang="0">
                    <a:pos x="228" y="314"/>
                  </a:cxn>
                  <a:cxn ang="0">
                    <a:pos x="51" y="387"/>
                  </a:cxn>
                  <a:cxn ang="0">
                    <a:pos x="0" y="357"/>
                  </a:cxn>
                  <a:cxn ang="0">
                    <a:pos x="55" y="325"/>
                  </a:cxn>
                  <a:cxn ang="0">
                    <a:pos x="170" y="272"/>
                  </a:cxn>
                  <a:cxn ang="0">
                    <a:pos x="20" y="50"/>
                  </a:cxn>
                  <a:cxn ang="0">
                    <a:pos x="54" y="0"/>
                  </a:cxn>
                </a:cxnLst>
                <a:rect l="0" t="0" r="r" b="b"/>
                <a:pathLst>
                  <a:path w="368" h="387">
                    <a:moveTo>
                      <a:pt x="54" y="0"/>
                    </a:moveTo>
                    <a:cubicBezTo>
                      <a:pt x="99" y="0"/>
                      <a:pt x="96" y="207"/>
                      <a:pt x="201" y="207"/>
                    </a:cubicBezTo>
                    <a:cubicBezTo>
                      <a:pt x="296" y="207"/>
                      <a:pt x="280" y="0"/>
                      <a:pt x="330" y="0"/>
                    </a:cubicBezTo>
                    <a:cubicBezTo>
                      <a:pt x="368" y="0"/>
                      <a:pt x="368" y="28"/>
                      <a:pt x="368" y="38"/>
                    </a:cubicBezTo>
                    <a:cubicBezTo>
                      <a:pt x="368" y="48"/>
                      <a:pt x="332" y="235"/>
                      <a:pt x="228" y="314"/>
                    </a:cubicBezTo>
                    <a:cubicBezTo>
                      <a:pt x="147" y="376"/>
                      <a:pt x="81" y="387"/>
                      <a:pt x="51" y="387"/>
                    </a:cubicBezTo>
                    <a:cubicBezTo>
                      <a:pt x="21" y="387"/>
                      <a:pt x="0" y="376"/>
                      <a:pt x="0" y="357"/>
                    </a:cubicBezTo>
                    <a:cubicBezTo>
                      <a:pt x="0" y="339"/>
                      <a:pt x="21" y="328"/>
                      <a:pt x="55" y="325"/>
                    </a:cubicBezTo>
                    <a:cubicBezTo>
                      <a:pt x="95" y="322"/>
                      <a:pt x="170" y="287"/>
                      <a:pt x="170" y="272"/>
                    </a:cubicBezTo>
                    <a:cubicBezTo>
                      <a:pt x="74" y="272"/>
                      <a:pt x="22" y="64"/>
                      <a:pt x="20" y="50"/>
                    </a:cubicBezTo>
                    <a:cubicBezTo>
                      <a:pt x="16" y="11"/>
                      <a:pt x="32" y="0"/>
                      <a:pt x="54" y="0"/>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6" name="Freeform 18"/>
              <p:cNvSpPr>
                <a:spLocks/>
              </p:cNvSpPr>
              <p:nvPr userDrawn="1"/>
            </p:nvSpPr>
            <p:spPr bwMode="auto">
              <a:xfrm>
                <a:off x="4189413" y="1444625"/>
                <a:ext cx="309563" cy="233362"/>
              </a:xfrm>
              <a:custGeom>
                <a:avLst/>
                <a:gdLst/>
                <a:ahLst/>
                <a:cxnLst>
                  <a:cxn ang="0">
                    <a:pos x="371" y="251"/>
                  </a:cxn>
                  <a:cxn ang="0">
                    <a:pos x="258" y="158"/>
                  </a:cxn>
                  <a:cxn ang="0">
                    <a:pos x="361" y="48"/>
                  </a:cxn>
                  <a:cxn ang="0">
                    <a:pos x="384" y="19"/>
                  </a:cxn>
                  <a:cxn ang="0">
                    <a:pos x="349" y="2"/>
                  </a:cxn>
                  <a:cxn ang="0">
                    <a:pos x="200" y="91"/>
                  </a:cxn>
                  <a:cxn ang="0">
                    <a:pos x="51" y="2"/>
                  </a:cxn>
                  <a:cxn ang="0">
                    <a:pos x="16" y="19"/>
                  </a:cxn>
                  <a:cxn ang="0">
                    <a:pos x="39" y="48"/>
                  </a:cxn>
                  <a:cxn ang="0">
                    <a:pos x="142" y="158"/>
                  </a:cxn>
                  <a:cxn ang="0">
                    <a:pos x="29" y="251"/>
                  </a:cxn>
                  <a:cxn ang="0">
                    <a:pos x="4" y="280"/>
                  </a:cxn>
                  <a:cxn ang="0">
                    <a:pos x="41" y="298"/>
                  </a:cxn>
                  <a:cxn ang="0">
                    <a:pos x="200" y="218"/>
                  </a:cxn>
                  <a:cxn ang="0">
                    <a:pos x="359" y="298"/>
                  </a:cxn>
                  <a:cxn ang="0">
                    <a:pos x="396" y="280"/>
                  </a:cxn>
                  <a:cxn ang="0">
                    <a:pos x="371" y="251"/>
                  </a:cxn>
                </a:cxnLst>
                <a:rect l="0" t="0" r="r" b="b"/>
                <a:pathLst>
                  <a:path w="399" h="300">
                    <a:moveTo>
                      <a:pt x="371" y="251"/>
                    </a:moveTo>
                    <a:cubicBezTo>
                      <a:pt x="370" y="251"/>
                      <a:pt x="258" y="225"/>
                      <a:pt x="258" y="158"/>
                    </a:cubicBezTo>
                    <a:cubicBezTo>
                      <a:pt x="258" y="79"/>
                      <a:pt x="360" y="48"/>
                      <a:pt x="361" y="48"/>
                    </a:cubicBezTo>
                    <a:cubicBezTo>
                      <a:pt x="373" y="44"/>
                      <a:pt x="387" y="31"/>
                      <a:pt x="384" y="19"/>
                    </a:cubicBezTo>
                    <a:cubicBezTo>
                      <a:pt x="379" y="2"/>
                      <a:pt x="365" y="0"/>
                      <a:pt x="349" y="2"/>
                    </a:cubicBezTo>
                    <a:cubicBezTo>
                      <a:pt x="345" y="2"/>
                      <a:pt x="247" y="26"/>
                      <a:pt x="200" y="91"/>
                    </a:cubicBezTo>
                    <a:cubicBezTo>
                      <a:pt x="152" y="26"/>
                      <a:pt x="55" y="3"/>
                      <a:pt x="51" y="2"/>
                    </a:cubicBezTo>
                    <a:cubicBezTo>
                      <a:pt x="39" y="0"/>
                      <a:pt x="19" y="6"/>
                      <a:pt x="16" y="19"/>
                    </a:cubicBezTo>
                    <a:cubicBezTo>
                      <a:pt x="12" y="31"/>
                      <a:pt x="27" y="44"/>
                      <a:pt x="39" y="48"/>
                    </a:cubicBezTo>
                    <a:cubicBezTo>
                      <a:pt x="40" y="48"/>
                      <a:pt x="142" y="79"/>
                      <a:pt x="142" y="158"/>
                    </a:cubicBezTo>
                    <a:cubicBezTo>
                      <a:pt x="142" y="225"/>
                      <a:pt x="30" y="251"/>
                      <a:pt x="29" y="251"/>
                    </a:cubicBezTo>
                    <a:cubicBezTo>
                      <a:pt x="16" y="254"/>
                      <a:pt x="0" y="267"/>
                      <a:pt x="4" y="280"/>
                    </a:cubicBezTo>
                    <a:cubicBezTo>
                      <a:pt x="7" y="293"/>
                      <a:pt x="26" y="300"/>
                      <a:pt x="41" y="298"/>
                    </a:cubicBezTo>
                    <a:cubicBezTo>
                      <a:pt x="45" y="297"/>
                      <a:pt x="152" y="277"/>
                      <a:pt x="200" y="218"/>
                    </a:cubicBezTo>
                    <a:cubicBezTo>
                      <a:pt x="248" y="277"/>
                      <a:pt x="355" y="297"/>
                      <a:pt x="359" y="298"/>
                    </a:cubicBezTo>
                    <a:cubicBezTo>
                      <a:pt x="374" y="300"/>
                      <a:pt x="392" y="297"/>
                      <a:pt x="396" y="280"/>
                    </a:cubicBezTo>
                    <a:cubicBezTo>
                      <a:pt x="399" y="267"/>
                      <a:pt x="384" y="254"/>
                      <a:pt x="371" y="251"/>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7" name="Freeform 19"/>
              <p:cNvSpPr>
                <a:spLocks/>
              </p:cNvSpPr>
              <p:nvPr userDrawn="1"/>
            </p:nvSpPr>
            <p:spPr bwMode="auto">
              <a:xfrm>
                <a:off x="4887913" y="1435101"/>
                <a:ext cx="284163" cy="265112"/>
              </a:xfrm>
              <a:custGeom>
                <a:avLst/>
                <a:gdLst/>
                <a:ahLst/>
                <a:cxnLst>
                  <a:cxn ang="0">
                    <a:pos x="208" y="143"/>
                  </a:cxn>
                  <a:cxn ang="0">
                    <a:pos x="200" y="142"/>
                  </a:cxn>
                  <a:cxn ang="0">
                    <a:pos x="105" y="105"/>
                  </a:cxn>
                  <a:cxn ang="0">
                    <a:pos x="115" y="84"/>
                  </a:cxn>
                  <a:cxn ang="0">
                    <a:pos x="295" y="87"/>
                  </a:cxn>
                  <a:cxn ang="0">
                    <a:pos x="333" y="70"/>
                  </a:cxn>
                  <a:cxn ang="0">
                    <a:pos x="305" y="35"/>
                  </a:cxn>
                  <a:cxn ang="0">
                    <a:pos x="62" y="46"/>
                  </a:cxn>
                  <a:cxn ang="0">
                    <a:pos x="34" y="104"/>
                  </a:cxn>
                  <a:cxn ang="0">
                    <a:pos x="170" y="194"/>
                  </a:cxn>
                  <a:cxn ang="0">
                    <a:pos x="296" y="231"/>
                  </a:cxn>
                  <a:cxn ang="0">
                    <a:pos x="285" y="249"/>
                  </a:cxn>
                  <a:cxn ang="0">
                    <a:pos x="45" y="236"/>
                  </a:cxn>
                  <a:cxn ang="0">
                    <a:pos x="2" y="248"/>
                  </a:cxn>
                  <a:cxn ang="0">
                    <a:pos x="2" y="265"/>
                  </a:cxn>
                  <a:cxn ang="0">
                    <a:pos x="23" y="287"/>
                  </a:cxn>
                  <a:cxn ang="0">
                    <a:pos x="331" y="294"/>
                  </a:cxn>
                  <a:cxn ang="0">
                    <a:pos x="367" y="231"/>
                  </a:cxn>
                  <a:cxn ang="0">
                    <a:pos x="208" y="143"/>
                  </a:cxn>
                </a:cxnLst>
                <a:rect l="0" t="0" r="r" b="b"/>
                <a:pathLst>
                  <a:path w="367" h="342">
                    <a:moveTo>
                      <a:pt x="208" y="143"/>
                    </a:moveTo>
                    <a:cubicBezTo>
                      <a:pt x="200" y="142"/>
                      <a:pt x="200" y="142"/>
                      <a:pt x="200" y="142"/>
                    </a:cubicBezTo>
                    <a:cubicBezTo>
                      <a:pt x="177" y="139"/>
                      <a:pt x="105" y="130"/>
                      <a:pt x="105" y="105"/>
                    </a:cubicBezTo>
                    <a:cubicBezTo>
                      <a:pt x="105" y="96"/>
                      <a:pt x="108" y="89"/>
                      <a:pt x="115" y="84"/>
                    </a:cubicBezTo>
                    <a:cubicBezTo>
                      <a:pt x="148" y="57"/>
                      <a:pt x="252" y="77"/>
                      <a:pt x="295" y="87"/>
                    </a:cubicBezTo>
                    <a:cubicBezTo>
                      <a:pt x="311" y="90"/>
                      <a:pt x="330" y="86"/>
                      <a:pt x="333" y="70"/>
                    </a:cubicBezTo>
                    <a:cubicBezTo>
                      <a:pt x="337" y="54"/>
                      <a:pt x="320" y="39"/>
                      <a:pt x="305" y="35"/>
                    </a:cubicBezTo>
                    <a:cubicBezTo>
                      <a:pt x="258" y="23"/>
                      <a:pt x="121" y="0"/>
                      <a:pt x="62" y="46"/>
                    </a:cubicBezTo>
                    <a:cubicBezTo>
                      <a:pt x="43" y="60"/>
                      <a:pt x="34" y="79"/>
                      <a:pt x="34" y="104"/>
                    </a:cubicBezTo>
                    <a:cubicBezTo>
                      <a:pt x="34" y="162"/>
                      <a:pt x="88" y="182"/>
                      <a:pt x="170" y="194"/>
                    </a:cubicBezTo>
                    <a:cubicBezTo>
                      <a:pt x="237" y="204"/>
                      <a:pt x="296" y="212"/>
                      <a:pt x="296" y="231"/>
                    </a:cubicBezTo>
                    <a:cubicBezTo>
                      <a:pt x="296" y="238"/>
                      <a:pt x="292" y="244"/>
                      <a:pt x="285" y="249"/>
                    </a:cubicBezTo>
                    <a:cubicBezTo>
                      <a:pt x="241" y="277"/>
                      <a:pt x="94" y="257"/>
                      <a:pt x="45" y="236"/>
                    </a:cubicBezTo>
                    <a:cubicBezTo>
                      <a:pt x="30" y="230"/>
                      <a:pt x="9" y="233"/>
                      <a:pt x="2" y="248"/>
                    </a:cubicBezTo>
                    <a:cubicBezTo>
                      <a:pt x="0" y="253"/>
                      <a:pt x="0" y="259"/>
                      <a:pt x="2" y="265"/>
                    </a:cubicBezTo>
                    <a:cubicBezTo>
                      <a:pt x="5" y="274"/>
                      <a:pt x="14" y="283"/>
                      <a:pt x="23" y="287"/>
                    </a:cubicBezTo>
                    <a:cubicBezTo>
                      <a:pt x="78" y="313"/>
                      <a:pt x="256" y="342"/>
                      <a:pt x="331" y="294"/>
                    </a:cubicBezTo>
                    <a:cubicBezTo>
                      <a:pt x="355" y="279"/>
                      <a:pt x="367" y="258"/>
                      <a:pt x="367" y="231"/>
                    </a:cubicBezTo>
                    <a:cubicBezTo>
                      <a:pt x="367" y="162"/>
                      <a:pt x="293" y="153"/>
                      <a:pt x="208" y="143"/>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8" name="Freeform 20"/>
              <p:cNvSpPr>
                <a:spLocks noEditPoints="1"/>
              </p:cNvSpPr>
              <p:nvPr userDrawn="1"/>
            </p:nvSpPr>
            <p:spPr bwMode="auto">
              <a:xfrm>
                <a:off x="3813175" y="1441451"/>
                <a:ext cx="341313" cy="234950"/>
              </a:xfrm>
              <a:custGeom>
                <a:avLst/>
                <a:gdLst/>
                <a:ahLst/>
                <a:cxnLst>
                  <a:cxn ang="0">
                    <a:pos x="286" y="219"/>
                  </a:cxn>
                  <a:cxn ang="0">
                    <a:pos x="222" y="258"/>
                  </a:cxn>
                  <a:cxn ang="0">
                    <a:pos x="103" y="208"/>
                  </a:cxn>
                  <a:cxn ang="0">
                    <a:pos x="163" y="165"/>
                  </a:cxn>
                  <a:cxn ang="0">
                    <a:pos x="163" y="165"/>
                  </a:cxn>
                  <a:cxn ang="0">
                    <a:pos x="287" y="155"/>
                  </a:cxn>
                  <a:cxn ang="0">
                    <a:pos x="286" y="219"/>
                  </a:cxn>
                  <a:cxn ang="0">
                    <a:pos x="282" y="112"/>
                  </a:cxn>
                  <a:cxn ang="0">
                    <a:pos x="143" y="117"/>
                  </a:cxn>
                  <a:cxn ang="0">
                    <a:pos x="0" y="211"/>
                  </a:cxn>
                  <a:cxn ang="0">
                    <a:pos x="35" y="270"/>
                  </a:cxn>
                  <a:cxn ang="0">
                    <a:pos x="186" y="304"/>
                  </a:cxn>
                  <a:cxn ang="0">
                    <a:pos x="287" y="290"/>
                  </a:cxn>
                  <a:cxn ang="0">
                    <a:pos x="335" y="275"/>
                  </a:cxn>
                  <a:cxn ang="0">
                    <a:pos x="398" y="304"/>
                  </a:cxn>
                  <a:cxn ang="0">
                    <a:pos x="395" y="246"/>
                  </a:cxn>
                  <a:cxn ang="0">
                    <a:pos x="388" y="157"/>
                  </a:cxn>
                  <a:cxn ang="0">
                    <a:pos x="312" y="21"/>
                  </a:cxn>
                  <a:cxn ang="0">
                    <a:pos x="186" y="1"/>
                  </a:cxn>
                  <a:cxn ang="0">
                    <a:pos x="34" y="42"/>
                  </a:cxn>
                  <a:cxn ang="0">
                    <a:pos x="55" y="79"/>
                  </a:cxn>
                  <a:cxn ang="0">
                    <a:pos x="195" y="47"/>
                  </a:cxn>
                  <a:cxn ang="0">
                    <a:pos x="282" y="112"/>
                  </a:cxn>
                </a:cxnLst>
                <a:rect l="0" t="0" r="r" b="b"/>
                <a:pathLst>
                  <a:path w="440" h="304">
                    <a:moveTo>
                      <a:pt x="286" y="219"/>
                    </a:moveTo>
                    <a:cubicBezTo>
                      <a:pt x="279" y="241"/>
                      <a:pt x="260" y="258"/>
                      <a:pt x="222" y="258"/>
                    </a:cubicBezTo>
                    <a:cubicBezTo>
                      <a:pt x="164" y="258"/>
                      <a:pt x="103" y="236"/>
                      <a:pt x="103" y="208"/>
                    </a:cubicBezTo>
                    <a:cubicBezTo>
                      <a:pt x="103" y="190"/>
                      <a:pt x="129" y="174"/>
                      <a:pt x="163" y="165"/>
                    </a:cubicBezTo>
                    <a:cubicBezTo>
                      <a:pt x="163" y="165"/>
                      <a:pt x="163" y="165"/>
                      <a:pt x="163" y="165"/>
                    </a:cubicBezTo>
                    <a:cubicBezTo>
                      <a:pt x="163" y="165"/>
                      <a:pt x="221" y="150"/>
                      <a:pt x="287" y="155"/>
                    </a:cubicBezTo>
                    <a:cubicBezTo>
                      <a:pt x="291" y="169"/>
                      <a:pt x="292" y="200"/>
                      <a:pt x="286" y="219"/>
                    </a:cubicBezTo>
                    <a:moveTo>
                      <a:pt x="282" y="112"/>
                    </a:moveTo>
                    <a:cubicBezTo>
                      <a:pt x="265" y="111"/>
                      <a:pt x="189" y="111"/>
                      <a:pt x="143" y="117"/>
                    </a:cubicBezTo>
                    <a:cubicBezTo>
                      <a:pt x="35" y="133"/>
                      <a:pt x="0" y="175"/>
                      <a:pt x="0" y="211"/>
                    </a:cubicBezTo>
                    <a:cubicBezTo>
                      <a:pt x="0" y="233"/>
                      <a:pt x="11" y="256"/>
                      <a:pt x="35" y="270"/>
                    </a:cubicBezTo>
                    <a:cubicBezTo>
                      <a:pt x="67" y="290"/>
                      <a:pt x="120" y="304"/>
                      <a:pt x="186" y="304"/>
                    </a:cubicBezTo>
                    <a:cubicBezTo>
                      <a:pt x="222" y="304"/>
                      <a:pt x="257" y="300"/>
                      <a:pt x="287" y="290"/>
                    </a:cubicBezTo>
                    <a:cubicBezTo>
                      <a:pt x="287" y="290"/>
                      <a:pt x="327" y="275"/>
                      <a:pt x="335" y="275"/>
                    </a:cubicBezTo>
                    <a:cubicBezTo>
                      <a:pt x="360" y="275"/>
                      <a:pt x="354" y="304"/>
                      <a:pt x="398" y="304"/>
                    </a:cubicBezTo>
                    <a:cubicBezTo>
                      <a:pt x="440" y="304"/>
                      <a:pt x="402" y="272"/>
                      <a:pt x="395" y="246"/>
                    </a:cubicBezTo>
                    <a:cubicBezTo>
                      <a:pt x="388" y="218"/>
                      <a:pt x="389" y="173"/>
                      <a:pt x="388" y="157"/>
                    </a:cubicBezTo>
                    <a:cubicBezTo>
                      <a:pt x="385" y="98"/>
                      <a:pt x="366" y="48"/>
                      <a:pt x="312" y="21"/>
                    </a:cubicBezTo>
                    <a:cubicBezTo>
                      <a:pt x="279" y="5"/>
                      <a:pt x="244" y="0"/>
                      <a:pt x="186" y="1"/>
                    </a:cubicBezTo>
                    <a:cubicBezTo>
                      <a:pt x="139" y="2"/>
                      <a:pt x="67" y="22"/>
                      <a:pt x="34" y="42"/>
                    </a:cubicBezTo>
                    <a:cubicBezTo>
                      <a:pt x="6" y="60"/>
                      <a:pt x="26" y="91"/>
                      <a:pt x="55" y="79"/>
                    </a:cubicBezTo>
                    <a:cubicBezTo>
                      <a:pt x="108" y="56"/>
                      <a:pt x="141" y="46"/>
                      <a:pt x="195" y="47"/>
                    </a:cubicBezTo>
                    <a:cubicBezTo>
                      <a:pt x="234" y="48"/>
                      <a:pt x="273" y="57"/>
                      <a:pt x="282" y="112"/>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grpSp>
          <p:nvGrpSpPr>
            <p:cNvPr id="15" name="Group 33"/>
            <p:cNvGrpSpPr/>
            <p:nvPr userDrawn="1"/>
          </p:nvGrpSpPr>
          <p:grpSpPr>
            <a:xfrm>
              <a:off x="3825875" y="2044700"/>
              <a:ext cx="1347788" cy="114300"/>
              <a:chOff x="3825875" y="2044700"/>
              <a:chExt cx="1347788" cy="114300"/>
            </a:xfrm>
          </p:grpSpPr>
          <p:sp>
            <p:nvSpPr>
              <p:cNvPr id="19" name="Freeform 21"/>
              <p:cNvSpPr>
                <a:spLocks noEditPoints="1"/>
              </p:cNvSpPr>
              <p:nvPr userDrawn="1"/>
            </p:nvSpPr>
            <p:spPr bwMode="auto">
              <a:xfrm>
                <a:off x="3825875" y="2044700"/>
                <a:ext cx="1347788" cy="114300"/>
              </a:xfrm>
              <a:custGeom>
                <a:avLst/>
                <a:gdLst/>
                <a:ahLst/>
                <a:cxnLst>
                  <a:cxn ang="0">
                    <a:pos x="1726" y="117"/>
                  </a:cxn>
                  <a:cxn ang="0">
                    <a:pos x="1670" y="43"/>
                  </a:cxn>
                  <a:cxn ang="0">
                    <a:pos x="1648" y="17"/>
                  </a:cxn>
                  <a:cxn ang="0">
                    <a:pos x="1557" y="60"/>
                  </a:cxn>
                  <a:cxn ang="0">
                    <a:pos x="1605" y="92"/>
                  </a:cxn>
                  <a:cxn ang="0">
                    <a:pos x="1547" y="57"/>
                  </a:cxn>
                  <a:cxn ang="0">
                    <a:pos x="1615" y="95"/>
                  </a:cxn>
                  <a:cxn ang="0">
                    <a:pos x="1526" y="5"/>
                  </a:cxn>
                  <a:cxn ang="0">
                    <a:pos x="1448" y="114"/>
                  </a:cxn>
                  <a:cxn ang="0">
                    <a:pos x="1430" y="69"/>
                  </a:cxn>
                  <a:cxn ang="0">
                    <a:pos x="1456" y="44"/>
                  </a:cxn>
                  <a:cxn ang="0">
                    <a:pos x="1411" y="46"/>
                  </a:cxn>
                  <a:cxn ang="0">
                    <a:pos x="1435" y="83"/>
                  </a:cxn>
                  <a:cxn ang="0">
                    <a:pos x="1431" y="111"/>
                  </a:cxn>
                  <a:cxn ang="0">
                    <a:pos x="1369" y="110"/>
                  </a:cxn>
                  <a:cxn ang="0">
                    <a:pos x="1332" y="109"/>
                  </a:cxn>
                  <a:cxn ang="0">
                    <a:pos x="1304" y="5"/>
                  </a:cxn>
                  <a:cxn ang="0">
                    <a:pos x="1261" y="63"/>
                  </a:cxn>
                  <a:cxn ang="0">
                    <a:pos x="1218" y="44"/>
                  </a:cxn>
                  <a:cxn ang="0">
                    <a:pos x="1271" y="60"/>
                  </a:cxn>
                  <a:cxn ang="0">
                    <a:pos x="1218" y="114"/>
                  </a:cxn>
                  <a:cxn ang="0">
                    <a:pos x="1155" y="36"/>
                  </a:cxn>
                  <a:cxn ang="0">
                    <a:pos x="1059" y="43"/>
                  </a:cxn>
                  <a:cxn ang="0">
                    <a:pos x="1060" y="111"/>
                  </a:cxn>
                  <a:cxn ang="0">
                    <a:pos x="1059" y="36"/>
                  </a:cxn>
                  <a:cxn ang="0">
                    <a:pos x="1060" y="118"/>
                  </a:cxn>
                  <a:cxn ang="0">
                    <a:pos x="1007" y="5"/>
                  </a:cxn>
                  <a:cxn ang="0">
                    <a:pos x="930" y="107"/>
                  </a:cxn>
                  <a:cxn ang="0">
                    <a:pos x="930" y="107"/>
                  </a:cxn>
                  <a:cxn ang="0">
                    <a:pos x="885" y="78"/>
                  </a:cxn>
                  <a:cxn ang="0">
                    <a:pos x="913" y="36"/>
                  </a:cxn>
                  <a:cxn ang="0">
                    <a:pos x="842" y="34"/>
                  </a:cxn>
                  <a:cxn ang="0">
                    <a:pos x="768" y="61"/>
                  </a:cxn>
                  <a:cxn ang="0">
                    <a:pos x="801" y="37"/>
                  </a:cxn>
                  <a:cxn ang="0">
                    <a:pos x="778" y="116"/>
                  </a:cxn>
                  <a:cxn ang="0">
                    <a:pos x="643" y="117"/>
                  </a:cxn>
                  <a:cxn ang="0">
                    <a:pos x="700" y="75"/>
                  </a:cxn>
                  <a:cxn ang="0">
                    <a:pos x="564" y="109"/>
                  </a:cxn>
                  <a:cxn ang="0">
                    <a:pos x="588" y="45"/>
                  </a:cxn>
                  <a:cxn ang="0">
                    <a:pos x="564" y="109"/>
                  </a:cxn>
                  <a:cxn ang="0">
                    <a:pos x="559" y="116"/>
                  </a:cxn>
                  <a:cxn ang="0">
                    <a:pos x="592" y="38"/>
                  </a:cxn>
                  <a:cxn ang="0">
                    <a:pos x="522" y="17"/>
                  </a:cxn>
                  <a:cxn ang="0">
                    <a:pos x="467" y="45"/>
                  </a:cxn>
                  <a:cxn ang="0">
                    <a:pos x="496" y="110"/>
                  </a:cxn>
                  <a:cxn ang="0">
                    <a:pos x="477" y="45"/>
                  </a:cxn>
                  <a:cxn ang="0">
                    <a:pos x="440" y="37"/>
                  </a:cxn>
                  <a:cxn ang="0">
                    <a:pos x="353" y="47"/>
                  </a:cxn>
                  <a:cxn ang="0">
                    <a:pos x="392" y="102"/>
                  </a:cxn>
                  <a:cxn ang="0">
                    <a:pos x="354" y="118"/>
                  </a:cxn>
                  <a:cxn ang="0">
                    <a:pos x="392" y="38"/>
                  </a:cxn>
                  <a:cxn ang="0">
                    <a:pos x="212" y="47"/>
                  </a:cxn>
                  <a:cxn ang="0">
                    <a:pos x="267" y="117"/>
                  </a:cxn>
                  <a:cxn ang="0">
                    <a:pos x="309" y="60"/>
                  </a:cxn>
                  <a:cxn ang="0">
                    <a:pos x="289" y="36"/>
                  </a:cxn>
                  <a:cxn ang="0">
                    <a:pos x="201" y="117"/>
                  </a:cxn>
                  <a:cxn ang="0">
                    <a:pos x="169" y="76"/>
                  </a:cxn>
                  <a:cxn ang="0">
                    <a:pos x="143" y="71"/>
                  </a:cxn>
                  <a:cxn ang="0">
                    <a:pos x="173" y="42"/>
                  </a:cxn>
                  <a:cxn ang="0">
                    <a:pos x="89" y="0"/>
                  </a:cxn>
                  <a:cxn ang="0">
                    <a:pos x="70" y="117"/>
                  </a:cxn>
                </a:cxnLst>
                <a:rect l="0" t="0" r="r" b="b"/>
                <a:pathLst>
                  <a:path w="1737" h="148">
                    <a:moveTo>
                      <a:pt x="1670" y="117"/>
                    </a:moveTo>
                    <a:cubicBezTo>
                      <a:pt x="1680" y="117"/>
                      <a:pt x="1680" y="117"/>
                      <a:pt x="1680" y="117"/>
                    </a:cubicBezTo>
                    <a:cubicBezTo>
                      <a:pt x="1680" y="47"/>
                      <a:pt x="1680" y="47"/>
                      <a:pt x="1680" y="47"/>
                    </a:cubicBezTo>
                    <a:cubicBezTo>
                      <a:pt x="1683" y="46"/>
                      <a:pt x="1686" y="45"/>
                      <a:pt x="1690" y="44"/>
                    </a:cubicBezTo>
                    <a:cubicBezTo>
                      <a:pt x="1694" y="43"/>
                      <a:pt x="1698" y="43"/>
                      <a:pt x="1703" y="43"/>
                    </a:cubicBezTo>
                    <a:cubicBezTo>
                      <a:pt x="1712" y="43"/>
                      <a:pt x="1718" y="45"/>
                      <a:pt x="1721" y="51"/>
                    </a:cubicBezTo>
                    <a:cubicBezTo>
                      <a:pt x="1725" y="56"/>
                      <a:pt x="1726" y="64"/>
                      <a:pt x="1726" y="75"/>
                    </a:cubicBezTo>
                    <a:cubicBezTo>
                      <a:pt x="1726" y="117"/>
                      <a:pt x="1726" y="117"/>
                      <a:pt x="1726" y="117"/>
                    </a:cubicBezTo>
                    <a:cubicBezTo>
                      <a:pt x="1737" y="117"/>
                      <a:pt x="1737" y="117"/>
                      <a:pt x="1737" y="117"/>
                    </a:cubicBezTo>
                    <a:cubicBezTo>
                      <a:pt x="1737" y="75"/>
                      <a:pt x="1737" y="75"/>
                      <a:pt x="1737" y="75"/>
                    </a:cubicBezTo>
                    <a:cubicBezTo>
                      <a:pt x="1737" y="69"/>
                      <a:pt x="1737" y="63"/>
                      <a:pt x="1736" y="58"/>
                    </a:cubicBezTo>
                    <a:cubicBezTo>
                      <a:pt x="1734" y="53"/>
                      <a:pt x="1732" y="49"/>
                      <a:pt x="1730" y="45"/>
                    </a:cubicBezTo>
                    <a:cubicBezTo>
                      <a:pt x="1727" y="42"/>
                      <a:pt x="1723" y="40"/>
                      <a:pt x="1719" y="38"/>
                    </a:cubicBezTo>
                    <a:cubicBezTo>
                      <a:pt x="1715" y="37"/>
                      <a:pt x="1709" y="36"/>
                      <a:pt x="1703" y="36"/>
                    </a:cubicBezTo>
                    <a:cubicBezTo>
                      <a:pt x="1697" y="36"/>
                      <a:pt x="1692" y="36"/>
                      <a:pt x="1686" y="37"/>
                    </a:cubicBezTo>
                    <a:cubicBezTo>
                      <a:pt x="1681" y="39"/>
                      <a:pt x="1676" y="40"/>
                      <a:pt x="1670" y="43"/>
                    </a:cubicBezTo>
                    <a:lnTo>
                      <a:pt x="1670" y="117"/>
                    </a:lnTo>
                    <a:close/>
                    <a:moveTo>
                      <a:pt x="1637" y="117"/>
                    </a:moveTo>
                    <a:cubicBezTo>
                      <a:pt x="1648" y="117"/>
                      <a:pt x="1648" y="117"/>
                      <a:pt x="1648" y="117"/>
                    </a:cubicBezTo>
                    <a:cubicBezTo>
                      <a:pt x="1648" y="37"/>
                      <a:pt x="1648" y="37"/>
                      <a:pt x="1648" y="37"/>
                    </a:cubicBezTo>
                    <a:cubicBezTo>
                      <a:pt x="1637" y="37"/>
                      <a:pt x="1637" y="37"/>
                      <a:pt x="1637" y="37"/>
                    </a:cubicBezTo>
                    <a:lnTo>
                      <a:pt x="1637" y="117"/>
                    </a:lnTo>
                    <a:close/>
                    <a:moveTo>
                      <a:pt x="1637" y="17"/>
                    </a:moveTo>
                    <a:cubicBezTo>
                      <a:pt x="1648" y="17"/>
                      <a:pt x="1648" y="17"/>
                      <a:pt x="1648" y="17"/>
                    </a:cubicBezTo>
                    <a:cubicBezTo>
                      <a:pt x="1648" y="6"/>
                      <a:pt x="1648" y="6"/>
                      <a:pt x="1648" y="6"/>
                    </a:cubicBezTo>
                    <a:cubicBezTo>
                      <a:pt x="1637" y="6"/>
                      <a:pt x="1637" y="6"/>
                      <a:pt x="1637" y="6"/>
                    </a:cubicBezTo>
                    <a:lnTo>
                      <a:pt x="1637" y="17"/>
                    </a:lnTo>
                    <a:close/>
                    <a:moveTo>
                      <a:pt x="1568" y="109"/>
                    </a:moveTo>
                    <a:cubicBezTo>
                      <a:pt x="1565" y="108"/>
                      <a:pt x="1562" y="106"/>
                      <a:pt x="1560" y="103"/>
                    </a:cubicBezTo>
                    <a:cubicBezTo>
                      <a:pt x="1558" y="100"/>
                      <a:pt x="1557" y="97"/>
                      <a:pt x="1556" y="92"/>
                    </a:cubicBezTo>
                    <a:cubicBezTo>
                      <a:pt x="1556" y="88"/>
                      <a:pt x="1556" y="82"/>
                      <a:pt x="1556" y="76"/>
                    </a:cubicBezTo>
                    <a:cubicBezTo>
                      <a:pt x="1556" y="69"/>
                      <a:pt x="1556" y="64"/>
                      <a:pt x="1557" y="60"/>
                    </a:cubicBezTo>
                    <a:cubicBezTo>
                      <a:pt x="1558" y="56"/>
                      <a:pt x="1559" y="52"/>
                      <a:pt x="1561" y="50"/>
                    </a:cubicBezTo>
                    <a:cubicBezTo>
                      <a:pt x="1563" y="47"/>
                      <a:pt x="1566" y="46"/>
                      <a:pt x="1569" y="45"/>
                    </a:cubicBezTo>
                    <a:cubicBezTo>
                      <a:pt x="1572" y="44"/>
                      <a:pt x="1576" y="43"/>
                      <a:pt x="1581" y="43"/>
                    </a:cubicBezTo>
                    <a:cubicBezTo>
                      <a:pt x="1585" y="43"/>
                      <a:pt x="1588" y="44"/>
                      <a:pt x="1592" y="45"/>
                    </a:cubicBezTo>
                    <a:cubicBezTo>
                      <a:pt x="1595" y="46"/>
                      <a:pt x="1597" y="48"/>
                      <a:pt x="1599" y="50"/>
                    </a:cubicBezTo>
                    <a:cubicBezTo>
                      <a:pt x="1602" y="53"/>
                      <a:pt x="1603" y="56"/>
                      <a:pt x="1604" y="61"/>
                    </a:cubicBezTo>
                    <a:cubicBezTo>
                      <a:pt x="1605" y="65"/>
                      <a:pt x="1606" y="70"/>
                      <a:pt x="1606" y="76"/>
                    </a:cubicBezTo>
                    <a:cubicBezTo>
                      <a:pt x="1606" y="82"/>
                      <a:pt x="1606" y="87"/>
                      <a:pt x="1605" y="92"/>
                    </a:cubicBezTo>
                    <a:cubicBezTo>
                      <a:pt x="1605" y="96"/>
                      <a:pt x="1603" y="100"/>
                      <a:pt x="1602" y="103"/>
                    </a:cubicBezTo>
                    <a:cubicBezTo>
                      <a:pt x="1600" y="106"/>
                      <a:pt x="1597" y="108"/>
                      <a:pt x="1594" y="109"/>
                    </a:cubicBezTo>
                    <a:cubicBezTo>
                      <a:pt x="1591" y="110"/>
                      <a:pt x="1587" y="111"/>
                      <a:pt x="1581" y="111"/>
                    </a:cubicBezTo>
                    <a:cubicBezTo>
                      <a:pt x="1576" y="111"/>
                      <a:pt x="1571" y="111"/>
                      <a:pt x="1568" y="109"/>
                    </a:cubicBezTo>
                    <a:moveTo>
                      <a:pt x="1581" y="36"/>
                    </a:moveTo>
                    <a:cubicBezTo>
                      <a:pt x="1575" y="36"/>
                      <a:pt x="1569" y="36"/>
                      <a:pt x="1565" y="38"/>
                    </a:cubicBezTo>
                    <a:cubicBezTo>
                      <a:pt x="1560" y="39"/>
                      <a:pt x="1557" y="41"/>
                      <a:pt x="1554" y="45"/>
                    </a:cubicBezTo>
                    <a:cubicBezTo>
                      <a:pt x="1551" y="48"/>
                      <a:pt x="1548" y="52"/>
                      <a:pt x="1547" y="57"/>
                    </a:cubicBezTo>
                    <a:cubicBezTo>
                      <a:pt x="1546" y="62"/>
                      <a:pt x="1545" y="68"/>
                      <a:pt x="1545" y="75"/>
                    </a:cubicBezTo>
                    <a:cubicBezTo>
                      <a:pt x="1545" y="83"/>
                      <a:pt x="1545" y="90"/>
                      <a:pt x="1547" y="95"/>
                    </a:cubicBezTo>
                    <a:cubicBezTo>
                      <a:pt x="1548" y="101"/>
                      <a:pt x="1550" y="105"/>
                      <a:pt x="1552" y="109"/>
                    </a:cubicBezTo>
                    <a:cubicBezTo>
                      <a:pt x="1555" y="112"/>
                      <a:pt x="1559" y="114"/>
                      <a:pt x="1563" y="116"/>
                    </a:cubicBezTo>
                    <a:cubicBezTo>
                      <a:pt x="1568" y="118"/>
                      <a:pt x="1574" y="118"/>
                      <a:pt x="1581" y="118"/>
                    </a:cubicBezTo>
                    <a:cubicBezTo>
                      <a:pt x="1588" y="118"/>
                      <a:pt x="1594" y="117"/>
                      <a:pt x="1599" y="116"/>
                    </a:cubicBezTo>
                    <a:cubicBezTo>
                      <a:pt x="1603" y="114"/>
                      <a:pt x="1607" y="111"/>
                      <a:pt x="1610" y="108"/>
                    </a:cubicBezTo>
                    <a:cubicBezTo>
                      <a:pt x="1612" y="104"/>
                      <a:pt x="1614" y="100"/>
                      <a:pt x="1615" y="95"/>
                    </a:cubicBezTo>
                    <a:cubicBezTo>
                      <a:pt x="1616" y="89"/>
                      <a:pt x="1617" y="83"/>
                      <a:pt x="1617" y="76"/>
                    </a:cubicBezTo>
                    <a:cubicBezTo>
                      <a:pt x="1617" y="69"/>
                      <a:pt x="1616" y="63"/>
                      <a:pt x="1614" y="57"/>
                    </a:cubicBezTo>
                    <a:cubicBezTo>
                      <a:pt x="1613" y="52"/>
                      <a:pt x="1610" y="48"/>
                      <a:pt x="1607" y="45"/>
                    </a:cubicBezTo>
                    <a:cubicBezTo>
                      <a:pt x="1604" y="42"/>
                      <a:pt x="1601" y="40"/>
                      <a:pt x="1596" y="38"/>
                    </a:cubicBezTo>
                    <a:cubicBezTo>
                      <a:pt x="1592" y="37"/>
                      <a:pt x="1587" y="36"/>
                      <a:pt x="1581" y="36"/>
                    </a:cubicBezTo>
                    <a:close/>
                    <a:moveTo>
                      <a:pt x="1516" y="117"/>
                    </a:moveTo>
                    <a:cubicBezTo>
                      <a:pt x="1526" y="117"/>
                      <a:pt x="1526" y="117"/>
                      <a:pt x="1526" y="117"/>
                    </a:cubicBezTo>
                    <a:cubicBezTo>
                      <a:pt x="1526" y="5"/>
                      <a:pt x="1526" y="5"/>
                      <a:pt x="1526" y="5"/>
                    </a:cubicBezTo>
                    <a:cubicBezTo>
                      <a:pt x="1516" y="5"/>
                      <a:pt x="1516" y="5"/>
                      <a:pt x="1516" y="5"/>
                    </a:cubicBezTo>
                    <a:lnTo>
                      <a:pt x="1516" y="117"/>
                    </a:lnTo>
                    <a:close/>
                    <a:moveTo>
                      <a:pt x="1408" y="115"/>
                    </a:moveTo>
                    <a:cubicBezTo>
                      <a:pt x="1412" y="116"/>
                      <a:pt x="1415" y="116"/>
                      <a:pt x="1419" y="117"/>
                    </a:cubicBezTo>
                    <a:cubicBezTo>
                      <a:pt x="1422" y="117"/>
                      <a:pt x="1426" y="117"/>
                      <a:pt x="1429" y="117"/>
                    </a:cubicBezTo>
                    <a:cubicBezTo>
                      <a:pt x="1432" y="117"/>
                      <a:pt x="1432" y="117"/>
                      <a:pt x="1432" y="117"/>
                    </a:cubicBezTo>
                    <a:cubicBezTo>
                      <a:pt x="1434" y="117"/>
                      <a:pt x="1437" y="117"/>
                      <a:pt x="1440" y="117"/>
                    </a:cubicBezTo>
                    <a:cubicBezTo>
                      <a:pt x="1443" y="116"/>
                      <a:pt x="1446" y="115"/>
                      <a:pt x="1448" y="114"/>
                    </a:cubicBezTo>
                    <a:cubicBezTo>
                      <a:pt x="1451" y="113"/>
                      <a:pt x="1453" y="111"/>
                      <a:pt x="1455" y="108"/>
                    </a:cubicBezTo>
                    <a:cubicBezTo>
                      <a:pt x="1457" y="106"/>
                      <a:pt x="1457" y="102"/>
                      <a:pt x="1457" y="98"/>
                    </a:cubicBezTo>
                    <a:cubicBezTo>
                      <a:pt x="1457" y="96"/>
                      <a:pt x="1457" y="94"/>
                      <a:pt x="1456" y="91"/>
                    </a:cubicBezTo>
                    <a:cubicBezTo>
                      <a:pt x="1455" y="88"/>
                      <a:pt x="1453" y="85"/>
                      <a:pt x="1450" y="83"/>
                    </a:cubicBezTo>
                    <a:cubicBezTo>
                      <a:pt x="1449" y="82"/>
                      <a:pt x="1448" y="81"/>
                      <a:pt x="1447" y="80"/>
                    </a:cubicBezTo>
                    <a:cubicBezTo>
                      <a:pt x="1445" y="79"/>
                      <a:pt x="1444" y="78"/>
                      <a:pt x="1442" y="77"/>
                    </a:cubicBezTo>
                    <a:cubicBezTo>
                      <a:pt x="1440" y="76"/>
                      <a:pt x="1438" y="74"/>
                      <a:pt x="1436" y="73"/>
                    </a:cubicBezTo>
                    <a:cubicBezTo>
                      <a:pt x="1434" y="72"/>
                      <a:pt x="1432" y="70"/>
                      <a:pt x="1430" y="69"/>
                    </a:cubicBezTo>
                    <a:cubicBezTo>
                      <a:pt x="1426" y="67"/>
                      <a:pt x="1424" y="64"/>
                      <a:pt x="1422" y="62"/>
                    </a:cubicBezTo>
                    <a:cubicBezTo>
                      <a:pt x="1421" y="61"/>
                      <a:pt x="1420" y="58"/>
                      <a:pt x="1420" y="55"/>
                    </a:cubicBezTo>
                    <a:cubicBezTo>
                      <a:pt x="1420" y="53"/>
                      <a:pt x="1420" y="53"/>
                      <a:pt x="1420" y="53"/>
                    </a:cubicBezTo>
                    <a:cubicBezTo>
                      <a:pt x="1420" y="50"/>
                      <a:pt x="1422" y="48"/>
                      <a:pt x="1424" y="46"/>
                    </a:cubicBezTo>
                    <a:cubicBezTo>
                      <a:pt x="1426" y="44"/>
                      <a:pt x="1430" y="43"/>
                      <a:pt x="1435" y="43"/>
                    </a:cubicBezTo>
                    <a:cubicBezTo>
                      <a:pt x="1438" y="43"/>
                      <a:pt x="1438" y="43"/>
                      <a:pt x="1438" y="43"/>
                    </a:cubicBezTo>
                    <a:cubicBezTo>
                      <a:pt x="1441" y="43"/>
                      <a:pt x="1444" y="43"/>
                      <a:pt x="1446" y="43"/>
                    </a:cubicBezTo>
                    <a:cubicBezTo>
                      <a:pt x="1449" y="43"/>
                      <a:pt x="1452" y="44"/>
                      <a:pt x="1456" y="44"/>
                    </a:cubicBezTo>
                    <a:cubicBezTo>
                      <a:pt x="1457" y="37"/>
                      <a:pt x="1457" y="37"/>
                      <a:pt x="1457" y="37"/>
                    </a:cubicBezTo>
                    <a:cubicBezTo>
                      <a:pt x="1455" y="37"/>
                      <a:pt x="1453" y="37"/>
                      <a:pt x="1451" y="37"/>
                    </a:cubicBezTo>
                    <a:cubicBezTo>
                      <a:pt x="1449" y="36"/>
                      <a:pt x="1448" y="36"/>
                      <a:pt x="1446" y="36"/>
                    </a:cubicBezTo>
                    <a:cubicBezTo>
                      <a:pt x="1444" y="36"/>
                      <a:pt x="1443" y="36"/>
                      <a:pt x="1441" y="36"/>
                    </a:cubicBezTo>
                    <a:cubicBezTo>
                      <a:pt x="1439" y="36"/>
                      <a:pt x="1437" y="36"/>
                      <a:pt x="1435" y="36"/>
                    </a:cubicBezTo>
                    <a:cubicBezTo>
                      <a:pt x="1431" y="36"/>
                      <a:pt x="1427" y="36"/>
                      <a:pt x="1424" y="37"/>
                    </a:cubicBezTo>
                    <a:cubicBezTo>
                      <a:pt x="1421" y="38"/>
                      <a:pt x="1418" y="39"/>
                      <a:pt x="1416" y="41"/>
                    </a:cubicBezTo>
                    <a:cubicBezTo>
                      <a:pt x="1414" y="42"/>
                      <a:pt x="1412" y="44"/>
                      <a:pt x="1411" y="46"/>
                    </a:cubicBezTo>
                    <a:cubicBezTo>
                      <a:pt x="1410" y="48"/>
                      <a:pt x="1410" y="50"/>
                      <a:pt x="1410" y="52"/>
                    </a:cubicBezTo>
                    <a:cubicBezTo>
                      <a:pt x="1410" y="55"/>
                      <a:pt x="1410" y="55"/>
                      <a:pt x="1410" y="55"/>
                    </a:cubicBezTo>
                    <a:cubicBezTo>
                      <a:pt x="1410" y="57"/>
                      <a:pt x="1410" y="59"/>
                      <a:pt x="1410" y="61"/>
                    </a:cubicBezTo>
                    <a:cubicBezTo>
                      <a:pt x="1411" y="63"/>
                      <a:pt x="1412" y="65"/>
                      <a:pt x="1413" y="66"/>
                    </a:cubicBezTo>
                    <a:cubicBezTo>
                      <a:pt x="1414" y="68"/>
                      <a:pt x="1416" y="70"/>
                      <a:pt x="1417" y="71"/>
                    </a:cubicBezTo>
                    <a:cubicBezTo>
                      <a:pt x="1419" y="72"/>
                      <a:pt x="1421" y="74"/>
                      <a:pt x="1424" y="75"/>
                    </a:cubicBezTo>
                    <a:cubicBezTo>
                      <a:pt x="1425" y="77"/>
                      <a:pt x="1427" y="78"/>
                      <a:pt x="1429" y="79"/>
                    </a:cubicBezTo>
                    <a:cubicBezTo>
                      <a:pt x="1431" y="80"/>
                      <a:pt x="1433" y="82"/>
                      <a:pt x="1435" y="83"/>
                    </a:cubicBezTo>
                    <a:cubicBezTo>
                      <a:pt x="1436" y="84"/>
                      <a:pt x="1438" y="85"/>
                      <a:pt x="1439" y="86"/>
                    </a:cubicBezTo>
                    <a:cubicBezTo>
                      <a:pt x="1440" y="87"/>
                      <a:pt x="1441" y="88"/>
                      <a:pt x="1442" y="89"/>
                    </a:cubicBezTo>
                    <a:cubicBezTo>
                      <a:pt x="1444" y="90"/>
                      <a:pt x="1445" y="92"/>
                      <a:pt x="1446" y="94"/>
                    </a:cubicBezTo>
                    <a:cubicBezTo>
                      <a:pt x="1446" y="95"/>
                      <a:pt x="1447" y="97"/>
                      <a:pt x="1447" y="99"/>
                    </a:cubicBezTo>
                    <a:cubicBezTo>
                      <a:pt x="1447" y="101"/>
                      <a:pt x="1446" y="103"/>
                      <a:pt x="1446" y="105"/>
                    </a:cubicBezTo>
                    <a:cubicBezTo>
                      <a:pt x="1445" y="107"/>
                      <a:pt x="1444" y="108"/>
                      <a:pt x="1442" y="109"/>
                    </a:cubicBezTo>
                    <a:cubicBezTo>
                      <a:pt x="1441" y="109"/>
                      <a:pt x="1439" y="110"/>
                      <a:pt x="1437" y="110"/>
                    </a:cubicBezTo>
                    <a:cubicBezTo>
                      <a:pt x="1435" y="111"/>
                      <a:pt x="1433" y="111"/>
                      <a:pt x="1431" y="111"/>
                    </a:cubicBezTo>
                    <a:cubicBezTo>
                      <a:pt x="1428" y="111"/>
                      <a:pt x="1428" y="111"/>
                      <a:pt x="1428" y="111"/>
                    </a:cubicBezTo>
                    <a:cubicBezTo>
                      <a:pt x="1426" y="111"/>
                      <a:pt x="1423" y="111"/>
                      <a:pt x="1420" y="110"/>
                    </a:cubicBezTo>
                    <a:cubicBezTo>
                      <a:pt x="1417" y="110"/>
                      <a:pt x="1413" y="109"/>
                      <a:pt x="1409" y="109"/>
                    </a:cubicBezTo>
                    <a:lnTo>
                      <a:pt x="1408" y="115"/>
                    </a:lnTo>
                    <a:close/>
                    <a:moveTo>
                      <a:pt x="1390" y="37"/>
                    </a:moveTo>
                    <a:cubicBezTo>
                      <a:pt x="1379" y="37"/>
                      <a:pt x="1379" y="37"/>
                      <a:pt x="1379" y="37"/>
                    </a:cubicBezTo>
                    <a:cubicBezTo>
                      <a:pt x="1379" y="107"/>
                      <a:pt x="1379" y="107"/>
                      <a:pt x="1379" y="107"/>
                    </a:cubicBezTo>
                    <a:cubicBezTo>
                      <a:pt x="1376" y="108"/>
                      <a:pt x="1373" y="109"/>
                      <a:pt x="1369" y="110"/>
                    </a:cubicBezTo>
                    <a:cubicBezTo>
                      <a:pt x="1366" y="111"/>
                      <a:pt x="1362" y="111"/>
                      <a:pt x="1359" y="111"/>
                    </a:cubicBezTo>
                    <a:cubicBezTo>
                      <a:pt x="1350" y="111"/>
                      <a:pt x="1344" y="109"/>
                      <a:pt x="1340" y="104"/>
                    </a:cubicBezTo>
                    <a:cubicBezTo>
                      <a:pt x="1337" y="99"/>
                      <a:pt x="1335" y="90"/>
                      <a:pt x="1335" y="79"/>
                    </a:cubicBezTo>
                    <a:cubicBezTo>
                      <a:pt x="1335" y="38"/>
                      <a:pt x="1335" y="38"/>
                      <a:pt x="1335" y="38"/>
                    </a:cubicBezTo>
                    <a:cubicBezTo>
                      <a:pt x="1324" y="38"/>
                      <a:pt x="1324" y="38"/>
                      <a:pt x="1324" y="38"/>
                    </a:cubicBezTo>
                    <a:cubicBezTo>
                      <a:pt x="1324" y="79"/>
                      <a:pt x="1324" y="79"/>
                      <a:pt x="1324" y="79"/>
                    </a:cubicBezTo>
                    <a:cubicBezTo>
                      <a:pt x="1324" y="86"/>
                      <a:pt x="1325" y="92"/>
                      <a:pt x="1326" y="97"/>
                    </a:cubicBezTo>
                    <a:cubicBezTo>
                      <a:pt x="1327" y="102"/>
                      <a:pt x="1329" y="106"/>
                      <a:pt x="1332" y="109"/>
                    </a:cubicBezTo>
                    <a:cubicBezTo>
                      <a:pt x="1335" y="112"/>
                      <a:pt x="1338" y="114"/>
                      <a:pt x="1343" y="116"/>
                    </a:cubicBezTo>
                    <a:cubicBezTo>
                      <a:pt x="1347" y="118"/>
                      <a:pt x="1352" y="118"/>
                      <a:pt x="1359" y="118"/>
                    </a:cubicBezTo>
                    <a:cubicBezTo>
                      <a:pt x="1363" y="118"/>
                      <a:pt x="1368" y="118"/>
                      <a:pt x="1373" y="117"/>
                    </a:cubicBezTo>
                    <a:cubicBezTo>
                      <a:pt x="1378" y="116"/>
                      <a:pt x="1384" y="114"/>
                      <a:pt x="1390" y="112"/>
                    </a:cubicBezTo>
                    <a:lnTo>
                      <a:pt x="1390" y="37"/>
                    </a:lnTo>
                    <a:close/>
                    <a:moveTo>
                      <a:pt x="1293" y="117"/>
                    </a:moveTo>
                    <a:cubicBezTo>
                      <a:pt x="1304" y="117"/>
                      <a:pt x="1304" y="117"/>
                      <a:pt x="1304" y="117"/>
                    </a:cubicBezTo>
                    <a:cubicBezTo>
                      <a:pt x="1304" y="5"/>
                      <a:pt x="1304" y="5"/>
                      <a:pt x="1304" y="5"/>
                    </a:cubicBezTo>
                    <a:cubicBezTo>
                      <a:pt x="1293" y="5"/>
                      <a:pt x="1293" y="5"/>
                      <a:pt x="1293" y="5"/>
                    </a:cubicBezTo>
                    <a:lnTo>
                      <a:pt x="1293" y="117"/>
                    </a:lnTo>
                    <a:close/>
                    <a:moveTo>
                      <a:pt x="1218" y="44"/>
                    </a:moveTo>
                    <a:cubicBezTo>
                      <a:pt x="1220" y="43"/>
                      <a:pt x="1222" y="43"/>
                      <a:pt x="1225" y="43"/>
                    </a:cubicBezTo>
                    <a:cubicBezTo>
                      <a:pt x="1228" y="43"/>
                      <a:pt x="1230" y="43"/>
                      <a:pt x="1232" y="43"/>
                    </a:cubicBezTo>
                    <a:cubicBezTo>
                      <a:pt x="1238" y="43"/>
                      <a:pt x="1243" y="44"/>
                      <a:pt x="1247" y="45"/>
                    </a:cubicBezTo>
                    <a:cubicBezTo>
                      <a:pt x="1251" y="47"/>
                      <a:pt x="1254" y="49"/>
                      <a:pt x="1257" y="52"/>
                    </a:cubicBezTo>
                    <a:cubicBezTo>
                      <a:pt x="1259" y="55"/>
                      <a:pt x="1260" y="58"/>
                      <a:pt x="1261" y="63"/>
                    </a:cubicBezTo>
                    <a:cubicBezTo>
                      <a:pt x="1262" y="67"/>
                      <a:pt x="1262" y="72"/>
                      <a:pt x="1262" y="78"/>
                    </a:cubicBezTo>
                    <a:cubicBezTo>
                      <a:pt x="1262" y="84"/>
                      <a:pt x="1262" y="89"/>
                      <a:pt x="1261" y="93"/>
                    </a:cubicBezTo>
                    <a:cubicBezTo>
                      <a:pt x="1260" y="97"/>
                      <a:pt x="1259" y="101"/>
                      <a:pt x="1258" y="103"/>
                    </a:cubicBezTo>
                    <a:cubicBezTo>
                      <a:pt x="1256" y="106"/>
                      <a:pt x="1254" y="108"/>
                      <a:pt x="1251" y="109"/>
                    </a:cubicBezTo>
                    <a:cubicBezTo>
                      <a:pt x="1249" y="110"/>
                      <a:pt x="1245" y="111"/>
                      <a:pt x="1241" y="111"/>
                    </a:cubicBezTo>
                    <a:cubicBezTo>
                      <a:pt x="1236" y="111"/>
                      <a:pt x="1232" y="111"/>
                      <a:pt x="1228" y="110"/>
                    </a:cubicBezTo>
                    <a:cubicBezTo>
                      <a:pt x="1224" y="109"/>
                      <a:pt x="1220" y="108"/>
                      <a:pt x="1218" y="107"/>
                    </a:cubicBezTo>
                    <a:lnTo>
                      <a:pt x="1218" y="44"/>
                    </a:lnTo>
                    <a:close/>
                    <a:moveTo>
                      <a:pt x="1218" y="114"/>
                    </a:moveTo>
                    <a:cubicBezTo>
                      <a:pt x="1220" y="115"/>
                      <a:pt x="1224" y="116"/>
                      <a:pt x="1228" y="117"/>
                    </a:cubicBezTo>
                    <a:cubicBezTo>
                      <a:pt x="1232" y="118"/>
                      <a:pt x="1236" y="118"/>
                      <a:pt x="1241" y="118"/>
                    </a:cubicBezTo>
                    <a:cubicBezTo>
                      <a:pt x="1247" y="118"/>
                      <a:pt x="1252" y="117"/>
                      <a:pt x="1256" y="116"/>
                    </a:cubicBezTo>
                    <a:cubicBezTo>
                      <a:pt x="1260" y="114"/>
                      <a:pt x="1264" y="112"/>
                      <a:pt x="1266" y="108"/>
                    </a:cubicBezTo>
                    <a:cubicBezTo>
                      <a:pt x="1268" y="105"/>
                      <a:pt x="1270" y="101"/>
                      <a:pt x="1271" y="96"/>
                    </a:cubicBezTo>
                    <a:cubicBezTo>
                      <a:pt x="1272" y="91"/>
                      <a:pt x="1273" y="85"/>
                      <a:pt x="1273" y="79"/>
                    </a:cubicBezTo>
                    <a:cubicBezTo>
                      <a:pt x="1273" y="71"/>
                      <a:pt x="1272" y="65"/>
                      <a:pt x="1271" y="60"/>
                    </a:cubicBezTo>
                    <a:cubicBezTo>
                      <a:pt x="1270" y="54"/>
                      <a:pt x="1267" y="50"/>
                      <a:pt x="1264" y="46"/>
                    </a:cubicBezTo>
                    <a:cubicBezTo>
                      <a:pt x="1261" y="43"/>
                      <a:pt x="1257" y="40"/>
                      <a:pt x="1251" y="38"/>
                    </a:cubicBezTo>
                    <a:cubicBezTo>
                      <a:pt x="1246" y="37"/>
                      <a:pt x="1239" y="36"/>
                      <a:pt x="1230" y="36"/>
                    </a:cubicBezTo>
                    <a:cubicBezTo>
                      <a:pt x="1226" y="36"/>
                      <a:pt x="1222" y="36"/>
                      <a:pt x="1219" y="36"/>
                    </a:cubicBezTo>
                    <a:cubicBezTo>
                      <a:pt x="1215" y="36"/>
                      <a:pt x="1211" y="37"/>
                      <a:pt x="1207" y="37"/>
                    </a:cubicBezTo>
                    <a:cubicBezTo>
                      <a:pt x="1207" y="148"/>
                      <a:pt x="1207" y="148"/>
                      <a:pt x="1207" y="148"/>
                    </a:cubicBezTo>
                    <a:cubicBezTo>
                      <a:pt x="1218" y="148"/>
                      <a:pt x="1218" y="148"/>
                      <a:pt x="1218" y="148"/>
                    </a:cubicBezTo>
                    <a:lnTo>
                      <a:pt x="1218" y="114"/>
                    </a:lnTo>
                    <a:close/>
                    <a:moveTo>
                      <a:pt x="1113" y="117"/>
                    </a:moveTo>
                    <a:cubicBezTo>
                      <a:pt x="1124" y="117"/>
                      <a:pt x="1124" y="117"/>
                      <a:pt x="1124" y="117"/>
                    </a:cubicBezTo>
                    <a:cubicBezTo>
                      <a:pt x="1124" y="47"/>
                      <a:pt x="1124" y="47"/>
                      <a:pt x="1124" y="47"/>
                    </a:cubicBezTo>
                    <a:cubicBezTo>
                      <a:pt x="1126" y="46"/>
                      <a:pt x="1130" y="45"/>
                      <a:pt x="1134" y="44"/>
                    </a:cubicBezTo>
                    <a:cubicBezTo>
                      <a:pt x="1138" y="43"/>
                      <a:pt x="1142" y="43"/>
                      <a:pt x="1146" y="43"/>
                    </a:cubicBezTo>
                    <a:cubicBezTo>
                      <a:pt x="1147" y="43"/>
                      <a:pt x="1149" y="43"/>
                      <a:pt x="1150" y="43"/>
                    </a:cubicBezTo>
                    <a:cubicBezTo>
                      <a:pt x="1151" y="43"/>
                      <a:pt x="1152" y="43"/>
                      <a:pt x="1154" y="44"/>
                    </a:cubicBezTo>
                    <a:cubicBezTo>
                      <a:pt x="1155" y="36"/>
                      <a:pt x="1155" y="36"/>
                      <a:pt x="1155" y="36"/>
                    </a:cubicBezTo>
                    <a:cubicBezTo>
                      <a:pt x="1153" y="36"/>
                      <a:pt x="1151" y="36"/>
                      <a:pt x="1150" y="36"/>
                    </a:cubicBezTo>
                    <a:cubicBezTo>
                      <a:pt x="1149" y="36"/>
                      <a:pt x="1148" y="36"/>
                      <a:pt x="1146" y="36"/>
                    </a:cubicBezTo>
                    <a:cubicBezTo>
                      <a:pt x="1141" y="36"/>
                      <a:pt x="1135" y="36"/>
                      <a:pt x="1130" y="38"/>
                    </a:cubicBezTo>
                    <a:cubicBezTo>
                      <a:pt x="1125" y="39"/>
                      <a:pt x="1119" y="40"/>
                      <a:pt x="1113" y="43"/>
                    </a:cubicBezTo>
                    <a:lnTo>
                      <a:pt x="1113" y="117"/>
                    </a:lnTo>
                    <a:close/>
                    <a:moveTo>
                      <a:pt x="1036" y="73"/>
                    </a:moveTo>
                    <a:cubicBezTo>
                      <a:pt x="1036" y="62"/>
                      <a:pt x="1038" y="54"/>
                      <a:pt x="1042" y="50"/>
                    </a:cubicBezTo>
                    <a:cubicBezTo>
                      <a:pt x="1046" y="45"/>
                      <a:pt x="1051" y="43"/>
                      <a:pt x="1059" y="43"/>
                    </a:cubicBezTo>
                    <a:cubicBezTo>
                      <a:pt x="1068" y="43"/>
                      <a:pt x="1074" y="45"/>
                      <a:pt x="1077" y="50"/>
                    </a:cubicBezTo>
                    <a:cubicBezTo>
                      <a:pt x="1081" y="54"/>
                      <a:pt x="1083" y="62"/>
                      <a:pt x="1083" y="73"/>
                    </a:cubicBezTo>
                    <a:lnTo>
                      <a:pt x="1036" y="73"/>
                    </a:lnTo>
                    <a:close/>
                    <a:moveTo>
                      <a:pt x="1090" y="107"/>
                    </a:moveTo>
                    <a:cubicBezTo>
                      <a:pt x="1088" y="107"/>
                      <a:pt x="1086" y="107"/>
                      <a:pt x="1084" y="108"/>
                    </a:cubicBezTo>
                    <a:cubicBezTo>
                      <a:pt x="1081" y="108"/>
                      <a:pt x="1079" y="109"/>
                      <a:pt x="1076" y="109"/>
                    </a:cubicBezTo>
                    <a:cubicBezTo>
                      <a:pt x="1073" y="110"/>
                      <a:pt x="1071" y="110"/>
                      <a:pt x="1068" y="111"/>
                    </a:cubicBezTo>
                    <a:cubicBezTo>
                      <a:pt x="1065" y="111"/>
                      <a:pt x="1063" y="111"/>
                      <a:pt x="1060" y="111"/>
                    </a:cubicBezTo>
                    <a:cubicBezTo>
                      <a:pt x="1056" y="111"/>
                      <a:pt x="1052" y="110"/>
                      <a:pt x="1049" y="109"/>
                    </a:cubicBezTo>
                    <a:cubicBezTo>
                      <a:pt x="1046" y="108"/>
                      <a:pt x="1043" y="106"/>
                      <a:pt x="1041" y="103"/>
                    </a:cubicBezTo>
                    <a:cubicBezTo>
                      <a:pt x="1040" y="101"/>
                      <a:pt x="1038" y="97"/>
                      <a:pt x="1037" y="93"/>
                    </a:cubicBezTo>
                    <a:cubicBezTo>
                      <a:pt x="1037" y="90"/>
                      <a:pt x="1036" y="85"/>
                      <a:pt x="1036" y="80"/>
                    </a:cubicBezTo>
                    <a:cubicBezTo>
                      <a:pt x="1094" y="80"/>
                      <a:pt x="1094" y="80"/>
                      <a:pt x="1094" y="80"/>
                    </a:cubicBezTo>
                    <a:cubicBezTo>
                      <a:pt x="1094" y="74"/>
                      <a:pt x="1094" y="74"/>
                      <a:pt x="1094" y="74"/>
                    </a:cubicBezTo>
                    <a:cubicBezTo>
                      <a:pt x="1094" y="60"/>
                      <a:pt x="1091" y="51"/>
                      <a:pt x="1085" y="45"/>
                    </a:cubicBezTo>
                    <a:cubicBezTo>
                      <a:pt x="1079" y="39"/>
                      <a:pt x="1071" y="36"/>
                      <a:pt x="1059" y="36"/>
                    </a:cubicBezTo>
                    <a:cubicBezTo>
                      <a:pt x="1054" y="36"/>
                      <a:pt x="1049" y="36"/>
                      <a:pt x="1045" y="38"/>
                    </a:cubicBezTo>
                    <a:cubicBezTo>
                      <a:pt x="1041" y="39"/>
                      <a:pt x="1037" y="41"/>
                      <a:pt x="1034" y="45"/>
                    </a:cubicBezTo>
                    <a:cubicBezTo>
                      <a:pt x="1031" y="48"/>
                      <a:pt x="1029" y="52"/>
                      <a:pt x="1028" y="57"/>
                    </a:cubicBezTo>
                    <a:cubicBezTo>
                      <a:pt x="1026" y="63"/>
                      <a:pt x="1025" y="69"/>
                      <a:pt x="1025" y="77"/>
                    </a:cubicBezTo>
                    <a:cubicBezTo>
                      <a:pt x="1025" y="83"/>
                      <a:pt x="1026" y="89"/>
                      <a:pt x="1027" y="94"/>
                    </a:cubicBezTo>
                    <a:cubicBezTo>
                      <a:pt x="1028" y="99"/>
                      <a:pt x="1030" y="104"/>
                      <a:pt x="1032" y="107"/>
                    </a:cubicBezTo>
                    <a:cubicBezTo>
                      <a:pt x="1035" y="111"/>
                      <a:pt x="1039" y="113"/>
                      <a:pt x="1043" y="115"/>
                    </a:cubicBezTo>
                    <a:cubicBezTo>
                      <a:pt x="1048" y="117"/>
                      <a:pt x="1053" y="118"/>
                      <a:pt x="1060" y="118"/>
                    </a:cubicBezTo>
                    <a:cubicBezTo>
                      <a:pt x="1063" y="118"/>
                      <a:pt x="1066" y="118"/>
                      <a:pt x="1068" y="118"/>
                    </a:cubicBezTo>
                    <a:cubicBezTo>
                      <a:pt x="1071" y="117"/>
                      <a:pt x="1074" y="117"/>
                      <a:pt x="1077" y="116"/>
                    </a:cubicBezTo>
                    <a:cubicBezTo>
                      <a:pt x="1080" y="116"/>
                      <a:pt x="1082" y="116"/>
                      <a:pt x="1085" y="115"/>
                    </a:cubicBezTo>
                    <a:cubicBezTo>
                      <a:pt x="1087" y="115"/>
                      <a:pt x="1089" y="114"/>
                      <a:pt x="1091" y="114"/>
                    </a:cubicBezTo>
                    <a:lnTo>
                      <a:pt x="1090" y="107"/>
                    </a:lnTo>
                    <a:close/>
                    <a:moveTo>
                      <a:pt x="996" y="117"/>
                    </a:moveTo>
                    <a:cubicBezTo>
                      <a:pt x="1007" y="117"/>
                      <a:pt x="1007" y="117"/>
                      <a:pt x="1007" y="117"/>
                    </a:cubicBezTo>
                    <a:cubicBezTo>
                      <a:pt x="1007" y="5"/>
                      <a:pt x="1007" y="5"/>
                      <a:pt x="1007" y="5"/>
                    </a:cubicBezTo>
                    <a:cubicBezTo>
                      <a:pt x="996" y="5"/>
                      <a:pt x="996" y="5"/>
                      <a:pt x="996" y="5"/>
                    </a:cubicBezTo>
                    <a:lnTo>
                      <a:pt x="996" y="117"/>
                    </a:lnTo>
                    <a:close/>
                    <a:moveTo>
                      <a:pt x="963" y="117"/>
                    </a:moveTo>
                    <a:cubicBezTo>
                      <a:pt x="974" y="117"/>
                      <a:pt x="974" y="117"/>
                      <a:pt x="974" y="117"/>
                    </a:cubicBezTo>
                    <a:cubicBezTo>
                      <a:pt x="974" y="5"/>
                      <a:pt x="974" y="5"/>
                      <a:pt x="974" y="5"/>
                    </a:cubicBezTo>
                    <a:cubicBezTo>
                      <a:pt x="963" y="5"/>
                      <a:pt x="963" y="5"/>
                      <a:pt x="963" y="5"/>
                    </a:cubicBezTo>
                    <a:lnTo>
                      <a:pt x="963" y="117"/>
                    </a:lnTo>
                    <a:close/>
                    <a:moveTo>
                      <a:pt x="930" y="107"/>
                    </a:moveTo>
                    <a:cubicBezTo>
                      <a:pt x="927" y="108"/>
                      <a:pt x="923" y="108"/>
                      <a:pt x="918" y="109"/>
                    </a:cubicBezTo>
                    <a:cubicBezTo>
                      <a:pt x="913" y="110"/>
                      <a:pt x="908" y="111"/>
                      <a:pt x="903" y="111"/>
                    </a:cubicBezTo>
                    <a:cubicBezTo>
                      <a:pt x="899" y="111"/>
                      <a:pt x="895" y="109"/>
                      <a:pt x="893" y="106"/>
                    </a:cubicBezTo>
                    <a:cubicBezTo>
                      <a:pt x="890" y="103"/>
                      <a:pt x="889" y="99"/>
                      <a:pt x="889" y="94"/>
                    </a:cubicBezTo>
                    <a:cubicBezTo>
                      <a:pt x="889" y="90"/>
                      <a:pt x="890" y="86"/>
                      <a:pt x="893" y="83"/>
                    </a:cubicBezTo>
                    <a:cubicBezTo>
                      <a:pt x="895" y="80"/>
                      <a:pt x="899" y="78"/>
                      <a:pt x="906" y="78"/>
                    </a:cubicBezTo>
                    <a:cubicBezTo>
                      <a:pt x="930" y="76"/>
                      <a:pt x="930" y="76"/>
                      <a:pt x="930" y="76"/>
                    </a:cubicBezTo>
                    <a:lnTo>
                      <a:pt x="930" y="107"/>
                    </a:lnTo>
                    <a:close/>
                    <a:moveTo>
                      <a:pt x="886" y="45"/>
                    </a:moveTo>
                    <a:cubicBezTo>
                      <a:pt x="891" y="45"/>
                      <a:pt x="896" y="44"/>
                      <a:pt x="900" y="44"/>
                    </a:cubicBezTo>
                    <a:cubicBezTo>
                      <a:pt x="905" y="43"/>
                      <a:pt x="909" y="43"/>
                      <a:pt x="913" y="43"/>
                    </a:cubicBezTo>
                    <a:cubicBezTo>
                      <a:pt x="919" y="43"/>
                      <a:pt x="923" y="45"/>
                      <a:pt x="926" y="47"/>
                    </a:cubicBezTo>
                    <a:cubicBezTo>
                      <a:pt x="929" y="50"/>
                      <a:pt x="930" y="54"/>
                      <a:pt x="930" y="61"/>
                    </a:cubicBezTo>
                    <a:cubicBezTo>
                      <a:pt x="930" y="69"/>
                      <a:pt x="930" y="69"/>
                      <a:pt x="930" y="69"/>
                    </a:cubicBezTo>
                    <a:cubicBezTo>
                      <a:pt x="905" y="71"/>
                      <a:pt x="905" y="71"/>
                      <a:pt x="905" y="71"/>
                    </a:cubicBezTo>
                    <a:cubicBezTo>
                      <a:pt x="895" y="72"/>
                      <a:pt x="889" y="74"/>
                      <a:pt x="885" y="78"/>
                    </a:cubicBezTo>
                    <a:cubicBezTo>
                      <a:pt x="881" y="82"/>
                      <a:pt x="879" y="88"/>
                      <a:pt x="879" y="94"/>
                    </a:cubicBezTo>
                    <a:cubicBezTo>
                      <a:pt x="879" y="102"/>
                      <a:pt x="881" y="108"/>
                      <a:pt x="885" y="112"/>
                    </a:cubicBezTo>
                    <a:cubicBezTo>
                      <a:pt x="889" y="116"/>
                      <a:pt x="895" y="118"/>
                      <a:pt x="903" y="118"/>
                    </a:cubicBezTo>
                    <a:cubicBezTo>
                      <a:pt x="911" y="118"/>
                      <a:pt x="918" y="117"/>
                      <a:pt x="924" y="116"/>
                    </a:cubicBezTo>
                    <a:cubicBezTo>
                      <a:pt x="931" y="114"/>
                      <a:pt x="936" y="113"/>
                      <a:pt x="941" y="111"/>
                    </a:cubicBezTo>
                    <a:cubicBezTo>
                      <a:pt x="941" y="61"/>
                      <a:pt x="941" y="61"/>
                      <a:pt x="941" y="61"/>
                    </a:cubicBezTo>
                    <a:cubicBezTo>
                      <a:pt x="941" y="53"/>
                      <a:pt x="939" y="46"/>
                      <a:pt x="934" y="42"/>
                    </a:cubicBezTo>
                    <a:cubicBezTo>
                      <a:pt x="930" y="38"/>
                      <a:pt x="923" y="36"/>
                      <a:pt x="913" y="36"/>
                    </a:cubicBezTo>
                    <a:cubicBezTo>
                      <a:pt x="909" y="36"/>
                      <a:pt x="904" y="36"/>
                      <a:pt x="899" y="36"/>
                    </a:cubicBezTo>
                    <a:cubicBezTo>
                      <a:pt x="894" y="37"/>
                      <a:pt x="889" y="37"/>
                      <a:pt x="884" y="38"/>
                    </a:cubicBezTo>
                    <a:lnTo>
                      <a:pt x="886" y="45"/>
                    </a:lnTo>
                    <a:close/>
                    <a:moveTo>
                      <a:pt x="842" y="34"/>
                    </a:moveTo>
                    <a:cubicBezTo>
                      <a:pt x="852" y="34"/>
                      <a:pt x="852" y="34"/>
                      <a:pt x="852" y="34"/>
                    </a:cubicBezTo>
                    <a:cubicBezTo>
                      <a:pt x="861" y="0"/>
                      <a:pt x="861" y="0"/>
                      <a:pt x="861" y="0"/>
                    </a:cubicBezTo>
                    <a:cubicBezTo>
                      <a:pt x="850" y="0"/>
                      <a:pt x="850" y="0"/>
                      <a:pt x="850" y="0"/>
                    </a:cubicBezTo>
                    <a:lnTo>
                      <a:pt x="842" y="34"/>
                    </a:lnTo>
                    <a:close/>
                    <a:moveTo>
                      <a:pt x="811" y="110"/>
                    </a:moveTo>
                    <a:cubicBezTo>
                      <a:pt x="809" y="110"/>
                      <a:pt x="807" y="111"/>
                      <a:pt x="804" y="111"/>
                    </a:cubicBezTo>
                    <a:cubicBezTo>
                      <a:pt x="802" y="111"/>
                      <a:pt x="799" y="111"/>
                      <a:pt x="798" y="111"/>
                    </a:cubicBezTo>
                    <a:cubicBezTo>
                      <a:pt x="791" y="111"/>
                      <a:pt x="786" y="110"/>
                      <a:pt x="782" y="109"/>
                    </a:cubicBezTo>
                    <a:cubicBezTo>
                      <a:pt x="778" y="107"/>
                      <a:pt x="775" y="105"/>
                      <a:pt x="773" y="102"/>
                    </a:cubicBezTo>
                    <a:cubicBezTo>
                      <a:pt x="771" y="99"/>
                      <a:pt x="769" y="95"/>
                      <a:pt x="768" y="91"/>
                    </a:cubicBezTo>
                    <a:cubicBezTo>
                      <a:pt x="768" y="87"/>
                      <a:pt x="767" y="81"/>
                      <a:pt x="767" y="76"/>
                    </a:cubicBezTo>
                    <a:cubicBezTo>
                      <a:pt x="767" y="70"/>
                      <a:pt x="768" y="65"/>
                      <a:pt x="768" y="61"/>
                    </a:cubicBezTo>
                    <a:cubicBezTo>
                      <a:pt x="769" y="57"/>
                      <a:pt x="770" y="53"/>
                      <a:pt x="771" y="51"/>
                    </a:cubicBezTo>
                    <a:cubicBezTo>
                      <a:pt x="773" y="48"/>
                      <a:pt x="775" y="46"/>
                      <a:pt x="778" y="45"/>
                    </a:cubicBezTo>
                    <a:cubicBezTo>
                      <a:pt x="781" y="44"/>
                      <a:pt x="784" y="43"/>
                      <a:pt x="789" y="43"/>
                    </a:cubicBezTo>
                    <a:cubicBezTo>
                      <a:pt x="793" y="43"/>
                      <a:pt x="797" y="43"/>
                      <a:pt x="801" y="44"/>
                    </a:cubicBezTo>
                    <a:cubicBezTo>
                      <a:pt x="805" y="45"/>
                      <a:pt x="809" y="46"/>
                      <a:pt x="811" y="47"/>
                    </a:cubicBezTo>
                    <a:lnTo>
                      <a:pt x="811" y="110"/>
                    </a:lnTo>
                    <a:close/>
                    <a:moveTo>
                      <a:pt x="811" y="40"/>
                    </a:moveTo>
                    <a:cubicBezTo>
                      <a:pt x="809" y="39"/>
                      <a:pt x="805" y="38"/>
                      <a:pt x="801" y="37"/>
                    </a:cubicBezTo>
                    <a:cubicBezTo>
                      <a:pt x="797" y="36"/>
                      <a:pt x="793" y="36"/>
                      <a:pt x="789" y="36"/>
                    </a:cubicBezTo>
                    <a:cubicBezTo>
                      <a:pt x="782" y="36"/>
                      <a:pt x="777" y="37"/>
                      <a:pt x="773" y="38"/>
                    </a:cubicBezTo>
                    <a:cubicBezTo>
                      <a:pt x="769" y="40"/>
                      <a:pt x="766" y="42"/>
                      <a:pt x="763" y="45"/>
                    </a:cubicBezTo>
                    <a:cubicBezTo>
                      <a:pt x="761" y="49"/>
                      <a:pt x="759" y="53"/>
                      <a:pt x="758" y="58"/>
                    </a:cubicBezTo>
                    <a:cubicBezTo>
                      <a:pt x="757" y="63"/>
                      <a:pt x="757" y="69"/>
                      <a:pt x="757" y="75"/>
                    </a:cubicBezTo>
                    <a:cubicBezTo>
                      <a:pt x="757" y="83"/>
                      <a:pt x="757" y="89"/>
                      <a:pt x="758" y="94"/>
                    </a:cubicBezTo>
                    <a:cubicBezTo>
                      <a:pt x="760" y="100"/>
                      <a:pt x="762" y="104"/>
                      <a:pt x="765" y="108"/>
                    </a:cubicBezTo>
                    <a:cubicBezTo>
                      <a:pt x="768" y="111"/>
                      <a:pt x="772" y="114"/>
                      <a:pt x="778" y="116"/>
                    </a:cubicBezTo>
                    <a:cubicBezTo>
                      <a:pt x="783" y="117"/>
                      <a:pt x="790" y="118"/>
                      <a:pt x="799" y="118"/>
                    </a:cubicBezTo>
                    <a:cubicBezTo>
                      <a:pt x="803" y="118"/>
                      <a:pt x="807" y="118"/>
                      <a:pt x="811" y="118"/>
                    </a:cubicBezTo>
                    <a:cubicBezTo>
                      <a:pt x="814" y="117"/>
                      <a:pt x="818" y="117"/>
                      <a:pt x="822" y="117"/>
                    </a:cubicBezTo>
                    <a:cubicBezTo>
                      <a:pt x="822" y="5"/>
                      <a:pt x="822" y="5"/>
                      <a:pt x="822" y="5"/>
                    </a:cubicBezTo>
                    <a:cubicBezTo>
                      <a:pt x="811" y="5"/>
                      <a:pt x="811" y="5"/>
                      <a:pt x="811" y="5"/>
                    </a:cubicBezTo>
                    <a:lnTo>
                      <a:pt x="811" y="40"/>
                    </a:lnTo>
                    <a:close/>
                    <a:moveTo>
                      <a:pt x="633" y="117"/>
                    </a:moveTo>
                    <a:cubicBezTo>
                      <a:pt x="643" y="117"/>
                      <a:pt x="643" y="117"/>
                      <a:pt x="643" y="117"/>
                    </a:cubicBezTo>
                    <a:cubicBezTo>
                      <a:pt x="643" y="47"/>
                      <a:pt x="643" y="47"/>
                      <a:pt x="643" y="47"/>
                    </a:cubicBezTo>
                    <a:cubicBezTo>
                      <a:pt x="646" y="46"/>
                      <a:pt x="649" y="45"/>
                      <a:pt x="653" y="44"/>
                    </a:cubicBezTo>
                    <a:cubicBezTo>
                      <a:pt x="657" y="43"/>
                      <a:pt x="661" y="43"/>
                      <a:pt x="666" y="43"/>
                    </a:cubicBezTo>
                    <a:cubicBezTo>
                      <a:pt x="675" y="43"/>
                      <a:pt x="681" y="45"/>
                      <a:pt x="684" y="51"/>
                    </a:cubicBezTo>
                    <a:cubicBezTo>
                      <a:pt x="688" y="56"/>
                      <a:pt x="689" y="64"/>
                      <a:pt x="689" y="75"/>
                    </a:cubicBezTo>
                    <a:cubicBezTo>
                      <a:pt x="689" y="117"/>
                      <a:pt x="689" y="117"/>
                      <a:pt x="689" y="117"/>
                    </a:cubicBezTo>
                    <a:cubicBezTo>
                      <a:pt x="700" y="117"/>
                      <a:pt x="700" y="117"/>
                      <a:pt x="700" y="117"/>
                    </a:cubicBezTo>
                    <a:cubicBezTo>
                      <a:pt x="700" y="75"/>
                      <a:pt x="700" y="75"/>
                      <a:pt x="700" y="75"/>
                    </a:cubicBezTo>
                    <a:cubicBezTo>
                      <a:pt x="700" y="69"/>
                      <a:pt x="700" y="63"/>
                      <a:pt x="698" y="58"/>
                    </a:cubicBezTo>
                    <a:cubicBezTo>
                      <a:pt x="697" y="53"/>
                      <a:pt x="695" y="49"/>
                      <a:pt x="693" y="45"/>
                    </a:cubicBezTo>
                    <a:cubicBezTo>
                      <a:pt x="690" y="42"/>
                      <a:pt x="686" y="40"/>
                      <a:pt x="682" y="38"/>
                    </a:cubicBezTo>
                    <a:cubicBezTo>
                      <a:pt x="677" y="37"/>
                      <a:pt x="672" y="36"/>
                      <a:pt x="666" y="36"/>
                    </a:cubicBezTo>
                    <a:cubicBezTo>
                      <a:pt x="660" y="36"/>
                      <a:pt x="654" y="36"/>
                      <a:pt x="649" y="37"/>
                    </a:cubicBezTo>
                    <a:cubicBezTo>
                      <a:pt x="644" y="39"/>
                      <a:pt x="639" y="40"/>
                      <a:pt x="632" y="43"/>
                    </a:cubicBezTo>
                    <a:lnTo>
                      <a:pt x="633" y="117"/>
                    </a:lnTo>
                    <a:close/>
                    <a:moveTo>
                      <a:pt x="564" y="109"/>
                    </a:moveTo>
                    <a:cubicBezTo>
                      <a:pt x="561" y="108"/>
                      <a:pt x="558" y="106"/>
                      <a:pt x="556" y="103"/>
                    </a:cubicBezTo>
                    <a:cubicBezTo>
                      <a:pt x="554" y="100"/>
                      <a:pt x="553" y="97"/>
                      <a:pt x="552" y="92"/>
                    </a:cubicBezTo>
                    <a:cubicBezTo>
                      <a:pt x="552" y="88"/>
                      <a:pt x="551" y="82"/>
                      <a:pt x="551" y="76"/>
                    </a:cubicBezTo>
                    <a:cubicBezTo>
                      <a:pt x="551" y="69"/>
                      <a:pt x="552" y="64"/>
                      <a:pt x="553" y="60"/>
                    </a:cubicBezTo>
                    <a:cubicBezTo>
                      <a:pt x="554" y="56"/>
                      <a:pt x="555" y="52"/>
                      <a:pt x="557" y="50"/>
                    </a:cubicBezTo>
                    <a:cubicBezTo>
                      <a:pt x="559" y="47"/>
                      <a:pt x="562" y="46"/>
                      <a:pt x="565" y="45"/>
                    </a:cubicBezTo>
                    <a:cubicBezTo>
                      <a:pt x="568" y="44"/>
                      <a:pt x="572" y="43"/>
                      <a:pt x="577" y="43"/>
                    </a:cubicBezTo>
                    <a:cubicBezTo>
                      <a:pt x="581" y="43"/>
                      <a:pt x="584" y="44"/>
                      <a:pt x="588" y="45"/>
                    </a:cubicBezTo>
                    <a:cubicBezTo>
                      <a:pt x="591" y="46"/>
                      <a:pt x="593" y="48"/>
                      <a:pt x="595" y="50"/>
                    </a:cubicBezTo>
                    <a:cubicBezTo>
                      <a:pt x="597" y="53"/>
                      <a:pt x="599" y="56"/>
                      <a:pt x="600" y="61"/>
                    </a:cubicBezTo>
                    <a:cubicBezTo>
                      <a:pt x="601" y="65"/>
                      <a:pt x="602" y="70"/>
                      <a:pt x="602" y="76"/>
                    </a:cubicBezTo>
                    <a:cubicBezTo>
                      <a:pt x="602" y="82"/>
                      <a:pt x="602" y="87"/>
                      <a:pt x="601" y="92"/>
                    </a:cubicBezTo>
                    <a:cubicBezTo>
                      <a:pt x="601" y="96"/>
                      <a:pt x="599" y="100"/>
                      <a:pt x="598" y="103"/>
                    </a:cubicBezTo>
                    <a:cubicBezTo>
                      <a:pt x="596" y="106"/>
                      <a:pt x="593" y="108"/>
                      <a:pt x="590" y="109"/>
                    </a:cubicBezTo>
                    <a:cubicBezTo>
                      <a:pt x="587" y="110"/>
                      <a:pt x="582" y="111"/>
                      <a:pt x="577" y="111"/>
                    </a:cubicBezTo>
                    <a:cubicBezTo>
                      <a:pt x="572" y="111"/>
                      <a:pt x="567" y="111"/>
                      <a:pt x="564" y="109"/>
                    </a:cubicBezTo>
                    <a:moveTo>
                      <a:pt x="577" y="36"/>
                    </a:moveTo>
                    <a:cubicBezTo>
                      <a:pt x="571" y="36"/>
                      <a:pt x="565" y="36"/>
                      <a:pt x="561" y="38"/>
                    </a:cubicBezTo>
                    <a:cubicBezTo>
                      <a:pt x="556" y="39"/>
                      <a:pt x="553" y="41"/>
                      <a:pt x="550" y="45"/>
                    </a:cubicBezTo>
                    <a:cubicBezTo>
                      <a:pt x="547" y="48"/>
                      <a:pt x="544" y="52"/>
                      <a:pt x="543" y="57"/>
                    </a:cubicBezTo>
                    <a:cubicBezTo>
                      <a:pt x="542" y="62"/>
                      <a:pt x="541" y="68"/>
                      <a:pt x="541" y="75"/>
                    </a:cubicBezTo>
                    <a:cubicBezTo>
                      <a:pt x="541" y="83"/>
                      <a:pt x="541" y="90"/>
                      <a:pt x="542" y="95"/>
                    </a:cubicBezTo>
                    <a:cubicBezTo>
                      <a:pt x="544" y="101"/>
                      <a:pt x="546" y="105"/>
                      <a:pt x="548" y="109"/>
                    </a:cubicBezTo>
                    <a:cubicBezTo>
                      <a:pt x="551" y="112"/>
                      <a:pt x="555" y="114"/>
                      <a:pt x="559" y="116"/>
                    </a:cubicBezTo>
                    <a:cubicBezTo>
                      <a:pt x="564" y="118"/>
                      <a:pt x="570" y="118"/>
                      <a:pt x="577" y="118"/>
                    </a:cubicBezTo>
                    <a:cubicBezTo>
                      <a:pt x="584" y="118"/>
                      <a:pt x="590" y="117"/>
                      <a:pt x="595" y="116"/>
                    </a:cubicBezTo>
                    <a:cubicBezTo>
                      <a:pt x="599" y="114"/>
                      <a:pt x="603" y="111"/>
                      <a:pt x="605" y="108"/>
                    </a:cubicBezTo>
                    <a:cubicBezTo>
                      <a:pt x="608" y="104"/>
                      <a:pt x="610" y="100"/>
                      <a:pt x="611" y="95"/>
                    </a:cubicBezTo>
                    <a:cubicBezTo>
                      <a:pt x="612" y="89"/>
                      <a:pt x="613" y="83"/>
                      <a:pt x="613" y="76"/>
                    </a:cubicBezTo>
                    <a:cubicBezTo>
                      <a:pt x="613" y="69"/>
                      <a:pt x="612" y="63"/>
                      <a:pt x="610" y="57"/>
                    </a:cubicBezTo>
                    <a:cubicBezTo>
                      <a:pt x="609" y="52"/>
                      <a:pt x="606" y="48"/>
                      <a:pt x="603" y="45"/>
                    </a:cubicBezTo>
                    <a:cubicBezTo>
                      <a:pt x="600" y="42"/>
                      <a:pt x="597" y="40"/>
                      <a:pt x="592" y="38"/>
                    </a:cubicBezTo>
                    <a:cubicBezTo>
                      <a:pt x="588" y="37"/>
                      <a:pt x="583" y="36"/>
                      <a:pt x="577" y="36"/>
                    </a:cubicBezTo>
                    <a:close/>
                    <a:moveTo>
                      <a:pt x="512" y="117"/>
                    </a:moveTo>
                    <a:cubicBezTo>
                      <a:pt x="522" y="117"/>
                      <a:pt x="522" y="117"/>
                      <a:pt x="522" y="117"/>
                    </a:cubicBezTo>
                    <a:cubicBezTo>
                      <a:pt x="522" y="37"/>
                      <a:pt x="522" y="37"/>
                      <a:pt x="522" y="37"/>
                    </a:cubicBezTo>
                    <a:cubicBezTo>
                      <a:pt x="512" y="37"/>
                      <a:pt x="512" y="37"/>
                      <a:pt x="512" y="37"/>
                    </a:cubicBezTo>
                    <a:lnTo>
                      <a:pt x="512" y="117"/>
                    </a:lnTo>
                    <a:close/>
                    <a:moveTo>
                      <a:pt x="512" y="17"/>
                    </a:moveTo>
                    <a:cubicBezTo>
                      <a:pt x="522" y="17"/>
                      <a:pt x="522" y="17"/>
                      <a:pt x="522" y="17"/>
                    </a:cubicBezTo>
                    <a:cubicBezTo>
                      <a:pt x="522" y="6"/>
                      <a:pt x="522" y="6"/>
                      <a:pt x="522" y="6"/>
                    </a:cubicBezTo>
                    <a:cubicBezTo>
                      <a:pt x="512" y="6"/>
                      <a:pt x="512" y="6"/>
                      <a:pt x="512" y="6"/>
                    </a:cubicBezTo>
                    <a:lnTo>
                      <a:pt x="512" y="17"/>
                    </a:lnTo>
                    <a:close/>
                    <a:moveTo>
                      <a:pt x="467" y="17"/>
                    </a:moveTo>
                    <a:cubicBezTo>
                      <a:pt x="467" y="37"/>
                      <a:pt x="467" y="37"/>
                      <a:pt x="467" y="37"/>
                    </a:cubicBezTo>
                    <a:cubicBezTo>
                      <a:pt x="450" y="37"/>
                      <a:pt x="450" y="37"/>
                      <a:pt x="450" y="37"/>
                    </a:cubicBezTo>
                    <a:cubicBezTo>
                      <a:pt x="450" y="45"/>
                      <a:pt x="450" y="45"/>
                      <a:pt x="450" y="45"/>
                    </a:cubicBezTo>
                    <a:cubicBezTo>
                      <a:pt x="467" y="45"/>
                      <a:pt x="467" y="45"/>
                      <a:pt x="467" y="45"/>
                    </a:cubicBezTo>
                    <a:cubicBezTo>
                      <a:pt x="467" y="92"/>
                      <a:pt x="467" y="92"/>
                      <a:pt x="467" y="92"/>
                    </a:cubicBezTo>
                    <a:cubicBezTo>
                      <a:pt x="467" y="96"/>
                      <a:pt x="467" y="101"/>
                      <a:pt x="468" y="104"/>
                    </a:cubicBezTo>
                    <a:cubicBezTo>
                      <a:pt x="468" y="107"/>
                      <a:pt x="469" y="110"/>
                      <a:pt x="470" y="112"/>
                    </a:cubicBezTo>
                    <a:cubicBezTo>
                      <a:pt x="471" y="114"/>
                      <a:pt x="473" y="116"/>
                      <a:pt x="475" y="117"/>
                    </a:cubicBezTo>
                    <a:cubicBezTo>
                      <a:pt x="478" y="118"/>
                      <a:pt x="481" y="118"/>
                      <a:pt x="484" y="118"/>
                    </a:cubicBezTo>
                    <a:cubicBezTo>
                      <a:pt x="486" y="118"/>
                      <a:pt x="487" y="118"/>
                      <a:pt x="488" y="118"/>
                    </a:cubicBezTo>
                    <a:cubicBezTo>
                      <a:pt x="490" y="118"/>
                      <a:pt x="492" y="117"/>
                      <a:pt x="495" y="117"/>
                    </a:cubicBezTo>
                    <a:cubicBezTo>
                      <a:pt x="496" y="110"/>
                      <a:pt x="496" y="110"/>
                      <a:pt x="496" y="110"/>
                    </a:cubicBezTo>
                    <a:cubicBezTo>
                      <a:pt x="494" y="110"/>
                      <a:pt x="492" y="110"/>
                      <a:pt x="490" y="111"/>
                    </a:cubicBezTo>
                    <a:cubicBezTo>
                      <a:pt x="489" y="111"/>
                      <a:pt x="487" y="111"/>
                      <a:pt x="486" y="111"/>
                    </a:cubicBezTo>
                    <a:cubicBezTo>
                      <a:pt x="485" y="111"/>
                      <a:pt x="485" y="111"/>
                      <a:pt x="485" y="111"/>
                    </a:cubicBezTo>
                    <a:cubicBezTo>
                      <a:pt x="484" y="111"/>
                      <a:pt x="482" y="111"/>
                      <a:pt x="481" y="110"/>
                    </a:cubicBezTo>
                    <a:cubicBezTo>
                      <a:pt x="480" y="110"/>
                      <a:pt x="479" y="109"/>
                      <a:pt x="479" y="107"/>
                    </a:cubicBezTo>
                    <a:cubicBezTo>
                      <a:pt x="478" y="106"/>
                      <a:pt x="478" y="104"/>
                      <a:pt x="478" y="101"/>
                    </a:cubicBezTo>
                    <a:cubicBezTo>
                      <a:pt x="477" y="99"/>
                      <a:pt x="477" y="96"/>
                      <a:pt x="477" y="92"/>
                    </a:cubicBezTo>
                    <a:cubicBezTo>
                      <a:pt x="477" y="45"/>
                      <a:pt x="477" y="45"/>
                      <a:pt x="477" y="45"/>
                    </a:cubicBezTo>
                    <a:cubicBezTo>
                      <a:pt x="496" y="45"/>
                      <a:pt x="496" y="45"/>
                      <a:pt x="496" y="45"/>
                    </a:cubicBezTo>
                    <a:cubicBezTo>
                      <a:pt x="496" y="37"/>
                      <a:pt x="496" y="37"/>
                      <a:pt x="496" y="37"/>
                    </a:cubicBezTo>
                    <a:cubicBezTo>
                      <a:pt x="477" y="37"/>
                      <a:pt x="477" y="37"/>
                      <a:pt x="477" y="37"/>
                    </a:cubicBezTo>
                    <a:cubicBezTo>
                      <a:pt x="477" y="17"/>
                      <a:pt x="477" y="17"/>
                      <a:pt x="477" y="17"/>
                    </a:cubicBezTo>
                    <a:lnTo>
                      <a:pt x="467" y="17"/>
                    </a:lnTo>
                    <a:close/>
                    <a:moveTo>
                      <a:pt x="429" y="117"/>
                    </a:moveTo>
                    <a:cubicBezTo>
                      <a:pt x="440" y="117"/>
                      <a:pt x="440" y="117"/>
                      <a:pt x="440" y="117"/>
                    </a:cubicBezTo>
                    <a:cubicBezTo>
                      <a:pt x="440" y="37"/>
                      <a:pt x="440" y="37"/>
                      <a:pt x="440" y="37"/>
                    </a:cubicBezTo>
                    <a:cubicBezTo>
                      <a:pt x="429" y="37"/>
                      <a:pt x="429" y="37"/>
                      <a:pt x="429" y="37"/>
                    </a:cubicBezTo>
                    <a:lnTo>
                      <a:pt x="429" y="117"/>
                    </a:lnTo>
                    <a:close/>
                    <a:moveTo>
                      <a:pt x="429" y="17"/>
                    </a:moveTo>
                    <a:cubicBezTo>
                      <a:pt x="440" y="17"/>
                      <a:pt x="440" y="17"/>
                      <a:pt x="440" y="17"/>
                    </a:cubicBezTo>
                    <a:cubicBezTo>
                      <a:pt x="440" y="6"/>
                      <a:pt x="440" y="6"/>
                      <a:pt x="440" y="6"/>
                    </a:cubicBezTo>
                    <a:cubicBezTo>
                      <a:pt x="429" y="6"/>
                      <a:pt x="429" y="6"/>
                      <a:pt x="429" y="6"/>
                    </a:cubicBezTo>
                    <a:lnTo>
                      <a:pt x="429" y="17"/>
                    </a:lnTo>
                    <a:close/>
                    <a:moveTo>
                      <a:pt x="353" y="47"/>
                    </a:moveTo>
                    <a:cubicBezTo>
                      <a:pt x="356" y="46"/>
                      <a:pt x="359" y="45"/>
                      <a:pt x="363" y="44"/>
                    </a:cubicBezTo>
                    <a:cubicBezTo>
                      <a:pt x="367" y="43"/>
                      <a:pt x="372" y="43"/>
                      <a:pt x="376" y="43"/>
                    </a:cubicBezTo>
                    <a:cubicBezTo>
                      <a:pt x="380" y="43"/>
                      <a:pt x="384" y="43"/>
                      <a:pt x="387" y="45"/>
                    </a:cubicBezTo>
                    <a:cubicBezTo>
                      <a:pt x="390" y="46"/>
                      <a:pt x="392" y="48"/>
                      <a:pt x="393" y="50"/>
                    </a:cubicBezTo>
                    <a:cubicBezTo>
                      <a:pt x="395" y="53"/>
                      <a:pt x="396" y="56"/>
                      <a:pt x="396" y="61"/>
                    </a:cubicBezTo>
                    <a:cubicBezTo>
                      <a:pt x="397" y="65"/>
                      <a:pt x="397" y="70"/>
                      <a:pt x="397" y="75"/>
                    </a:cubicBezTo>
                    <a:cubicBezTo>
                      <a:pt x="397" y="81"/>
                      <a:pt x="397" y="86"/>
                      <a:pt x="396" y="91"/>
                    </a:cubicBezTo>
                    <a:cubicBezTo>
                      <a:pt x="396" y="95"/>
                      <a:pt x="394" y="99"/>
                      <a:pt x="392" y="102"/>
                    </a:cubicBezTo>
                    <a:cubicBezTo>
                      <a:pt x="390" y="105"/>
                      <a:pt x="387" y="107"/>
                      <a:pt x="383" y="108"/>
                    </a:cubicBezTo>
                    <a:cubicBezTo>
                      <a:pt x="379" y="110"/>
                      <a:pt x="374" y="111"/>
                      <a:pt x="367" y="111"/>
                    </a:cubicBezTo>
                    <a:cubicBezTo>
                      <a:pt x="365" y="111"/>
                      <a:pt x="363" y="111"/>
                      <a:pt x="361" y="111"/>
                    </a:cubicBezTo>
                    <a:cubicBezTo>
                      <a:pt x="358" y="110"/>
                      <a:pt x="356" y="110"/>
                      <a:pt x="353" y="110"/>
                    </a:cubicBezTo>
                    <a:lnTo>
                      <a:pt x="353" y="47"/>
                    </a:lnTo>
                    <a:close/>
                    <a:moveTo>
                      <a:pt x="343" y="5"/>
                    </a:moveTo>
                    <a:cubicBezTo>
                      <a:pt x="343" y="117"/>
                      <a:pt x="343" y="117"/>
                      <a:pt x="343" y="117"/>
                    </a:cubicBezTo>
                    <a:cubicBezTo>
                      <a:pt x="346" y="117"/>
                      <a:pt x="350" y="117"/>
                      <a:pt x="354" y="118"/>
                    </a:cubicBezTo>
                    <a:cubicBezTo>
                      <a:pt x="358" y="118"/>
                      <a:pt x="362" y="118"/>
                      <a:pt x="366" y="118"/>
                    </a:cubicBezTo>
                    <a:cubicBezTo>
                      <a:pt x="374" y="118"/>
                      <a:pt x="381" y="117"/>
                      <a:pt x="387" y="116"/>
                    </a:cubicBezTo>
                    <a:cubicBezTo>
                      <a:pt x="392" y="114"/>
                      <a:pt x="397" y="111"/>
                      <a:pt x="400" y="108"/>
                    </a:cubicBezTo>
                    <a:cubicBezTo>
                      <a:pt x="403" y="104"/>
                      <a:pt x="405" y="100"/>
                      <a:pt x="406" y="94"/>
                    </a:cubicBezTo>
                    <a:cubicBezTo>
                      <a:pt x="407" y="89"/>
                      <a:pt x="408" y="83"/>
                      <a:pt x="408" y="75"/>
                    </a:cubicBezTo>
                    <a:cubicBezTo>
                      <a:pt x="408" y="69"/>
                      <a:pt x="407" y="63"/>
                      <a:pt x="406" y="58"/>
                    </a:cubicBezTo>
                    <a:cubicBezTo>
                      <a:pt x="405" y="53"/>
                      <a:pt x="404" y="49"/>
                      <a:pt x="401" y="45"/>
                    </a:cubicBezTo>
                    <a:cubicBezTo>
                      <a:pt x="399" y="42"/>
                      <a:pt x="396" y="40"/>
                      <a:pt x="392" y="38"/>
                    </a:cubicBezTo>
                    <a:cubicBezTo>
                      <a:pt x="388" y="37"/>
                      <a:pt x="382" y="36"/>
                      <a:pt x="376" y="36"/>
                    </a:cubicBezTo>
                    <a:cubicBezTo>
                      <a:pt x="372" y="36"/>
                      <a:pt x="367" y="36"/>
                      <a:pt x="363" y="37"/>
                    </a:cubicBezTo>
                    <a:cubicBezTo>
                      <a:pt x="359" y="38"/>
                      <a:pt x="356" y="39"/>
                      <a:pt x="353" y="40"/>
                    </a:cubicBezTo>
                    <a:cubicBezTo>
                      <a:pt x="353" y="5"/>
                      <a:pt x="353" y="5"/>
                      <a:pt x="353" y="5"/>
                    </a:cubicBezTo>
                    <a:lnTo>
                      <a:pt x="343" y="5"/>
                    </a:lnTo>
                    <a:close/>
                    <a:moveTo>
                      <a:pt x="201" y="117"/>
                    </a:moveTo>
                    <a:cubicBezTo>
                      <a:pt x="212" y="117"/>
                      <a:pt x="212" y="117"/>
                      <a:pt x="212" y="117"/>
                    </a:cubicBezTo>
                    <a:cubicBezTo>
                      <a:pt x="212" y="47"/>
                      <a:pt x="212" y="47"/>
                      <a:pt x="212" y="47"/>
                    </a:cubicBezTo>
                    <a:cubicBezTo>
                      <a:pt x="215" y="46"/>
                      <a:pt x="218" y="45"/>
                      <a:pt x="222" y="44"/>
                    </a:cubicBezTo>
                    <a:cubicBezTo>
                      <a:pt x="226" y="43"/>
                      <a:pt x="230" y="43"/>
                      <a:pt x="235" y="43"/>
                    </a:cubicBezTo>
                    <a:cubicBezTo>
                      <a:pt x="239" y="43"/>
                      <a:pt x="242" y="43"/>
                      <a:pt x="245" y="45"/>
                    </a:cubicBezTo>
                    <a:cubicBezTo>
                      <a:pt x="248" y="46"/>
                      <a:pt x="250" y="48"/>
                      <a:pt x="252" y="50"/>
                    </a:cubicBezTo>
                    <a:cubicBezTo>
                      <a:pt x="253" y="53"/>
                      <a:pt x="254" y="56"/>
                      <a:pt x="255" y="60"/>
                    </a:cubicBezTo>
                    <a:cubicBezTo>
                      <a:pt x="255" y="64"/>
                      <a:pt x="256" y="69"/>
                      <a:pt x="256" y="75"/>
                    </a:cubicBezTo>
                    <a:cubicBezTo>
                      <a:pt x="256" y="117"/>
                      <a:pt x="256" y="117"/>
                      <a:pt x="256" y="117"/>
                    </a:cubicBezTo>
                    <a:cubicBezTo>
                      <a:pt x="267" y="117"/>
                      <a:pt x="267" y="117"/>
                      <a:pt x="267" y="117"/>
                    </a:cubicBezTo>
                    <a:cubicBezTo>
                      <a:pt x="267" y="75"/>
                      <a:pt x="267" y="75"/>
                      <a:pt x="267" y="75"/>
                    </a:cubicBezTo>
                    <a:cubicBezTo>
                      <a:pt x="267" y="69"/>
                      <a:pt x="266" y="64"/>
                      <a:pt x="266" y="59"/>
                    </a:cubicBezTo>
                    <a:cubicBezTo>
                      <a:pt x="265" y="55"/>
                      <a:pt x="264" y="51"/>
                      <a:pt x="262" y="48"/>
                    </a:cubicBezTo>
                    <a:cubicBezTo>
                      <a:pt x="267" y="46"/>
                      <a:pt x="272" y="45"/>
                      <a:pt x="276" y="44"/>
                    </a:cubicBezTo>
                    <a:cubicBezTo>
                      <a:pt x="280" y="43"/>
                      <a:pt x="284" y="43"/>
                      <a:pt x="289" y="43"/>
                    </a:cubicBezTo>
                    <a:cubicBezTo>
                      <a:pt x="293" y="43"/>
                      <a:pt x="297" y="43"/>
                      <a:pt x="300" y="45"/>
                    </a:cubicBezTo>
                    <a:cubicBezTo>
                      <a:pt x="303" y="46"/>
                      <a:pt x="305" y="48"/>
                      <a:pt x="306" y="50"/>
                    </a:cubicBezTo>
                    <a:cubicBezTo>
                      <a:pt x="308" y="53"/>
                      <a:pt x="309" y="56"/>
                      <a:pt x="309" y="60"/>
                    </a:cubicBezTo>
                    <a:cubicBezTo>
                      <a:pt x="310" y="64"/>
                      <a:pt x="310" y="69"/>
                      <a:pt x="310" y="75"/>
                    </a:cubicBezTo>
                    <a:cubicBezTo>
                      <a:pt x="310" y="117"/>
                      <a:pt x="310" y="117"/>
                      <a:pt x="310" y="117"/>
                    </a:cubicBezTo>
                    <a:cubicBezTo>
                      <a:pt x="321" y="117"/>
                      <a:pt x="321" y="117"/>
                      <a:pt x="321" y="117"/>
                    </a:cubicBezTo>
                    <a:cubicBezTo>
                      <a:pt x="321" y="75"/>
                      <a:pt x="321" y="75"/>
                      <a:pt x="321" y="75"/>
                    </a:cubicBezTo>
                    <a:cubicBezTo>
                      <a:pt x="321" y="68"/>
                      <a:pt x="321" y="63"/>
                      <a:pt x="320" y="58"/>
                    </a:cubicBezTo>
                    <a:cubicBezTo>
                      <a:pt x="319" y="53"/>
                      <a:pt x="317" y="48"/>
                      <a:pt x="315" y="45"/>
                    </a:cubicBezTo>
                    <a:cubicBezTo>
                      <a:pt x="312" y="42"/>
                      <a:pt x="309" y="40"/>
                      <a:pt x="305" y="38"/>
                    </a:cubicBezTo>
                    <a:cubicBezTo>
                      <a:pt x="301" y="36"/>
                      <a:pt x="296" y="36"/>
                      <a:pt x="289" y="36"/>
                    </a:cubicBezTo>
                    <a:cubicBezTo>
                      <a:pt x="287" y="36"/>
                      <a:pt x="284" y="36"/>
                      <a:pt x="282" y="36"/>
                    </a:cubicBezTo>
                    <a:cubicBezTo>
                      <a:pt x="279" y="36"/>
                      <a:pt x="277" y="36"/>
                      <a:pt x="274" y="37"/>
                    </a:cubicBezTo>
                    <a:cubicBezTo>
                      <a:pt x="272" y="37"/>
                      <a:pt x="269" y="38"/>
                      <a:pt x="266" y="39"/>
                    </a:cubicBezTo>
                    <a:cubicBezTo>
                      <a:pt x="263" y="40"/>
                      <a:pt x="260" y="41"/>
                      <a:pt x="257" y="42"/>
                    </a:cubicBezTo>
                    <a:cubicBezTo>
                      <a:pt x="252" y="38"/>
                      <a:pt x="245" y="35"/>
                      <a:pt x="235" y="35"/>
                    </a:cubicBezTo>
                    <a:cubicBezTo>
                      <a:pt x="229" y="35"/>
                      <a:pt x="224" y="36"/>
                      <a:pt x="219" y="37"/>
                    </a:cubicBezTo>
                    <a:cubicBezTo>
                      <a:pt x="214" y="38"/>
                      <a:pt x="208" y="40"/>
                      <a:pt x="201" y="42"/>
                    </a:cubicBezTo>
                    <a:lnTo>
                      <a:pt x="201" y="117"/>
                    </a:lnTo>
                    <a:close/>
                    <a:moveTo>
                      <a:pt x="169" y="107"/>
                    </a:moveTo>
                    <a:cubicBezTo>
                      <a:pt x="166" y="108"/>
                      <a:pt x="162" y="108"/>
                      <a:pt x="157" y="109"/>
                    </a:cubicBezTo>
                    <a:cubicBezTo>
                      <a:pt x="152" y="110"/>
                      <a:pt x="147" y="111"/>
                      <a:pt x="142" y="111"/>
                    </a:cubicBezTo>
                    <a:cubicBezTo>
                      <a:pt x="138" y="111"/>
                      <a:pt x="134" y="109"/>
                      <a:pt x="132" y="106"/>
                    </a:cubicBezTo>
                    <a:cubicBezTo>
                      <a:pt x="129" y="103"/>
                      <a:pt x="128" y="99"/>
                      <a:pt x="128" y="94"/>
                    </a:cubicBezTo>
                    <a:cubicBezTo>
                      <a:pt x="128" y="90"/>
                      <a:pt x="129" y="86"/>
                      <a:pt x="132" y="83"/>
                    </a:cubicBezTo>
                    <a:cubicBezTo>
                      <a:pt x="134" y="80"/>
                      <a:pt x="138" y="78"/>
                      <a:pt x="144" y="78"/>
                    </a:cubicBezTo>
                    <a:cubicBezTo>
                      <a:pt x="169" y="76"/>
                      <a:pt x="169" y="76"/>
                      <a:pt x="169" y="76"/>
                    </a:cubicBezTo>
                    <a:lnTo>
                      <a:pt x="169" y="107"/>
                    </a:lnTo>
                    <a:close/>
                    <a:moveTo>
                      <a:pt x="125" y="45"/>
                    </a:moveTo>
                    <a:cubicBezTo>
                      <a:pt x="130" y="45"/>
                      <a:pt x="134" y="44"/>
                      <a:pt x="139" y="44"/>
                    </a:cubicBezTo>
                    <a:cubicBezTo>
                      <a:pt x="144" y="43"/>
                      <a:pt x="148" y="43"/>
                      <a:pt x="152" y="43"/>
                    </a:cubicBezTo>
                    <a:cubicBezTo>
                      <a:pt x="158" y="43"/>
                      <a:pt x="162" y="45"/>
                      <a:pt x="165" y="47"/>
                    </a:cubicBezTo>
                    <a:cubicBezTo>
                      <a:pt x="168" y="50"/>
                      <a:pt x="169" y="54"/>
                      <a:pt x="169" y="61"/>
                    </a:cubicBezTo>
                    <a:cubicBezTo>
                      <a:pt x="169" y="69"/>
                      <a:pt x="169" y="69"/>
                      <a:pt x="169" y="69"/>
                    </a:cubicBezTo>
                    <a:cubicBezTo>
                      <a:pt x="143" y="71"/>
                      <a:pt x="143" y="71"/>
                      <a:pt x="143" y="71"/>
                    </a:cubicBezTo>
                    <a:cubicBezTo>
                      <a:pt x="134" y="72"/>
                      <a:pt x="127" y="74"/>
                      <a:pt x="123" y="78"/>
                    </a:cubicBezTo>
                    <a:cubicBezTo>
                      <a:pt x="119" y="82"/>
                      <a:pt x="117" y="88"/>
                      <a:pt x="117" y="94"/>
                    </a:cubicBezTo>
                    <a:cubicBezTo>
                      <a:pt x="117" y="102"/>
                      <a:pt x="120" y="108"/>
                      <a:pt x="124" y="112"/>
                    </a:cubicBezTo>
                    <a:cubicBezTo>
                      <a:pt x="128" y="116"/>
                      <a:pt x="134" y="118"/>
                      <a:pt x="142" y="118"/>
                    </a:cubicBezTo>
                    <a:cubicBezTo>
                      <a:pt x="150" y="118"/>
                      <a:pt x="157" y="117"/>
                      <a:pt x="163" y="116"/>
                    </a:cubicBezTo>
                    <a:cubicBezTo>
                      <a:pt x="169" y="114"/>
                      <a:pt x="175" y="113"/>
                      <a:pt x="180" y="111"/>
                    </a:cubicBezTo>
                    <a:cubicBezTo>
                      <a:pt x="180" y="61"/>
                      <a:pt x="180" y="61"/>
                      <a:pt x="180" y="61"/>
                    </a:cubicBezTo>
                    <a:cubicBezTo>
                      <a:pt x="180" y="53"/>
                      <a:pt x="177" y="46"/>
                      <a:pt x="173" y="42"/>
                    </a:cubicBezTo>
                    <a:cubicBezTo>
                      <a:pt x="169" y="38"/>
                      <a:pt x="162" y="36"/>
                      <a:pt x="152" y="36"/>
                    </a:cubicBezTo>
                    <a:cubicBezTo>
                      <a:pt x="147" y="36"/>
                      <a:pt x="143" y="36"/>
                      <a:pt x="138" y="36"/>
                    </a:cubicBezTo>
                    <a:cubicBezTo>
                      <a:pt x="133" y="37"/>
                      <a:pt x="128" y="37"/>
                      <a:pt x="123" y="38"/>
                    </a:cubicBezTo>
                    <a:lnTo>
                      <a:pt x="125" y="45"/>
                    </a:lnTo>
                    <a:close/>
                    <a:moveTo>
                      <a:pt x="81" y="34"/>
                    </a:moveTo>
                    <a:cubicBezTo>
                      <a:pt x="91" y="34"/>
                      <a:pt x="91" y="34"/>
                      <a:pt x="91" y="34"/>
                    </a:cubicBezTo>
                    <a:cubicBezTo>
                      <a:pt x="100" y="0"/>
                      <a:pt x="100" y="0"/>
                      <a:pt x="100" y="0"/>
                    </a:cubicBezTo>
                    <a:cubicBezTo>
                      <a:pt x="89" y="0"/>
                      <a:pt x="89" y="0"/>
                      <a:pt x="89" y="0"/>
                    </a:cubicBezTo>
                    <a:lnTo>
                      <a:pt x="81" y="34"/>
                    </a:lnTo>
                    <a:close/>
                    <a:moveTo>
                      <a:pt x="70" y="117"/>
                    </a:moveTo>
                    <a:cubicBezTo>
                      <a:pt x="70" y="109"/>
                      <a:pt x="70" y="109"/>
                      <a:pt x="70" y="109"/>
                    </a:cubicBezTo>
                    <a:cubicBezTo>
                      <a:pt x="11" y="109"/>
                      <a:pt x="11" y="109"/>
                      <a:pt x="11" y="109"/>
                    </a:cubicBezTo>
                    <a:cubicBezTo>
                      <a:pt x="11" y="5"/>
                      <a:pt x="11" y="5"/>
                      <a:pt x="11" y="5"/>
                    </a:cubicBezTo>
                    <a:cubicBezTo>
                      <a:pt x="0" y="5"/>
                      <a:pt x="0" y="5"/>
                      <a:pt x="0" y="5"/>
                    </a:cubicBezTo>
                    <a:cubicBezTo>
                      <a:pt x="0" y="117"/>
                      <a:pt x="0" y="117"/>
                      <a:pt x="0" y="117"/>
                    </a:cubicBezTo>
                    <a:lnTo>
                      <a:pt x="70" y="117"/>
                    </a:lnTo>
                    <a:close/>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2" name="Freeform 22"/>
              <p:cNvSpPr>
                <a:spLocks noEditPoints="1"/>
              </p:cNvSpPr>
              <p:nvPr userDrawn="1"/>
            </p:nvSpPr>
            <p:spPr bwMode="auto">
              <a:xfrm>
                <a:off x="3825875" y="2044700"/>
                <a:ext cx="1347788" cy="114300"/>
              </a:xfrm>
              <a:custGeom>
                <a:avLst/>
                <a:gdLst/>
                <a:ahLst/>
                <a:cxnLst>
                  <a:cxn ang="0">
                    <a:pos x="1726" y="117"/>
                  </a:cxn>
                  <a:cxn ang="0">
                    <a:pos x="1670" y="43"/>
                  </a:cxn>
                  <a:cxn ang="0">
                    <a:pos x="1648" y="17"/>
                  </a:cxn>
                  <a:cxn ang="0">
                    <a:pos x="1557" y="60"/>
                  </a:cxn>
                  <a:cxn ang="0">
                    <a:pos x="1605" y="92"/>
                  </a:cxn>
                  <a:cxn ang="0">
                    <a:pos x="1547" y="57"/>
                  </a:cxn>
                  <a:cxn ang="0">
                    <a:pos x="1615" y="95"/>
                  </a:cxn>
                  <a:cxn ang="0">
                    <a:pos x="1526" y="5"/>
                  </a:cxn>
                  <a:cxn ang="0">
                    <a:pos x="1448" y="114"/>
                  </a:cxn>
                  <a:cxn ang="0">
                    <a:pos x="1430" y="69"/>
                  </a:cxn>
                  <a:cxn ang="0">
                    <a:pos x="1456" y="44"/>
                  </a:cxn>
                  <a:cxn ang="0">
                    <a:pos x="1411" y="46"/>
                  </a:cxn>
                  <a:cxn ang="0">
                    <a:pos x="1435" y="83"/>
                  </a:cxn>
                  <a:cxn ang="0">
                    <a:pos x="1431" y="111"/>
                  </a:cxn>
                  <a:cxn ang="0">
                    <a:pos x="1369" y="110"/>
                  </a:cxn>
                  <a:cxn ang="0">
                    <a:pos x="1332" y="109"/>
                  </a:cxn>
                  <a:cxn ang="0">
                    <a:pos x="1304" y="5"/>
                  </a:cxn>
                  <a:cxn ang="0">
                    <a:pos x="1261" y="63"/>
                  </a:cxn>
                  <a:cxn ang="0">
                    <a:pos x="1218" y="44"/>
                  </a:cxn>
                  <a:cxn ang="0">
                    <a:pos x="1271" y="60"/>
                  </a:cxn>
                  <a:cxn ang="0">
                    <a:pos x="1218" y="114"/>
                  </a:cxn>
                  <a:cxn ang="0">
                    <a:pos x="1155" y="36"/>
                  </a:cxn>
                  <a:cxn ang="0">
                    <a:pos x="1059" y="43"/>
                  </a:cxn>
                  <a:cxn ang="0">
                    <a:pos x="1060" y="111"/>
                  </a:cxn>
                  <a:cxn ang="0">
                    <a:pos x="1059" y="36"/>
                  </a:cxn>
                  <a:cxn ang="0">
                    <a:pos x="1060" y="118"/>
                  </a:cxn>
                  <a:cxn ang="0">
                    <a:pos x="1007" y="5"/>
                  </a:cxn>
                  <a:cxn ang="0">
                    <a:pos x="930" y="107"/>
                  </a:cxn>
                  <a:cxn ang="0">
                    <a:pos x="930" y="107"/>
                  </a:cxn>
                  <a:cxn ang="0">
                    <a:pos x="885" y="78"/>
                  </a:cxn>
                  <a:cxn ang="0">
                    <a:pos x="913" y="36"/>
                  </a:cxn>
                  <a:cxn ang="0">
                    <a:pos x="842" y="34"/>
                  </a:cxn>
                  <a:cxn ang="0">
                    <a:pos x="768" y="61"/>
                  </a:cxn>
                  <a:cxn ang="0">
                    <a:pos x="801" y="37"/>
                  </a:cxn>
                  <a:cxn ang="0">
                    <a:pos x="778" y="116"/>
                  </a:cxn>
                  <a:cxn ang="0">
                    <a:pos x="643" y="117"/>
                  </a:cxn>
                  <a:cxn ang="0">
                    <a:pos x="700" y="75"/>
                  </a:cxn>
                  <a:cxn ang="0">
                    <a:pos x="564" y="109"/>
                  </a:cxn>
                  <a:cxn ang="0">
                    <a:pos x="588" y="45"/>
                  </a:cxn>
                  <a:cxn ang="0">
                    <a:pos x="564" y="109"/>
                  </a:cxn>
                  <a:cxn ang="0">
                    <a:pos x="559" y="116"/>
                  </a:cxn>
                  <a:cxn ang="0">
                    <a:pos x="592" y="38"/>
                  </a:cxn>
                  <a:cxn ang="0">
                    <a:pos x="522" y="17"/>
                  </a:cxn>
                  <a:cxn ang="0">
                    <a:pos x="467" y="45"/>
                  </a:cxn>
                  <a:cxn ang="0">
                    <a:pos x="496" y="110"/>
                  </a:cxn>
                  <a:cxn ang="0">
                    <a:pos x="477" y="45"/>
                  </a:cxn>
                  <a:cxn ang="0">
                    <a:pos x="440" y="37"/>
                  </a:cxn>
                  <a:cxn ang="0">
                    <a:pos x="353" y="47"/>
                  </a:cxn>
                  <a:cxn ang="0">
                    <a:pos x="392" y="102"/>
                  </a:cxn>
                  <a:cxn ang="0">
                    <a:pos x="354" y="118"/>
                  </a:cxn>
                  <a:cxn ang="0">
                    <a:pos x="392" y="38"/>
                  </a:cxn>
                  <a:cxn ang="0">
                    <a:pos x="212" y="47"/>
                  </a:cxn>
                  <a:cxn ang="0">
                    <a:pos x="267" y="117"/>
                  </a:cxn>
                  <a:cxn ang="0">
                    <a:pos x="309" y="60"/>
                  </a:cxn>
                  <a:cxn ang="0">
                    <a:pos x="289" y="36"/>
                  </a:cxn>
                  <a:cxn ang="0">
                    <a:pos x="201" y="117"/>
                  </a:cxn>
                  <a:cxn ang="0">
                    <a:pos x="169" y="76"/>
                  </a:cxn>
                  <a:cxn ang="0">
                    <a:pos x="143" y="71"/>
                  </a:cxn>
                  <a:cxn ang="0">
                    <a:pos x="173" y="42"/>
                  </a:cxn>
                  <a:cxn ang="0">
                    <a:pos x="89" y="0"/>
                  </a:cxn>
                  <a:cxn ang="0">
                    <a:pos x="70" y="117"/>
                  </a:cxn>
                </a:cxnLst>
                <a:rect l="0" t="0" r="r" b="b"/>
                <a:pathLst>
                  <a:path w="1737" h="148">
                    <a:moveTo>
                      <a:pt x="1670" y="117"/>
                    </a:moveTo>
                    <a:cubicBezTo>
                      <a:pt x="1680" y="117"/>
                      <a:pt x="1680" y="117"/>
                      <a:pt x="1680" y="117"/>
                    </a:cubicBezTo>
                    <a:cubicBezTo>
                      <a:pt x="1680" y="47"/>
                      <a:pt x="1680" y="47"/>
                      <a:pt x="1680" y="47"/>
                    </a:cubicBezTo>
                    <a:cubicBezTo>
                      <a:pt x="1683" y="46"/>
                      <a:pt x="1686" y="45"/>
                      <a:pt x="1690" y="44"/>
                    </a:cubicBezTo>
                    <a:cubicBezTo>
                      <a:pt x="1694" y="43"/>
                      <a:pt x="1698" y="43"/>
                      <a:pt x="1703" y="43"/>
                    </a:cubicBezTo>
                    <a:cubicBezTo>
                      <a:pt x="1712" y="43"/>
                      <a:pt x="1718" y="45"/>
                      <a:pt x="1721" y="51"/>
                    </a:cubicBezTo>
                    <a:cubicBezTo>
                      <a:pt x="1725" y="56"/>
                      <a:pt x="1726" y="64"/>
                      <a:pt x="1726" y="75"/>
                    </a:cubicBezTo>
                    <a:cubicBezTo>
                      <a:pt x="1726" y="117"/>
                      <a:pt x="1726" y="117"/>
                      <a:pt x="1726" y="117"/>
                    </a:cubicBezTo>
                    <a:cubicBezTo>
                      <a:pt x="1737" y="117"/>
                      <a:pt x="1737" y="117"/>
                      <a:pt x="1737" y="117"/>
                    </a:cubicBezTo>
                    <a:cubicBezTo>
                      <a:pt x="1737" y="75"/>
                      <a:pt x="1737" y="75"/>
                      <a:pt x="1737" y="75"/>
                    </a:cubicBezTo>
                    <a:cubicBezTo>
                      <a:pt x="1737" y="69"/>
                      <a:pt x="1737" y="63"/>
                      <a:pt x="1736" y="58"/>
                    </a:cubicBezTo>
                    <a:cubicBezTo>
                      <a:pt x="1734" y="53"/>
                      <a:pt x="1732" y="49"/>
                      <a:pt x="1730" y="45"/>
                    </a:cubicBezTo>
                    <a:cubicBezTo>
                      <a:pt x="1727" y="42"/>
                      <a:pt x="1723" y="40"/>
                      <a:pt x="1719" y="38"/>
                    </a:cubicBezTo>
                    <a:cubicBezTo>
                      <a:pt x="1715" y="37"/>
                      <a:pt x="1709" y="36"/>
                      <a:pt x="1703" y="36"/>
                    </a:cubicBezTo>
                    <a:cubicBezTo>
                      <a:pt x="1697" y="36"/>
                      <a:pt x="1692" y="36"/>
                      <a:pt x="1686" y="37"/>
                    </a:cubicBezTo>
                    <a:cubicBezTo>
                      <a:pt x="1681" y="39"/>
                      <a:pt x="1676" y="40"/>
                      <a:pt x="1670" y="43"/>
                    </a:cubicBezTo>
                    <a:lnTo>
                      <a:pt x="1670" y="117"/>
                    </a:lnTo>
                    <a:close/>
                    <a:moveTo>
                      <a:pt x="1637" y="117"/>
                    </a:moveTo>
                    <a:cubicBezTo>
                      <a:pt x="1648" y="117"/>
                      <a:pt x="1648" y="117"/>
                      <a:pt x="1648" y="117"/>
                    </a:cubicBezTo>
                    <a:cubicBezTo>
                      <a:pt x="1648" y="37"/>
                      <a:pt x="1648" y="37"/>
                      <a:pt x="1648" y="37"/>
                    </a:cubicBezTo>
                    <a:cubicBezTo>
                      <a:pt x="1637" y="37"/>
                      <a:pt x="1637" y="37"/>
                      <a:pt x="1637" y="37"/>
                    </a:cubicBezTo>
                    <a:lnTo>
                      <a:pt x="1637" y="117"/>
                    </a:lnTo>
                    <a:close/>
                    <a:moveTo>
                      <a:pt x="1637" y="17"/>
                    </a:moveTo>
                    <a:cubicBezTo>
                      <a:pt x="1648" y="17"/>
                      <a:pt x="1648" y="17"/>
                      <a:pt x="1648" y="17"/>
                    </a:cubicBezTo>
                    <a:cubicBezTo>
                      <a:pt x="1648" y="6"/>
                      <a:pt x="1648" y="6"/>
                      <a:pt x="1648" y="6"/>
                    </a:cubicBezTo>
                    <a:cubicBezTo>
                      <a:pt x="1637" y="6"/>
                      <a:pt x="1637" y="6"/>
                      <a:pt x="1637" y="6"/>
                    </a:cubicBezTo>
                    <a:lnTo>
                      <a:pt x="1637" y="17"/>
                    </a:lnTo>
                    <a:close/>
                    <a:moveTo>
                      <a:pt x="1568" y="109"/>
                    </a:moveTo>
                    <a:cubicBezTo>
                      <a:pt x="1565" y="108"/>
                      <a:pt x="1562" y="106"/>
                      <a:pt x="1560" y="103"/>
                    </a:cubicBezTo>
                    <a:cubicBezTo>
                      <a:pt x="1558" y="100"/>
                      <a:pt x="1557" y="97"/>
                      <a:pt x="1556" y="92"/>
                    </a:cubicBezTo>
                    <a:cubicBezTo>
                      <a:pt x="1556" y="88"/>
                      <a:pt x="1556" y="82"/>
                      <a:pt x="1556" y="76"/>
                    </a:cubicBezTo>
                    <a:cubicBezTo>
                      <a:pt x="1556" y="69"/>
                      <a:pt x="1556" y="64"/>
                      <a:pt x="1557" y="60"/>
                    </a:cubicBezTo>
                    <a:cubicBezTo>
                      <a:pt x="1558" y="56"/>
                      <a:pt x="1559" y="52"/>
                      <a:pt x="1561" y="50"/>
                    </a:cubicBezTo>
                    <a:cubicBezTo>
                      <a:pt x="1563" y="47"/>
                      <a:pt x="1566" y="46"/>
                      <a:pt x="1569" y="45"/>
                    </a:cubicBezTo>
                    <a:cubicBezTo>
                      <a:pt x="1572" y="44"/>
                      <a:pt x="1576" y="43"/>
                      <a:pt x="1581" y="43"/>
                    </a:cubicBezTo>
                    <a:cubicBezTo>
                      <a:pt x="1585" y="43"/>
                      <a:pt x="1588" y="44"/>
                      <a:pt x="1592" y="45"/>
                    </a:cubicBezTo>
                    <a:cubicBezTo>
                      <a:pt x="1595" y="46"/>
                      <a:pt x="1597" y="48"/>
                      <a:pt x="1599" y="50"/>
                    </a:cubicBezTo>
                    <a:cubicBezTo>
                      <a:pt x="1602" y="53"/>
                      <a:pt x="1603" y="56"/>
                      <a:pt x="1604" y="61"/>
                    </a:cubicBezTo>
                    <a:cubicBezTo>
                      <a:pt x="1605" y="65"/>
                      <a:pt x="1606" y="70"/>
                      <a:pt x="1606" y="76"/>
                    </a:cubicBezTo>
                    <a:cubicBezTo>
                      <a:pt x="1606" y="82"/>
                      <a:pt x="1606" y="87"/>
                      <a:pt x="1605" y="92"/>
                    </a:cubicBezTo>
                    <a:cubicBezTo>
                      <a:pt x="1605" y="96"/>
                      <a:pt x="1603" y="100"/>
                      <a:pt x="1602" y="103"/>
                    </a:cubicBezTo>
                    <a:cubicBezTo>
                      <a:pt x="1600" y="106"/>
                      <a:pt x="1597" y="108"/>
                      <a:pt x="1594" y="109"/>
                    </a:cubicBezTo>
                    <a:cubicBezTo>
                      <a:pt x="1591" y="110"/>
                      <a:pt x="1587" y="111"/>
                      <a:pt x="1581" y="111"/>
                    </a:cubicBezTo>
                    <a:cubicBezTo>
                      <a:pt x="1576" y="111"/>
                      <a:pt x="1571" y="111"/>
                      <a:pt x="1568" y="109"/>
                    </a:cubicBezTo>
                    <a:close/>
                    <a:moveTo>
                      <a:pt x="1581" y="36"/>
                    </a:moveTo>
                    <a:cubicBezTo>
                      <a:pt x="1575" y="36"/>
                      <a:pt x="1569" y="36"/>
                      <a:pt x="1565" y="38"/>
                    </a:cubicBezTo>
                    <a:cubicBezTo>
                      <a:pt x="1560" y="39"/>
                      <a:pt x="1557" y="41"/>
                      <a:pt x="1554" y="45"/>
                    </a:cubicBezTo>
                    <a:cubicBezTo>
                      <a:pt x="1551" y="48"/>
                      <a:pt x="1548" y="52"/>
                      <a:pt x="1547" y="57"/>
                    </a:cubicBezTo>
                    <a:cubicBezTo>
                      <a:pt x="1546" y="62"/>
                      <a:pt x="1545" y="68"/>
                      <a:pt x="1545" y="75"/>
                    </a:cubicBezTo>
                    <a:cubicBezTo>
                      <a:pt x="1545" y="83"/>
                      <a:pt x="1545" y="90"/>
                      <a:pt x="1547" y="95"/>
                    </a:cubicBezTo>
                    <a:cubicBezTo>
                      <a:pt x="1548" y="101"/>
                      <a:pt x="1550" y="105"/>
                      <a:pt x="1552" y="109"/>
                    </a:cubicBezTo>
                    <a:cubicBezTo>
                      <a:pt x="1555" y="112"/>
                      <a:pt x="1559" y="114"/>
                      <a:pt x="1563" y="116"/>
                    </a:cubicBezTo>
                    <a:cubicBezTo>
                      <a:pt x="1568" y="118"/>
                      <a:pt x="1574" y="118"/>
                      <a:pt x="1581" y="118"/>
                    </a:cubicBezTo>
                    <a:cubicBezTo>
                      <a:pt x="1588" y="118"/>
                      <a:pt x="1594" y="117"/>
                      <a:pt x="1599" y="116"/>
                    </a:cubicBezTo>
                    <a:cubicBezTo>
                      <a:pt x="1603" y="114"/>
                      <a:pt x="1607" y="111"/>
                      <a:pt x="1610" y="108"/>
                    </a:cubicBezTo>
                    <a:cubicBezTo>
                      <a:pt x="1612" y="104"/>
                      <a:pt x="1614" y="100"/>
                      <a:pt x="1615" y="95"/>
                    </a:cubicBezTo>
                    <a:cubicBezTo>
                      <a:pt x="1616" y="89"/>
                      <a:pt x="1617" y="83"/>
                      <a:pt x="1617" y="76"/>
                    </a:cubicBezTo>
                    <a:cubicBezTo>
                      <a:pt x="1617" y="69"/>
                      <a:pt x="1616" y="63"/>
                      <a:pt x="1614" y="57"/>
                    </a:cubicBezTo>
                    <a:cubicBezTo>
                      <a:pt x="1613" y="52"/>
                      <a:pt x="1610" y="48"/>
                      <a:pt x="1607" y="45"/>
                    </a:cubicBezTo>
                    <a:cubicBezTo>
                      <a:pt x="1604" y="42"/>
                      <a:pt x="1601" y="40"/>
                      <a:pt x="1596" y="38"/>
                    </a:cubicBezTo>
                    <a:cubicBezTo>
                      <a:pt x="1592" y="37"/>
                      <a:pt x="1587" y="36"/>
                      <a:pt x="1581" y="36"/>
                    </a:cubicBezTo>
                    <a:close/>
                    <a:moveTo>
                      <a:pt x="1516" y="117"/>
                    </a:moveTo>
                    <a:cubicBezTo>
                      <a:pt x="1526" y="117"/>
                      <a:pt x="1526" y="117"/>
                      <a:pt x="1526" y="117"/>
                    </a:cubicBezTo>
                    <a:cubicBezTo>
                      <a:pt x="1526" y="5"/>
                      <a:pt x="1526" y="5"/>
                      <a:pt x="1526" y="5"/>
                    </a:cubicBezTo>
                    <a:cubicBezTo>
                      <a:pt x="1516" y="5"/>
                      <a:pt x="1516" y="5"/>
                      <a:pt x="1516" y="5"/>
                    </a:cubicBezTo>
                    <a:lnTo>
                      <a:pt x="1516" y="117"/>
                    </a:lnTo>
                    <a:close/>
                    <a:moveTo>
                      <a:pt x="1408" y="115"/>
                    </a:moveTo>
                    <a:cubicBezTo>
                      <a:pt x="1412" y="116"/>
                      <a:pt x="1415" y="116"/>
                      <a:pt x="1419" y="117"/>
                    </a:cubicBezTo>
                    <a:cubicBezTo>
                      <a:pt x="1422" y="117"/>
                      <a:pt x="1426" y="117"/>
                      <a:pt x="1429" y="117"/>
                    </a:cubicBezTo>
                    <a:cubicBezTo>
                      <a:pt x="1432" y="117"/>
                      <a:pt x="1432" y="117"/>
                      <a:pt x="1432" y="117"/>
                    </a:cubicBezTo>
                    <a:cubicBezTo>
                      <a:pt x="1434" y="117"/>
                      <a:pt x="1437" y="117"/>
                      <a:pt x="1440" y="117"/>
                    </a:cubicBezTo>
                    <a:cubicBezTo>
                      <a:pt x="1443" y="116"/>
                      <a:pt x="1446" y="115"/>
                      <a:pt x="1448" y="114"/>
                    </a:cubicBezTo>
                    <a:cubicBezTo>
                      <a:pt x="1451" y="113"/>
                      <a:pt x="1453" y="111"/>
                      <a:pt x="1455" y="108"/>
                    </a:cubicBezTo>
                    <a:cubicBezTo>
                      <a:pt x="1457" y="106"/>
                      <a:pt x="1457" y="102"/>
                      <a:pt x="1457" y="98"/>
                    </a:cubicBezTo>
                    <a:cubicBezTo>
                      <a:pt x="1457" y="96"/>
                      <a:pt x="1457" y="94"/>
                      <a:pt x="1456" y="91"/>
                    </a:cubicBezTo>
                    <a:cubicBezTo>
                      <a:pt x="1455" y="88"/>
                      <a:pt x="1453" y="85"/>
                      <a:pt x="1450" y="83"/>
                    </a:cubicBezTo>
                    <a:cubicBezTo>
                      <a:pt x="1449" y="82"/>
                      <a:pt x="1448" y="81"/>
                      <a:pt x="1447" y="80"/>
                    </a:cubicBezTo>
                    <a:cubicBezTo>
                      <a:pt x="1445" y="79"/>
                      <a:pt x="1444" y="78"/>
                      <a:pt x="1442" y="77"/>
                    </a:cubicBezTo>
                    <a:cubicBezTo>
                      <a:pt x="1440" y="76"/>
                      <a:pt x="1438" y="74"/>
                      <a:pt x="1436" y="73"/>
                    </a:cubicBezTo>
                    <a:cubicBezTo>
                      <a:pt x="1434" y="72"/>
                      <a:pt x="1432" y="70"/>
                      <a:pt x="1430" y="69"/>
                    </a:cubicBezTo>
                    <a:cubicBezTo>
                      <a:pt x="1426" y="67"/>
                      <a:pt x="1424" y="64"/>
                      <a:pt x="1422" y="62"/>
                    </a:cubicBezTo>
                    <a:cubicBezTo>
                      <a:pt x="1421" y="61"/>
                      <a:pt x="1420" y="58"/>
                      <a:pt x="1420" y="55"/>
                    </a:cubicBezTo>
                    <a:cubicBezTo>
                      <a:pt x="1420" y="53"/>
                      <a:pt x="1420" y="53"/>
                      <a:pt x="1420" y="53"/>
                    </a:cubicBezTo>
                    <a:cubicBezTo>
                      <a:pt x="1420" y="50"/>
                      <a:pt x="1422" y="48"/>
                      <a:pt x="1424" y="46"/>
                    </a:cubicBezTo>
                    <a:cubicBezTo>
                      <a:pt x="1426" y="44"/>
                      <a:pt x="1430" y="43"/>
                      <a:pt x="1435" y="43"/>
                    </a:cubicBezTo>
                    <a:cubicBezTo>
                      <a:pt x="1438" y="43"/>
                      <a:pt x="1438" y="43"/>
                      <a:pt x="1438" y="43"/>
                    </a:cubicBezTo>
                    <a:cubicBezTo>
                      <a:pt x="1441" y="43"/>
                      <a:pt x="1444" y="43"/>
                      <a:pt x="1446" y="43"/>
                    </a:cubicBezTo>
                    <a:cubicBezTo>
                      <a:pt x="1449" y="43"/>
                      <a:pt x="1452" y="44"/>
                      <a:pt x="1456" y="44"/>
                    </a:cubicBezTo>
                    <a:cubicBezTo>
                      <a:pt x="1457" y="37"/>
                      <a:pt x="1457" y="37"/>
                      <a:pt x="1457" y="37"/>
                    </a:cubicBezTo>
                    <a:cubicBezTo>
                      <a:pt x="1455" y="37"/>
                      <a:pt x="1453" y="37"/>
                      <a:pt x="1451" y="37"/>
                    </a:cubicBezTo>
                    <a:cubicBezTo>
                      <a:pt x="1449" y="36"/>
                      <a:pt x="1448" y="36"/>
                      <a:pt x="1446" y="36"/>
                    </a:cubicBezTo>
                    <a:cubicBezTo>
                      <a:pt x="1444" y="36"/>
                      <a:pt x="1443" y="36"/>
                      <a:pt x="1441" y="36"/>
                    </a:cubicBezTo>
                    <a:cubicBezTo>
                      <a:pt x="1439" y="36"/>
                      <a:pt x="1437" y="36"/>
                      <a:pt x="1435" y="36"/>
                    </a:cubicBezTo>
                    <a:cubicBezTo>
                      <a:pt x="1431" y="36"/>
                      <a:pt x="1427" y="36"/>
                      <a:pt x="1424" y="37"/>
                    </a:cubicBezTo>
                    <a:cubicBezTo>
                      <a:pt x="1421" y="38"/>
                      <a:pt x="1418" y="39"/>
                      <a:pt x="1416" y="41"/>
                    </a:cubicBezTo>
                    <a:cubicBezTo>
                      <a:pt x="1414" y="42"/>
                      <a:pt x="1412" y="44"/>
                      <a:pt x="1411" y="46"/>
                    </a:cubicBezTo>
                    <a:cubicBezTo>
                      <a:pt x="1410" y="48"/>
                      <a:pt x="1410" y="50"/>
                      <a:pt x="1410" y="52"/>
                    </a:cubicBezTo>
                    <a:cubicBezTo>
                      <a:pt x="1410" y="55"/>
                      <a:pt x="1410" y="55"/>
                      <a:pt x="1410" y="55"/>
                    </a:cubicBezTo>
                    <a:cubicBezTo>
                      <a:pt x="1410" y="57"/>
                      <a:pt x="1410" y="59"/>
                      <a:pt x="1410" y="61"/>
                    </a:cubicBezTo>
                    <a:cubicBezTo>
                      <a:pt x="1411" y="63"/>
                      <a:pt x="1412" y="65"/>
                      <a:pt x="1413" y="66"/>
                    </a:cubicBezTo>
                    <a:cubicBezTo>
                      <a:pt x="1414" y="68"/>
                      <a:pt x="1416" y="70"/>
                      <a:pt x="1417" y="71"/>
                    </a:cubicBezTo>
                    <a:cubicBezTo>
                      <a:pt x="1419" y="72"/>
                      <a:pt x="1421" y="74"/>
                      <a:pt x="1424" y="75"/>
                    </a:cubicBezTo>
                    <a:cubicBezTo>
                      <a:pt x="1425" y="77"/>
                      <a:pt x="1427" y="78"/>
                      <a:pt x="1429" y="79"/>
                    </a:cubicBezTo>
                    <a:cubicBezTo>
                      <a:pt x="1431" y="80"/>
                      <a:pt x="1433" y="82"/>
                      <a:pt x="1435" y="83"/>
                    </a:cubicBezTo>
                    <a:cubicBezTo>
                      <a:pt x="1436" y="84"/>
                      <a:pt x="1438" y="85"/>
                      <a:pt x="1439" y="86"/>
                    </a:cubicBezTo>
                    <a:cubicBezTo>
                      <a:pt x="1440" y="87"/>
                      <a:pt x="1441" y="88"/>
                      <a:pt x="1442" y="89"/>
                    </a:cubicBezTo>
                    <a:cubicBezTo>
                      <a:pt x="1444" y="90"/>
                      <a:pt x="1445" y="92"/>
                      <a:pt x="1446" y="94"/>
                    </a:cubicBezTo>
                    <a:cubicBezTo>
                      <a:pt x="1446" y="95"/>
                      <a:pt x="1447" y="97"/>
                      <a:pt x="1447" y="99"/>
                    </a:cubicBezTo>
                    <a:cubicBezTo>
                      <a:pt x="1447" y="101"/>
                      <a:pt x="1446" y="103"/>
                      <a:pt x="1446" y="105"/>
                    </a:cubicBezTo>
                    <a:cubicBezTo>
                      <a:pt x="1445" y="107"/>
                      <a:pt x="1444" y="108"/>
                      <a:pt x="1442" y="109"/>
                    </a:cubicBezTo>
                    <a:cubicBezTo>
                      <a:pt x="1441" y="109"/>
                      <a:pt x="1439" y="110"/>
                      <a:pt x="1437" y="110"/>
                    </a:cubicBezTo>
                    <a:cubicBezTo>
                      <a:pt x="1435" y="111"/>
                      <a:pt x="1433" y="111"/>
                      <a:pt x="1431" y="111"/>
                    </a:cubicBezTo>
                    <a:cubicBezTo>
                      <a:pt x="1428" y="111"/>
                      <a:pt x="1428" y="111"/>
                      <a:pt x="1428" y="111"/>
                    </a:cubicBezTo>
                    <a:cubicBezTo>
                      <a:pt x="1426" y="111"/>
                      <a:pt x="1423" y="111"/>
                      <a:pt x="1420" y="110"/>
                    </a:cubicBezTo>
                    <a:cubicBezTo>
                      <a:pt x="1417" y="110"/>
                      <a:pt x="1413" y="109"/>
                      <a:pt x="1409" y="109"/>
                    </a:cubicBezTo>
                    <a:lnTo>
                      <a:pt x="1408" y="115"/>
                    </a:lnTo>
                    <a:close/>
                    <a:moveTo>
                      <a:pt x="1390" y="37"/>
                    </a:moveTo>
                    <a:cubicBezTo>
                      <a:pt x="1379" y="37"/>
                      <a:pt x="1379" y="37"/>
                      <a:pt x="1379" y="37"/>
                    </a:cubicBezTo>
                    <a:cubicBezTo>
                      <a:pt x="1379" y="107"/>
                      <a:pt x="1379" y="107"/>
                      <a:pt x="1379" y="107"/>
                    </a:cubicBezTo>
                    <a:cubicBezTo>
                      <a:pt x="1376" y="108"/>
                      <a:pt x="1373" y="109"/>
                      <a:pt x="1369" y="110"/>
                    </a:cubicBezTo>
                    <a:cubicBezTo>
                      <a:pt x="1366" y="111"/>
                      <a:pt x="1362" y="111"/>
                      <a:pt x="1359" y="111"/>
                    </a:cubicBezTo>
                    <a:cubicBezTo>
                      <a:pt x="1350" y="111"/>
                      <a:pt x="1344" y="109"/>
                      <a:pt x="1340" y="104"/>
                    </a:cubicBezTo>
                    <a:cubicBezTo>
                      <a:pt x="1337" y="99"/>
                      <a:pt x="1335" y="90"/>
                      <a:pt x="1335" y="79"/>
                    </a:cubicBezTo>
                    <a:cubicBezTo>
                      <a:pt x="1335" y="38"/>
                      <a:pt x="1335" y="38"/>
                      <a:pt x="1335" y="38"/>
                    </a:cubicBezTo>
                    <a:cubicBezTo>
                      <a:pt x="1324" y="38"/>
                      <a:pt x="1324" y="38"/>
                      <a:pt x="1324" y="38"/>
                    </a:cubicBezTo>
                    <a:cubicBezTo>
                      <a:pt x="1324" y="79"/>
                      <a:pt x="1324" y="79"/>
                      <a:pt x="1324" y="79"/>
                    </a:cubicBezTo>
                    <a:cubicBezTo>
                      <a:pt x="1324" y="86"/>
                      <a:pt x="1325" y="92"/>
                      <a:pt x="1326" y="97"/>
                    </a:cubicBezTo>
                    <a:cubicBezTo>
                      <a:pt x="1327" y="102"/>
                      <a:pt x="1329" y="106"/>
                      <a:pt x="1332" y="109"/>
                    </a:cubicBezTo>
                    <a:cubicBezTo>
                      <a:pt x="1335" y="112"/>
                      <a:pt x="1338" y="114"/>
                      <a:pt x="1343" y="116"/>
                    </a:cubicBezTo>
                    <a:cubicBezTo>
                      <a:pt x="1347" y="118"/>
                      <a:pt x="1352" y="118"/>
                      <a:pt x="1359" y="118"/>
                    </a:cubicBezTo>
                    <a:cubicBezTo>
                      <a:pt x="1363" y="118"/>
                      <a:pt x="1368" y="118"/>
                      <a:pt x="1373" y="117"/>
                    </a:cubicBezTo>
                    <a:cubicBezTo>
                      <a:pt x="1378" y="116"/>
                      <a:pt x="1384" y="114"/>
                      <a:pt x="1390" y="112"/>
                    </a:cubicBezTo>
                    <a:lnTo>
                      <a:pt x="1390" y="37"/>
                    </a:lnTo>
                    <a:close/>
                    <a:moveTo>
                      <a:pt x="1293" y="117"/>
                    </a:moveTo>
                    <a:cubicBezTo>
                      <a:pt x="1304" y="117"/>
                      <a:pt x="1304" y="117"/>
                      <a:pt x="1304" y="117"/>
                    </a:cubicBezTo>
                    <a:cubicBezTo>
                      <a:pt x="1304" y="5"/>
                      <a:pt x="1304" y="5"/>
                      <a:pt x="1304" y="5"/>
                    </a:cubicBezTo>
                    <a:cubicBezTo>
                      <a:pt x="1293" y="5"/>
                      <a:pt x="1293" y="5"/>
                      <a:pt x="1293" y="5"/>
                    </a:cubicBezTo>
                    <a:lnTo>
                      <a:pt x="1293" y="117"/>
                    </a:lnTo>
                    <a:close/>
                    <a:moveTo>
                      <a:pt x="1218" y="44"/>
                    </a:moveTo>
                    <a:cubicBezTo>
                      <a:pt x="1220" y="43"/>
                      <a:pt x="1222" y="43"/>
                      <a:pt x="1225" y="43"/>
                    </a:cubicBezTo>
                    <a:cubicBezTo>
                      <a:pt x="1228" y="43"/>
                      <a:pt x="1230" y="43"/>
                      <a:pt x="1232" y="43"/>
                    </a:cubicBezTo>
                    <a:cubicBezTo>
                      <a:pt x="1238" y="43"/>
                      <a:pt x="1243" y="44"/>
                      <a:pt x="1247" y="45"/>
                    </a:cubicBezTo>
                    <a:cubicBezTo>
                      <a:pt x="1251" y="47"/>
                      <a:pt x="1254" y="49"/>
                      <a:pt x="1257" y="52"/>
                    </a:cubicBezTo>
                    <a:cubicBezTo>
                      <a:pt x="1259" y="55"/>
                      <a:pt x="1260" y="58"/>
                      <a:pt x="1261" y="63"/>
                    </a:cubicBezTo>
                    <a:cubicBezTo>
                      <a:pt x="1262" y="67"/>
                      <a:pt x="1262" y="72"/>
                      <a:pt x="1262" y="78"/>
                    </a:cubicBezTo>
                    <a:cubicBezTo>
                      <a:pt x="1262" y="84"/>
                      <a:pt x="1262" y="89"/>
                      <a:pt x="1261" y="93"/>
                    </a:cubicBezTo>
                    <a:cubicBezTo>
                      <a:pt x="1260" y="97"/>
                      <a:pt x="1259" y="101"/>
                      <a:pt x="1258" y="103"/>
                    </a:cubicBezTo>
                    <a:cubicBezTo>
                      <a:pt x="1256" y="106"/>
                      <a:pt x="1254" y="108"/>
                      <a:pt x="1251" y="109"/>
                    </a:cubicBezTo>
                    <a:cubicBezTo>
                      <a:pt x="1249" y="110"/>
                      <a:pt x="1245" y="111"/>
                      <a:pt x="1241" y="111"/>
                    </a:cubicBezTo>
                    <a:cubicBezTo>
                      <a:pt x="1236" y="111"/>
                      <a:pt x="1232" y="111"/>
                      <a:pt x="1228" y="110"/>
                    </a:cubicBezTo>
                    <a:cubicBezTo>
                      <a:pt x="1224" y="109"/>
                      <a:pt x="1220" y="108"/>
                      <a:pt x="1218" y="107"/>
                    </a:cubicBezTo>
                    <a:lnTo>
                      <a:pt x="1218" y="44"/>
                    </a:lnTo>
                    <a:close/>
                    <a:moveTo>
                      <a:pt x="1218" y="114"/>
                    </a:moveTo>
                    <a:cubicBezTo>
                      <a:pt x="1220" y="115"/>
                      <a:pt x="1224" y="116"/>
                      <a:pt x="1228" y="117"/>
                    </a:cubicBezTo>
                    <a:cubicBezTo>
                      <a:pt x="1232" y="118"/>
                      <a:pt x="1236" y="118"/>
                      <a:pt x="1241" y="118"/>
                    </a:cubicBezTo>
                    <a:cubicBezTo>
                      <a:pt x="1247" y="118"/>
                      <a:pt x="1252" y="117"/>
                      <a:pt x="1256" y="116"/>
                    </a:cubicBezTo>
                    <a:cubicBezTo>
                      <a:pt x="1260" y="114"/>
                      <a:pt x="1264" y="112"/>
                      <a:pt x="1266" y="108"/>
                    </a:cubicBezTo>
                    <a:cubicBezTo>
                      <a:pt x="1268" y="105"/>
                      <a:pt x="1270" y="101"/>
                      <a:pt x="1271" y="96"/>
                    </a:cubicBezTo>
                    <a:cubicBezTo>
                      <a:pt x="1272" y="91"/>
                      <a:pt x="1273" y="85"/>
                      <a:pt x="1273" y="79"/>
                    </a:cubicBezTo>
                    <a:cubicBezTo>
                      <a:pt x="1273" y="71"/>
                      <a:pt x="1272" y="65"/>
                      <a:pt x="1271" y="60"/>
                    </a:cubicBezTo>
                    <a:cubicBezTo>
                      <a:pt x="1270" y="54"/>
                      <a:pt x="1267" y="50"/>
                      <a:pt x="1264" y="46"/>
                    </a:cubicBezTo>
                    <a:cubicBezTo>
                      <a:pt x="1261" y="43"/>
                      <a:pt x="1257" y="40"/>
                      <a:pt x="1251" y="38"/>
                    </a:cubicBezTo>
                    <a:cubicBezTo>
                      <a:pt x="1246" y="37"/>
                      <a:pt x="1239" y="36"/>
                      <a:pt x="1230" y="36"/>
                    </a:cubicBezTo>
                    <a:cubicBezTo>
                      <a:pt x="1226" y="36"/>
                      <a:pt x="1222" y="36"/>
                      <a:pt x="1219" y="36"/>
                    </a:cubicBezTo>
                    <a:cubicBezTo>
                      <a:pt x="1215" y="36"/>
                      <a:pt x="1211" y="37"/>
                      <a:pt x="1207" y="37"/>
                    </a:cubicBezTo>
                    <a:cubicBezTo>
                      <a:pt x="1207" y="148"/>
                      <a:pt x="1207" y="148"/>
                      <a:pt x="1207" y="148"/>
                    </a:cubicBezTo>
                    <a:cubicBezTo>
                      <a:pt x="1218" y="148"/>
                      <a:pt x="1218" y="148"/>
                      <a:pt x="1218" y="148"/>
                    </a:cubicBezTo>
                    <a:lnTo>
                      <a:pt x="1218" y="114"/>
                    </a:lnTo>
                    <a:close/>
                    <a:moveTo>
                      <a:pt x="1113" y="117"/>
                    </a:moveTo>
                    <a:cubicBezTo>
                      <a:pt x="1124" y="117"/>
                      <a:pt x="1124" y="117"/>
                      <a:pt x="1124" y="117"/>
                    </a:cubicBezTo>
                    <a:cubicBezTo>
                      <a:pt x="1124" y="47"/>
                      <a:pt x="1124" y="47"/>
                      <a:pt x="1124" y="47"/>
                    </a:cubicBezTo>
                    <a:cubicBezTo>
                      <a:pt x="1126" y="46"/>
                      <a:pt x="1130" y="45"/>
                      <a:pt x="1134" y="44"/>
                    </a:cubicBezTo>
                    <a:cubicBezTo>
                      <a:pt x="1138" y="43"/>
                      <a:pt x="1142" y="43"/>
                      <a:pt x="1146" y="43"/>
                    </a:cubicBezTo>
                    <a:cubicBezTo>
                      <a:pt x="1147" y="43"/>
                      <a:pt x="1149" y="43"/>
                      <a:pt x="1150" y="43"/>
                    </a:cubicBezTo>
                    <a:cubicBezTo>
                      <a:pt x="1151" y="43"/>
                      <a:pt x="1152" y="43"/>
                      <a:pt x="1154" y="44"/>
                    </a:cubicBezTo>
                    <a:cubicBezTo>
                      <a:pt x="1155" y="36"/>
                      <a:pt x="1155" y="36"/>
                      <a:pt x="1155" y="36"/>
                    </a:cubicBezTo>
                    <a:cubicBezTo>
                      <a:pt x="1153" y="36"/>
                      <a:pt x="1151" y="36"/>
                      <a:pt x="1150" y="36"/>
                    </a:cubicBezTo>
                    <a:cubicBezTo>
                      <a:pt x="1149" y="36"/>
                      <a:pt x="1148" y="36"/>
                      <a:pt x="1146" y="36"/>
                    </a:cubicBezTo>
                    <a:cubicBezTo>
                      <a:pt x="1141" y="36"/>
                      <a:pt x="1135" y="36"/>
                      <a:pt x="1130" y="38"/>
                    </a:cubicBezTo>
                    <a:cubicBezTo>
                      <a:pt x="1125" y="39"/>
                      <a:pt x="1119" y="40"/>
                      <a:pt x="1113" y="43"/>
                    </a:cubicBezTo>
                    <a:lnTo>
                      <a:pt x="1113" y="117"/>
                    </a:lnTo>
                    <a:close/>
                    <a:moveTo>
                      <a:pt x="1036" y="73"/>
                    </a:moveTo>
                    <a:cubicBezTo>
                      <a:pt x="1036" y="62"/>
                      <a:pt x="1038" y="54"/>
                      <a:pt x="1042" y="50"/>
                    </a:cubicBezTo>
                    <a:cubicBezTo>
                      <a:pt x="1046" y="45"/>
                      <a:pt x="1051" y="43"/>
                      <a:pt x="1059" y="43"/>
                    </a:cubicBezTo>
                    <a:cubicBezTo>
                      <a:pt x="1068" y="43"/>
                      <a:pt x="1074" y="45"/>
                      <a:pt x="1077" y="50"/>
                    </a:cubicBezTo>
                    <a:cubicBezTo>
                      <a:pt x="1081" y="54"/>
                      <a:pt x="1083" y="62"/>
                      <a:pt x="1083" y="73"/>
                    </a:cubicBezTo>
                    <a:lnTo>
                      <a:pt x="1036" y="73"/>
                    </a:lnTo>
                    <a:close/>
                    <a:moveTo>
                      <a:pt x="1090" y="107"/>
                    </a:moveTo>
                    <a:cubicBezTo>
                      <a:pt x="1088" y="107"/>
                      <a:pt x="1086" y="107"/>
                      <a:pt x="1084" y="108"/>
                    </a:cubicBezTo>
                    <a:cubicBezTo>
                      <a:pt x="1081" y="108"/>
                      <a:pt x="1079" y="109"/>
                      <a:pt x="1076" y="109"/>
                    </a:cubicBezTo>
                    <a:cubicBezTo>
                      <a:pt x="1073" y="110"/>
                      <a:pt x="1071" y="110"/>
                      <a:pt x="1068" y="111"/>
                    </a:cubicBezTo>
                    <a:cubicBezTo>
                      <a:pt x="1065" y="111"/>
                      <a:pt x="1063" y="111"/>
                      <a:pt x="1060" y="111"/>
                    </a:cubicBezTo>
                    <a:cubicBezTo>
                      <a:pt x="1056" y="111"/>
                      <a:pt x="1052" y="110"/>
                      <a:pt x="1049" y="109"/>
                    </a:cubicBezTo>
                    <a:cubicBezTo>
                      <a:pt x="1046" y="108"/>
                      <a:pt x="1043" y="106"/>
                      <a:pt x="1041" y="103"/>
                    </a:cubicBezTo>
                    <a:cubicBezTo>
                      <a:pt x="1040" y="101"/>
                      <a:pt x="1038" y="97"/>
                      <a:pt x="1037" y="93"/>
                    </a:cubicBezTo>
                    <a:cubicBezTo>
                      <a:pt x="1037" y="90"/>
                      <a:pt x="1036" y="85"/>
                      <a:pt x="1036" y="80"/>
                    </a:cubicBezTo>
                    <a:cubicBezTo>
                      <a:pt x="1094" y="80"/>
                      <a:pt x="1094" y="80"/>
                      <a:pt x="1094" y="80"/>
                    </a:cubicBezTo>
                    <a:cubicBezTo>
                      <a:pt x="1094" y="74"/>
                      <a:pt x="1094" y="74"/>
                      <a:pt x="1094" y="74"/>
                    </a:cubicBezTo>
                    <a:cubicBezTo>
                      <a:pt x="1094" y="60"/>
                      <a:pt x="1091" y="51"/>
                      <a:pt x="1085" y="45"/>
                    </a:cubicBezTo>
                    <a:cubicBezTo>
                      <a:pt x="1079" y="39"/>
                      <a:pt x="1071" y="36"/>
                      <a:pt x="1059" y="36"/>
                    </a:cubicBezTo>
                    <a:cubicBezTo>
                      <a:pt x="1054" y="36"/>
                      <a:pt x="1049" y="36"/>
                      <a:pt x="1045" y="38"/>
                    </a:cubicBezTo>
                    <a:cubicBezTo>
                      <a:pt x="1041" y="39"/>
                      <a:pt x="1037" y="41"/>
                      <a:pt x="1034" y="45"/>
                    </a:cubicBezTo>
                    <a:cubicBezTo>
                      <a:pt x="1031" y="48"/>
                      <a:pt x="1029" y="52"/>
                      <a:pt x="1028" y="57"/>
                    </a:cubicBezTo>
                    <a:cubicBezTo>
                      <a:pt x="1026" y="63"/>
                      <a:pt x="1025" y="69"/>
                      <a:pt x="1025" y="77"/>
                    </a:cubicBezTo>
                    <a:cubicBezTo>
                      <a:pt x="1025" y="83"/>
                      <a:pt x="1026" y="89"/>
                      <a:pt x="1027" y="94"/>
                    </a:cubicBezTo>
                    <a:cubicBezTo>
                      <a:pt x="1028" y="99"/>
                      <a:pt x="1030" y="104"/>
                      <a:pt x="1032" y="107"/>
                    </a:cubicBezTo>
                    <a:cubicBezTo>
                      <a:pt x="1035" y="111"/>
                      <a:pt x="1039" y="113"/>
                      <a:pt x="1043" y="115"/>
                    </a:cubicBezTo>
                    <a:cubicBezTo>
                      <a:pt x="1048" y="117"/>
                      <a:pt x="1053" y="118"/>
                      <a:pt x="1060" y="118"/>
                    </a:cubicBezTo>
                    <a:cubicBezTo>
                      <a:pt x="1063" y="118"/>
                      <a:pt x="1066" y="118"/>
                      <a:pt x="1068" y="118"/>
                    </a:cubicBezTo>
                    <a:cubicBezTo>
                      <a:pt x="1071" y="117"/>
                      <a:pt x="1074" y="117"/>
                      <a:pt x="1077" y="116"/>
                    </a:cubicBezTo>
                    <a:cubicBezTo>
                      <a:pt x="1080" y="116"/>
                      <a:pt x="1082" y="116"/>
                      <a:pt x="1085" y="115"/>
                    </a:cubicBezTo>
                    <a:cubicBezTo>
                      <a:pt x="1087" y="115"/>
                      <a:pt x="1089" y="114"/>
                      <a:pt x="1091" y="114"/>
                    </a:cubicBezTo>
                    <a:lnTo>
                      <a:pt x="1090" y="107"/>
                    </a:lnTo>
                    <a:close/>
                    <a:moveTo>
                      <a:pt x="996" y="117"/>
                    </a:moveTo>
                    <a:cubicBezTo>
                      <a:pt x="1007" y="117"/>
                      <a:pt x="1007" y="117"/>
                      <a:pt x="1007" y="117"/>
                    </a:cubicBezTo>
                    <a:cubicBezTo>
                      <a:pt x="1007" y="5"/>
                      <a:pt x="1007" y="5"/>
                      <a:pt x="1007" y="5"/>
                    </a:cubicBezTo>
                    <a:cubicBezTo>
                      <a:pt x="996" y="5"/>
                      <a:pt x="996" y="5"/>
                      <a:pt x="996" y="5"/>
                    </a:cubicBezTo>
                    <a:lnTo>
                      <a:pt x="996" y="117"/>
                    </a:lnTo>
                    <a:close/>
                    <a:moveTo>
                      <a:pt x="963" y="117"/>
                    </a:moveTo>
                    <a:cubicBezTo>
                      <a:pt x="974" y="117"/>
                      <a:pt x="974" y="117"/>
                      <a:pt x="974" y="117"/>
                    </a:cubicBezTo>
                    <a:cubicBezTo>
                      <a:pt x="974" y="5"/>
                      <a:pt x="974" y="5"/>
                      <a:pt x="974" y="5"/>
                    </a:cubicBezTo>
                    <a:cubicBezTo>
                      <a:pt x="963" y="5"/>
                      <a:pt x="963" y="5"/>
                      <a:pt x="963" y="5"/>
                    </a:cubicBezTo>
                    <a:lnTo>
                      <a:pt x="963" y="117"/>
                    </a:lnTo>
                    <a:close/>
                    <a:moveTo>
                      <a:pt x="930" y="107"/>
                    </a:moveTo>
                    <a:cubicBezTo>
                      <a:pt x="927" y="108"/>
                      <a:pt x="923" y="108"/>
                      <a:pt x="918" y="109"/>
                    </a:cubicBezTo>
                    <a:cubicBezTo>
                      <a:pt x="913" y="110"/>
                      <a:pt x="908" y="111"/>
                      <a:pt x="903" y="111"/>
                    </a:cubicBezTo>
                    <a:cubicBezTo>
                      <a:pt x="899" y="111"/>
                      <a:pt x="895" y="109"/>
                      <a:pt x="893" y="106"/>
                    </a:cubicBezTo>
                    <a:cubicBezTo>
                      <a:pt x="890" y="103"/>
                      <a:pt x="889" y="99"/>
                      <a:pt x="889" y="94"/>
                    </a:cubicBezTo>
                    <a:cubicBezTo>
                      <a:pt x="889" y="90"/>
                      <a:pt x="890" y="86"/>
                      <a:pt x="893" y="83"/>
                    </a:cubicBezTo>
                    <a:cubicBezTo>
                      <a:pt x="895" y="80"/>
                      <a:pt x="899" y="78"/>
                      <a:pt x="906" y="78"/>
                    </a:cubicBezTo>
                    <a:cubicBezTo>
                      <a:pt x="930" y="76"/>
                      <a:pt x="930" y="76"/>
                      <a:pt x="930" y="76"/>
                    </a:cubicBezTo>
                    <a:lnTo>
                      <a:pt x="930" y="107"/>
                    </a:lnTo>
                    <a:close/>
                    <a:moveTo>
                      <a:pt x="886" y="45"/>
                    </a:moveTo>
                    <a:cubicBezTo>
                      <a:pt x="891" y="45"/>
                      <a:pt x="896" y="44"/>
                      <a:pt x="900" y="44"/>
                    </a:cubicBezTo>
                    <a:cubicBezTo>
                      <a:pt x="905" y="43"/>
                      <a:pt x="909" y="43"/>
                      <a:pt x="913" y="43"/>
                    </a:cubicBezTo>
                    <a:cubicBezTo>
                      <a:pt x="919" y="43"/>
                      <a:pt x="923" y="45"/>
                      <a:pt x="926" y="47"/>
                    </a:cubicBezTo>
                    <a:cubicBezTo>
                      <a:pt x="929" y="50"/>
                      <a:pt x="930" y="54"/>
                      <a:pt x="930" y="61"/>
                    </a:cubicBezTo>
                    <a:cubicBezTo>
                      <a:pt x="930" y="69"/>
                      <a:pt x="930" y="69"/>
                      <a:pt x="930" y="69"/>
                    </a:cubicBezTo>
                    <a:cubicBezTo>
                      <a:pt x="905" y="71"/>
                      <a:pt x="905" y="71"/>
                      <a:pt x="905" y="71"/>
                    </a:cubicBezTo>
                    <a:cubicBezTo>
                      <a:pt x="895" y="72"/>
                      <a:pt x="889" y="74"/>
                      <a:pt x="885" y="78"/>
                    </a:cubicBezTo>
                    <a:cubicBezTo>
                      <a:pt x="881" y="82"/>
                      <a:pt x="879" y="88"/>
                      <a:pt x="879" y="94"/>
                    </a:cubicBezTo>
                    <a:cubicBezTo>
                      <a:pt x="879" y="102"/>
                      <a:pt x="881" y="108"/>
                      <a:pt x="885" y="112"/>
                    </a:cubicBezTo>
                    <a:cubicBezTo>
                      <a:pt x="889" y="116"/>
                      <a:pt x="895" y="118"/>
                      <a:pt x="903" y="118"/>
                    </a:cubicBezTo>
                    <a:cubicBezTo>
                      <a:pt x="911" y="118"/>
                      <a:pt x="918" y="117"/>
                      <a:pt x="924" y="116"/>
                    </a:cubicBezTo>
                    <a:cubicBezTo>
                      <a:pt x="931" y="114"/>
                      <a:pt x="936" y="113"/>
                      <a:pt x="941" y="111"/>
                    </a:cubicBezTo>
                    <a:cubicBezTo>
                      <a:pt x="941" y="61"/>
                      <a:pt x="941" y="61"/>
                      <a:pt x="941" y="61"/>
                    </a:cubicBezTo>
                    <a:cubicBezTo>
                      <a:pt x="941" y="53"/>
                      <a:pt x="939" y="46"/>
                      <a:pt x="934" y="42"/>
                    </a:cubicBezTo>
                    <a:cubicBezTo>
                      <a:pt x="930" y="38"/>
                      <a:pt x="923" y="36"/>
                      <a:pt x="913" y="36"/>
                    </a:cubicBezTo>
                    <a:cubicBezTo>
                      <a:pt x="909" y="36"/>
                      <a:pt x="904" y="36"/>
                      <a:pt x="899" y="36"/>
                    </a:cubicBezTo>
                    <a:cubicBezTo>
                      <a:pt x="894" y="37"/>
                      <a:pt x="889" y="37"/>
                      <a:pt x="884" y="38"/>
                    </a:cubicBezTo>
                    <a:lnTo>
                      <a:pt x="886" y="45"/>
                    </a:lnTo>
                    <a:close/>
                    <a:moveTo>
                      <a:pt x="842" y="34"/>
                    </a:moveTo>
                    <a:cubicBezTo>
                      <a:pt x="852" y="34"/>
                      <a:pt x="852" y="34"/>
                      <a:pt x="852" y="34"/>
                    </a:cubicBezTo>
                    <a:cubicBezTo>
                      <a:pt x="861" y="0"/>
                      <a:pt x="861" y="0"/>
                      <a:pt x="861" y="0"/>
                    </a:cubicBezTo>
                    <a:cubicBezTo>
                      <a:pt x="850" y="0"/>
                      <a:pt x="850" y="0"/>
                      <a:pt x="850" y="0"/>
                    </a:cubicBezTo>
                    <a:lnTo>
                      <a:pt x="842" y="34"/>
                    </a:lnTo>
                    <a:close/>
                    <a:moveTo>
                      <a:pt x="811" y="110"/>
                    </a:moveTo>
                    <a:cubicBezTo>
                      <a:pt x="809" y="110"/>
                      <a:pt x="807" y="111"/>
                      <a:pt x="804" y="111"/>
                    </a:cubicBezTo>
                    <a:cubicBezTo>
                      <a:pt x="802" y="111"/>
                      <a:pt x="799" y="111"/>
                      <a:pt x="798" y="111"/>
                    </a:cubicBezTo>
                    <a:cubicBezTo>
                      <a:pt x="791" y="111"/>
                      <a:pt x="786" y="110"/>
                      <a:pt x="782" y="109"/>
                    </a:cubicBezTo>
                    <a:cubicBezTo>
                      <a:pt x="778" y="107"/>
                      <a:pt x="775" y="105"/>
                      <a:pt x="773" y="102"/>
                    </a:cubicBezTo>
                    <a:cubicBezTo>
                      <a:pt x="771" y="99"/>
                      <a:pt x="769" y="95"/>
                      <a:pt x="768" y="91"/>
                    </a:cubicBezTo>
                    <a:cubicBezTo>
                      <a:pt x="768" y="87"/>
                      <a:pt x="767" y="81"/>
                      <a:pt x="767" y="76"/>
                    </a:cubicBezTo>
                    <a:cubicBezTo>
                      <a:pt x="767" y="70"/>
                      <a:pt x="768" y="65"/>
                      <a:pt x="768" y="61"/>
                    </a:cubicBezTo>
                    <a:cubicBezTo>
                      <a:pt x="769" y="57"/>
                      <a:pt x="770" y="53"/>
                      <a:pt x="771" y="51"/>
                    </a:cubicBezTo>
                    <a:cubicBezTo>
                      <a:pt x="773" y="48"/>
                      <a:pt x="775" y="46"/>
                      <a:pt x="778" y="45"/>
                    </a:cubicBezTo>
                    <a:cubicBezTo>
                      <a:pt x="781" y="44"/>
                      <a:pt x="784" y="43"/>
                      <a:pt x="789" y="43"/>
                    </a:cubicBezTo>
                    <a:cubicBezTo>
                      <a:pt x="793" y="43"/>
                      <a:pt x="797" y="43"/>
                      <a:pt x="801" y="44"/>
                    </a:cubicBezTo>
                    <a:cubicBezTo>
                      <a:pt x="805" y="45"/>
                      <a:pt x="809" y="46"/>
                      <a:pt x="811" y="47"/>
                    </a:cubicBezTo>
                    <a:lnTo>
                      <a:pt x="811" y="110"/>
                    </a:lnTo>
                    <a:close/>
                    <a:moveTo>
                      <a:pt x="811" y="40"/>
                    </a:moveTo>
                    <a:cubicBezTo>
                      <a:pt x="809" y="39"/>
                      <a:pt x="805" y="38"/>
                      <a:pt x="801" y="37"/>
                    </a:cubicBezTo>
                    <a:cubicBezTo>
                      <a:pt x="797" y="36"/>
                      <a:pt x="793" y="36"/>
                      <a:pt x="789" y="36"/>
                    </a:cubicBezTo>
                    <a:cubicBezTo>
                      <a:pt x="782" y="36"/>
                      <a:pt x="777" y="37"/>
                      <a:pt x="773" y="38"/>
                    </a:cubicBezTo>
                    <a:cubicBezTo>
                      <a:pt x="769" y="40"/>
                      <a:pt x="766" y="42"/>
                      <a:pt x="763" y="45"/>
                    </a:cubicBezTo>
                    <a:cubicBezTo>
                      <a:pt x="761" y="49"/>
                      <a:pt x="759" y="53"/>
                      <a:pt x="758" y="58"/>
                    </a:cubicBezTo>
                    <a:cubicBezTo>
                      <a:pt x="757" y="63"/>
                      <a:pt x="757" y="69"/>
                      <a:pt x="757" y="75"/>
                    </a:cubicBezTo>
                    <a:cubicBezTo>
                      <a:pt x="757" y="83"/>
                      <a:pt x="757" y="89"/>
                      <a:pt x="758" y="94"/>
                    </a:cubicBezTo>
                    <a:cubicBezTo>
                      <a:pt x="760" y="100"/>
                      <a:pt x="762" y="104"/>
                      <a:pt x="765" y="108"/>
                    </a:cubicBezTo>
                    <a:cubicBezTo>
                      <a:pt x="768" y="111"/>
                      <a:pt x="772" y="114"/>
                      <a:pt x="778" y="116"/>
                    </a:cubicBezTo>
                    <a:cubicBezTo>
                      <a:pt x="783" y="117"/>
                      <a:pt x="790" y="118"/>
                      <a:pt x="799" y="118"/>
                    </a:cubicBezTo>
                    <a:cubicBezTo>
                      <a:pt x="803" y="118"/>
                      <a:pt x="807" y="118"/>
                      <a:pt x="811" y="118"/>
                    </a:cubicBezTo>
                    <a:cubicBezTo>
                      <a:pt x="814" y="117"/>
                      <a:pt x="818" y="117"/>
                      <a:pt x="822" y="117"/>
                    </a:cubicBezTo>
                    <a:cubicBezTo>
                      <a:pt x="822" y="5"/>
                      <a:pt x="822" y="5"/>
                      <a:pt x="822" y="5"/>
                    </a:cubicBezTo>
                    <a:cubicBezTo>
                      <a:pt x="811" y="5"/>
                      <a:pt x="811" y="5"/>
                      <a:pt x="811" y="5"/>
                    </a:cubicBezTo>
                    <a:lnTo>
                      <a:pt x="811" y="40"/>
                    </a:lnTo>
                    <a:close/>
                    <a:moveTo>
                      <a:pt x="633" y="117"/>
                    </a:moveTo>
                    <a:cubicBezTo>
                      <a:pt x="643" y="117"/>
                      <a:pt x="643" y="117"/>
                      <a:pt x="643" y="117"/>
                    </a:cubicBezTo>
                    <a:cubicBezTo>
                      <a:pt x="643" y="47"/>
                      <a:pt x="643" y="47"/>
                      <a:pt x="643" y="47"/>
                    </a:cubicBezTo>
                    <a:cubicBezTo>
                      <a:pt x="646" y="46"/>
                      <a:pt x="649" y="45"/>
                      <a:pt x="653" y="44"/>
                    </a:cubicBezTo>
                    <a:cubicBezTo>
                      <a:pt x="657" y="43"/>
                      <a:pt x="661" y="43"/>
                      <a:pt x="666" y="43"/>
                    </a:cubicBezTo>
                    <a:cubicBezTo>
                      <a:pt x="675" y="43"/>
                      <a:pt x="681" y="45"/>
                      <a:pt x="684" y="51"/>
                    </a:cubicBezTo>
                    <a:cubicBezTo>
                      <a:pt x="688" y="56"/>
                      <a:pt x="689" y="64"/>
                      <a:pt x="689" y="75"/>
                    </a:cubicBezTo>
                    <a:cubicBezTo>
                      <a:pt x="689" y="117"/>
                      <a:pt x="689" y="117"/>
                      <a:pt x="689" y="117"/>
                    </a:cubicBezTo>
                    <a:cubicBezTo>
                      <a:pt x="700" y="117"/>
                      <a:pt x="700" y="117"/>
                      <a:pt x="700" y="117"/>
                    </a:cubicBezTo>
                    <a:cubicBezTo>
                      <a:pt x="700" y="75"/>
                      <a:pt x="700" y="75"/>
                      <a:pt x="700" y="75"/>
                    </a:cubicBezTo>
                    <a:cubicBezTo>
                      <a:pt x="700" y="69"/>
                      <a:pt x="700" y="63"/>
                      <a:pt x="698" y="58"/>
                    </a:cubicBezTo>
                    <a:cubicBezTo>
                      <a:pt x="697" y="53"/>
                      <a:pt x="695" y="49"/>
                      <a:pt x="693" y="45"/>
                    </a:cubicBezTo>
                    <a:cubicBezTo>
                      <a:pt x="690" y="42"/>
                      <a:pt x="686" y="40"/>
                      <a:pt x="682" y="38"/>
                    </a:cubicBezTo>
                    <a:cubicBezTo>
                      <a:pt x="677" y="37"/>
                      <a:pt x="672" y="36"/>
                      <a:pt x="666" y="36"/>
                    </a:cubicBezTo>
                    <a:cubicBezTo>
                      <a:pt x="660" y="36"/>
                      <a:pt x="654" y="36"/>
                      <a:pt x="649" y="37"/>
                    </a:cubicBezTo>
                    <a:cubicBezTo>
                      <a:pt x="644" y="39"/>
                      <a:pt x="639" y="40"/>
                      <a:pt x="632" y="43"/>
                    </a:cubicBezTo>
                    <a:lnTo>
                      <a:pt x="633" y="117"/>
                    </a:lnTo>
                    <a:close/>
                    <a:moveTo>
                      <a:pt x="564" y="109"/>
                    </a:moveTo>
                    <a:cubicBezTo>
                      <a:pt x="561" y="108"/>
                      <a:pt x="558" y="106"/>
                      <a:pt x="556" y="103"/>
                    </a:cubicBezTo>
                    <a:cubicBezTo>
                      <a:pt x="554" y="100"/>
                      <a:pt x="553" y="97"/>
                      <a:pt x="552" y="92"/>
                    </a:cubicBezTo>
                    <a:cubicBezTo>
                      <a:pt x="552" y="88"/>
                      <a:pt x="551" y="82"/>
                      <a:pt x="551" y="76"/>
                    </a:cubicBezTo>
                    <a:cubicBezTo>
                      <a:pt x="551" y="69"/>
                      <a:pt x="552" y="64"/>
                      <a:pt x="553" y="60"/>
                    </a:cubicBezTo>
                    <a:cubicBezTo>
                      <a:pt x="554" y="56"/>
                      <a:pt x="555" y="52"/>
                      <a:pt x="557" y="50"/>
                    </a:cubicBezTo>
                    <a:cubicBezTo>
                      <a:pt x="559" y="47"/>
                      <a:pt x="562" y="46"/>
                      <a:pt x="565" y="45"/>
                    </a:cubicBezTo>
                    <a:cubicBezTo>
                      <a:pt x="568" y="44"/>
                      <a:pt x="572" y="43"/>
                      <a:pt x="577" y="43"/>
                    </a:cubicBezTo>
                    <a:cubicBezTo>
                      <a:pt x="581" y="43"/>
                      <a:pt x="584" y="44"/>
                      <a:pt x="588" y="45"/>
                    </a:cubicBezTo>
                    <a:cubicBezTo>
                      <a:pt x="591" y="46"/>
                      <a:pt x="593" y="48"/>
                      <a:pt x="595" y="50"/>
                    </a:cubicBezTo>
                    <a:cubicBezTo>
                      <a:pt x="597" y="53"/>
                      <a:pt x="599" y="56"/>
                      <a:pt x="600" y="61"/>
                    </a:cubicBezTo>
                    <a:cubicBezTo>
                      <a:pt x="601" y="65"/>
                      <a:pt x="602" y="70"/>
                      <a:pt x="602" y="76"/>
                    </a:cubicBezTo>
                    <a:cubicBezTo>
                      <a:pt x="602" y="82"/>
                      <a:pt x="602" y="87"/>
                      <a:pt x="601" y="92"/>
                    </a:cubicBezTo>
                    <a:cubicBezTo>
                      <a:pt x="601" y="96"/>
                      <a:pt x="599" y="100"/>
                      <a:pt x="598" y="103"/>
                    </a:cubicBezTo>
                    <a:cubicBezTo>
                      <a:pt x="596" y="106"/>
                      <a:pt x="593" y="108"/>
                      <a:pt x="590" y="109"/>
                    </a:cubicBezTo>
                    <a:cubicBezTo>
                      <a:pt x="587" y="110"/>
                      <a:pt x="582" y="111"/>
                      <a:pt x="577" y="111"/>
                    </a:cubicBezTo>
                    <a:cubicBezTo>
                      <a:pt x="572" y="111"/>
                      <a:pt x="567" y="111"/>
                      <a:pt x="564" y="109"/>
                    </a:cubicBezTo>
                    <a:close/>
                    <a:moveTo>
                      <a:pt x="577" y="36"/>
                    </a:moveTo>
                    <a:cubicBezTo>
                      <a:pt x="571" y="36"/>
                      <a:pt x="565" y="36"/>
                      <a:pt x="561" y="38"/>
                    </a:cubicBezTo>
                    <a:cubicBezTo>
                      <a:pt x="556" y="39"/>
                      <a:pt x="553" y="41"/>
                      <a:pt x="550" y="45"/>
                    </a:cubicBezTo>
                    <a:cubicBezTo>
                      <a:pt x="547" y="48"/>
                      <a:pt x="544" y="52"/>
                      <a:pt x="543" y="57"/>
                    </a:cubicBezTo>
                    <a:cubicBezTo>
                      <a:pt x="542" y="62"/>
                      <a:pt x="541" y="68"/>
                      <a:pt x="541" y="75"/>
                    </a:cubicBezTo>
                    <a:cubicBezTo>
                      <a:pt x="541" y="83"/>
                      <a:pt x="541" y="90"/>
                      <a:pt x="542" y="95"/>
                    </a:cubicBezTo>
                    <a:cubicBezTo>
                      <a:pt x="544" y="101"/>
                      <a:pt x="546" y="105"/>
                      <a:pt x="548" y="109"/>
                    </a:cubicBezTo>
                    <a:cubicBezTo>
                      <a:pt x="551" y="112"/>
                      <a:pt x="555" y="114"/>
                      <a:pt x="559" y="116"/>
                    </a:cubicBezTo>
                    <a:cubicBezTo>
                      <a:pt x="564" y="118"/>
                      <a:pt x="570" y="118"/>
                      <a:pt x="577" y="118"/>
                    </a:cubicBezTo>
                    <a:cubicBezTo>
                      <a:pt x="584" y="118"/>
                      <a:pt x="590" y="117"/>
                      <a:pt x="595" y="116"/>
                    </a:cubicBezTo>
                    <a:cubicBezTo>
                      <a:pt x="599" y="114"/>
                      <a:pt x="603" y="111"/>
                      <a:pt x="605" y="108"/>
                    </a:cubicBezTo>
                    <a:cubicBezTo>
                      <a:pt x="608" y="104"/>
                      <a:pt x="610" y="100"/>
                      <a:pt x="611" y="95"/>
                    </a:cubicBezTo>
                    <a:cubicBezTo>
                      <a:pt x="612" y="89"/>
                      <a:pt x="613" y="83"/>
                      <a:pt x="613" y="76"/>
                    </a:cubicBezTo>
                    <a:cubicBezTo>
                      <a:pt x="613" y="69"/>
                      <a:pt x="612" y="63"/>
                      <a:pt x="610" y="57"/>
                    </a:cubicBezTo>
                    <a:cubicBezTo>
                      <a:pt x="609" y="52"/>
                      <a:pt x="606" y="48"/>
                      <a:pt x="603" y="45"/>
                    </a:cubicBezTo>
                    <a:cubicBezTo>
                      <a:pt x="600" y="42"/>
                      <a:pt x="597" y="40"/>
                      <a:pt x="592" y="38"/>
                    </a:cubicBezTo>
                    <a:cubicBezTo>
                      <a:pt x="588" y="37"/>
                      <a:pt x="583" y="36"/>
                      <a:pt x="577" y="36"/>
                    </a:cubicBezTo>
                    <a:close/>
                    <a:moveTo>
                      <a:pt x="512" y="117"/>
                    </a:moveTo>
                    <a:cubicBezTo>
                      <a:pt x="522" y="117"/>
                      <a:pt x="522" y="117"/>
                      <a:pt x="522" y="117"/>
                    </a:cubicBezTo>
                    <a:cubicBezTo>
                      <a:pt x="522" y="37"/>
                      <a:pt x="522" y="37"/>
                      <a:pt x="522" y="37"/>
                    </a:cubicBezTo>
                    <a:cubicBezTo>
                      <a:pt x="512" y="37"/>
                      <a:pt x="512" y="37"/>
                      <a:pt x="512" y="37"/>
                    </a:cubicBezTo>
                    <a:lnTo>
                      <a:pt x="512" y="117"/>
                    </a:lnTo>
                    <a:close/>
                    <a:moveTo>
                      <a:pt x="512" y="17"/>
                    </a:moveTo>
                    <a:cubicBezTo>
                      <a:pt x="522" y="17"/>
                      <a:pt x="522" y="17"/>
                      <a:pt x="522" y="17"/>
                    </a:cubicBezTo>
                    <a:cubicBezTo>
                      <a:pt x="522" y="6"/>
                      <a:pt x="522" y="6"/>
                      <a:pt x="522" y="6"/>
                    </a:cubicBezTo>
                    <a:cubicBezTo>
                      <a:pt x="512" y="6"/>
                      <a:pt x="512" y="6"/>
                      <a:pt x="512" y="6"/>
                    </a:cubicBezTo>
                    <a:lnTo>
                      <a:pt x="512" y="17"/>
                    </a:lnTo>
                    <a:close/>
                    <a:moveTo>
                      <a:pt x="467" y="17"/>
                    </a:moveTo>
                    <a:cubicBezTo>
                      <a:pt x="467" y="37"/>
                      <a:pt x="467" y="37"/>
                      <a:pt x="467" y="37"/>
                    </a:cubicBezTo>
                    <a:cubicBezTo>
                      <a:pt x="450" y="37"/>
                      <a:pt x="450" y="37"/>
                      <a:pt x="450" y="37"/>
                    </a:cubicBezTo>
                    <a:cubicBezTo>
                      <a:pt x="450" y="45"/>
                      <a:pt x="450" y="45"/>
                      <a:pt x="450" y="45"/>
                    </a:cubicBezTo>
                    <a:cubicBezTo>
                      <a:pt x="467" y="45"/>
                      <a:pt x="467" y="45"/>
                      <a:pt x="467" y="45"/>
                    </a:cubicBezTo>
                    <a:cubicBezTo>
                      <a:pt x="467" y="92"/>
                      <a:pt x="467" y="92"/>
                      <a:pt x="467" y="92"/>
                    </a:cubicBezTo>
                    <a:cubicBezTo>
                      <a:pt x="467" y="96"/>
                      <a:pt x="467" y="101"/>
                      <a:pt x="468" y="104"/>
                    </a:cubicBezTo>
                    <a:cubicBezTo>
                      <a:pt x="468" y="107"/>
                      <a:pt x="469" y="110"/>
                      <a:pt x="470" y="112"/>
                    </a:cubicBezTo>
                    <a:cubicBezTo>
                      <a:pt x="471" y="114"/>
                      <a:pt x="473" y="116"/>
                      <a:pt x="475" y="117"/>
                    </a:cubicBezTo>
                    <a:cubicBezTo>
                      <a:pt x="478" y="118"/>
                      <a:pt x="481" y="118"/>
                      <a:pt x="484" y="118"/>
                    </a:cubicBezTo>
                    <a:cubicBezTo>
                      <a:pt x="486" y="118"/>
                      <a:pt x="487" y="118"/>
                      <a:pt x="488" y="118"/>
                    </a:cubicBezTo>
                    <a:cubicBezTo>
                      <a:pt x="490" y="118"/>
                      <a:pt x="492" y="117"/>
                      <a:pt x="495" y="117"/>
                    </a:cubicBezTo>
                    <a:cubicBezTo>
                      <a:pt x="496" y="110"/>
                      <a:pt x="496" y="110"/>
                      <a:pt x="496" y="110"/>
                    </a:cubicBezTo>
                    <a:cubicBezTo>
                      <a:pt x="494" y="110"/>
                      <a:pt x="492" y="110"/>
                      <a:pt x="490" y="111"/>
                    </a:cubicBezTo>
                    <a:cubicBezTo>
                      <a:pt x="489" y="111"/>
                      <a:pt x="487" y="111"/>
                      <a:pt x="486" y="111"/>
                    </a:cubicBezTo>
                    <a:cubicBezTo>
                      <a:pt x="485" y="111"/>
                      <a:pt x="485" y="111"/>
                      <a:pt x="485" y="111"/>
                    </a:cubicBezTo>
                    <a:cubicBezTo>
                      <a:pt x="484" y="111"/>
                      <a:pt x="482" y="111"/>
                      <a:pt x="481" y="110"/>
                    </a:cubicBezTo>
                    <a:cubicBezTo>
                      <a:pt x="480" y="110"/>
                      <a:pt x="479" y="109"/>
                      <a:pt x="479" y="107"/>
                    </a:cubicBezTo>
                    <a:cubicBezTo>
                      <a:pt x="478" y="106"/>
                      <a:pt x="478" y="104"/>
                      <a:pt x="478" y="101"/>
                    </a:cubicBezTo>
                    <a:cubicBezTo>
                      <a:pt x="477" y="99"/>
                      <a:pt x="477" y="96"/>
                      <a:pt x="477" y="92"/>
                    </a:cubicBezTo>
                    <a:cubicBezTo>
                      <a:pt x="477" y="45"/>
                      <a:pt x="477" y="45"/>
                      <a:pt x="477" y="45"/>
                    </a:cubicBezTo>
                    <a:cubicBezTo>
                      <a:pt x="496" y="45"/>
                      <a:pt x="496" y="45"/>
                      <a:pt x="496" y="45"/>
                    </a:cubicBezTo>
                    <a:cubicBezTo>
                      <a:pt x="496" y="37"/>
                      <a:pt x="496" y="37"/>
                      <a:pt x="496" y="37"/>
                    </a:cubicBezTo>
                    <a:cubicBezTo>
                      <a:pt x="477" y="37"/>
                      <a:pt x="477" y="37"/>
                      <a:pt x="477" y="37"/>
                    </a:cubicBezTo>
                    <a:cubicBezTo>
                      <a:pt x="477" y="17"/>
                      <a:pt x="477" y="17"/>
                      <a:pt x="477" y="17"/>
                    </a:cubicBezTo>
                    <a:lnTo>
                      <a:pt x="467" y="17"/>
                    </a:lnTo>
                    <a:close/>
                    <a:moveTo>
                      <a:pt x="429" y="117"/>
                    </a:moveTo>
                    <a:cubicBezTo>
                      <a:pt x="440" y="117"/>
                      <a:pt x="440" y="117"/>
                      <a:pt x="440" y="117"/>
                    </a:cubicBezTo>
                    <a:cubicBezTo>
                      <a:pt x="440" y="37"/>
                      <a:pt x="440" y="37"/>
                      <a:pt x="440" y="37"/>
                    </a:cubicBezTo>
                    <a:cubicBezTo>
                      <a:pt x="429" y="37"/>
                      <a:pt x="429" y="37"/>
                      <a:pt x="429" y="37"/>
                    </a:cubicBezTo>
                    <a:lnTo>
                      <a:pt x="429" y="117"/>
                    </a:lnTo>
                    <a:close/>
                    <a:moveTo>
                      <a:pt x="429" y="17"/>
                    </a:moveTo>
                    <a:cubicBezTo>
                      <a:pt x="440" y="17"/>
                      <a:pt x="440" y="17"/>
                      <a:pt x="440" y="17"/>
                    </a:cubicBezTo>
                    <a:cubicBezTo>
                      <a:pt x="440" y="6"/>
                      <a:pt x="440" y="6"/>
                      <a:pt x="440" y="6"/>
                    </a:cubicBezTo>
                    <a:cubicBezTo>
                      <a:pt x="429" y="6"/>
                      <a:pt x="429" y="6"/>
                      <a:pt x="429" y="6"/>
                    </a:cubicBezTo>
                    <a:lnTo>
                      <a:pt x="429" y="17"/>
                    </a:lnTo>
                    <a:close/>
                    <a:moveTo>
                      <a:pt x="353" y="47"/>
                    </a:moveTo>
                    <a:cubicBezTo>
                      <a:pt x="356" y="46"/>
                      <a:pt x="359" y="45"/>
                      <a:pt x="363" y="44"/>
                    </a:cubicBezTo>
                    <a:cubicBezTo>
                      <a:pt x="367" y="43"/>
                      <a:pt x="372" y="43"/>
                      <a:pt x="376" y="43"/>
                    </a:cubicBezTo>
                    <a:cubicBezTo>
                      <a:pt x="380" y="43"/>
                      <a:pt x="384" y="43"/>
                      <a:pt x="387" y="45"/>
                    </a:cubicBezTo>
                    <a:cubicBezTo>
                      <a:pt x="390" y="46"/>
                      <a:pt x="392" y="48"/>
                      <a:pt x="393" y="50"/>
                    </a:cubicBezTo>
                    <a:cubicBezTo>
                      <a:pt x="395" y="53"/>
                      <a:pt x="396" y="56"/>
                      <a:pt x="396" y="61"/>
                    </a:cubicBezTo>
                    <a:cubicBezTo>
                      <a:pt x="397" y="65"/>
                      <a:pt x="397" y="70"/>
                      <a:pt x="397" y="75"/>
                    </a:cubicBezTo>
                    <a:cubicBezTo>
                      <a:pt x="397" y="81"/>
                      <a:pt x="397" y="86"/>
                      <a:pt x="396" y="91"/>
                    </a:cubicBezTo>
                    <a:cubicBezTo>
                      <a:pt x="396" y="95"/>
                      <a:pt x="394" y="99"/>
                      <a:pt x="392" y="102"/>
                    </a:cubicBezTo>
                    <a:cubicBezTo>
                      <a:pt x="390" y="105"/>
                      <a:pt x="387" y="107"/>
                      <a:pt x="383" y="108"/>
                    </a:cubicBezTo>
                    <a:cubicBezTo>
                      <a:pt x="379" y="110"/>
                      <a:pt x="374" y="111"/>
                      <a:pt x="367" y="111"/>
                    </a:cubicBezTo>
                    <a:cubicBezTo>
                      <a:pt x="365" y="111"/>
                      <a:pt x="363" y="111"/>
                      <a:pt x="361" y="111"/>
                    </a:cubicBezTo>
                    <a:cubicBezTo>
                      <a:pt x="358" y="110"/>
                      <a:pt x="356" y="110"/>
                      <a:pt x="353" y="110"/>
                    </a:cubicBezTo>
                    <a:lnTo>
                      <a:pt x="353" y="47"/>
                    </a:lnTo>
                    <a:close/>
                    <a:moveTo>
                      <a:pt x="343" y="5"/>
                    </a:moveTo>
                    <a:cubicBezTo>
                      <a:pt x="343" y="117"/>
                      <a:pt x="343" y="117"/>
                      <a:pt x="343" y="117"/>
                    </a:cubicBezTo>
                    <a:cubicBezTo>
                      <a:pt x="346" y="117"/>
                      <a:pt x="350" y="117"/>
                      <a:pt x="354" y="118"/>
                    </a:cubicBezTo>
                    <a:cubicBezTo>
                      <a:pt x="358" y="118"/>
                      <a:pt x="362" y="118"/>
                      <a:pt x="366" y="118"/>
                    </a:cubicBezTo>
                    <a:cubicBezTo>
                      <a:pt x="374" y="118"/>
                      <a:pt x="381" y="117"/>
                      <a:pt x="387" y="116"/>
                    </a:cubicBezTo>
                    <a:cubicBezTo>
                      <a:pt x="392" y="114"/>
                      <a:pt x="397" y="111"/>
                      <a:pt x="400" y="108"/>
                    </a:cubicBezTo>
                    <a:cubicBezTo>
                      <a:pt x="403" y="104"/>
                      <a:pt x="405" y="100"/>
                      <a:pt x="406" y="94"/>
                    </a:cubicBezTo>
                    <a:cubicBezTo>
                      <a:pt x="407" y="89"/>
                      <a:pt x="408" y="83"/>
                      <a:pt x="408" y="75"/>
                    </a:cubicBezTo>
                    <a:cubicBezTo>
                      <a:pt x="408" y="69"/>
                      <a:pt x="407" y="63"/>
                      <a:pt x="406" y="58"/>
                    </a:cubicBezTo>
                    <a:cubicBezTo>
                      <a:pt x="405" y="53"/>
                      <a:pt x="404" y="49"/>
                      <a:pt x="401" y="45"/>
                    </a:cubicBezTo>
                    <a:cubicBezTo>
                      <a:pt x="399" y="42"/>
                      <a:pt x="396" y="40"/>
                      <a:pt x="392" y="38"/>
                    </a:cubicBezTo>
                    <a:cubicBezTo>
                      <a:pt x="388" y="37"/>
                      <a:pt x="382" y="36"/>
                      <a:pt x="376" y="36"/>
                    </a:cubicBezTo>
                    <a:cubicBezTo>
                      <a:pt x="372" y="36"/>
                      <a:pt x="367" y="36"/>
                      <a:pt x="363" y="37"/>
                    </a:cubicBezTo>
                    <a:cubicBezTo>
                      <a:pt x="359" y="38"/>
                      <a:pt x="356" y="39"/>
                      <a:pt x="353" y="40"/>
                    </a:cubicBezTo>
                    <a:cubicBezTo>
                      <a:pt x="353" y="5"/>
                      <a:pt x="353" y="5"/>
                      <a:pt x="353" y="5"/>
                    </a:cubicBezTo>
                    <a:lnTo>
                      <a:pt x="343" y="5"/>
                    </a:lnTo>
                    <a:close/>
                    <a:moveTo>
                      <a:pt x="201" y="117"/>
                    </a:moveTo>
                    <a:cubicBezTo>
                      <a:pt x="212" y="117"/>
                      <a:pt x="212" y="117"/>
                      <a:pt x="212" y="117"/>
                    </a:cubicBezTo>
                    <a:cubicBezTo>
                      <a:pt x="212" y="47"/>
                      <a:pt x="212" y="47"/>
                      <a:pt x="212" y="47"/>
                    </a:cubicBezTo>
                    <a:cubicBezTo>
                      <a:pt x="215" y="46"/>
                      <a:pt x="218" y="45"/>
                      <a:pt x="222" y="44"/>
                    </a:cubicBezTo>
                    <a:cubicBezTo>
                      <a:pt x="226" y="43"/>
                      <a:pt x="230" y="43"/>
                      <a:pt x="235" y="43"/>
                    </a:cubicBezTo>
                    <a:cubicBezTo>
                      <a:pt x="239" y="43"/>
                      <a:pt x="242" y="43"/>
                      <a:pt x="245" y="45"/>
                    </a:cubicBezTo>
                    <a:cubicBezTo>
                      <a:pt x="248" y="46"/>
                      <a:pt x="250" y="48"/>
                      <a:pt x="252" y="50"/>
                    </a:cubicBezTo>
                    <a:cubicBezTo>
                      <a:pt x="253" y="53"/>
                      <a:pt x="254" y="56"/>
                      <a:pt x="255" y="60"/>
                    </a:cubicBezTo>
                    <a:cubicBezTo>
                      <a:pt x="255" y="64"/>
                      <a:pt x="256" y="69"/>
                      <a:pt x="256" y="75"/>
                    </a:cubicBezTo>
                    <a:cubicBezTo>
                      <a:pt x="256" y="117"/>
                      <a:pt x="256" y="117"/>
                      <a:pt x="256" y="117"/>
                    </a:cubicBezTo>
                    <a:cubicBezTo>
                      <a:pt x="267" y="117"/>
                      <a:pt x="267" y="117"/>
                      <a:pt x="267" y="117"/>
                    </a:cubicBezTo>
                    <a:cubicBezTo>
                      <a:pt x="267" y="75"/>
                      <a:pt x="267" y="75"/>
                      <a:pt x="267" y="75"/>
                    </a:cubicBezTo>
                    <a:cubicBezTo>
                      <a:pt x="267" y="69"/>
                      <a:pt x="266" y="64"/>
                      <a:pt x="266" y="59"/>
                    </a:cubicBezTo>
                    <a:cubicBezTo>
                      <a:pt x="265" y="55"/>
                      <a:pt x="264" y="51"/>
                      <a:pt x="262" y="48"/>
                    </a:cubicBezTo>
                    <a:cubicBezTo>
                      <a:pt x="267" y="46"/>
                      <a:pt x="272" y="45"/>
                      <a:pt x="276" y="44"/>
                    </a:cubicBezTo>
                    <a:cubicBezTo>
                      <a:pt x="280" y="43"/>
                      <a:pt x="284" y="43"/>
                      <a:pt x="289" y="43"/>
                    </a:cubicBezTo>
                    <a:cubicBezTo>
                      <a:pt x="293" y="43"/>
                      <a:pt x="297" y="43"/>
                      <a:pt x="300" y="45"/>
                    </a:cubicBezTo>
                    <a:cubicBezTo>
                      <a:pt x="303" y="46"/>
                      <a:pt x="305" y="48"/>
                      <a:pt x="306" y="50"/>
                    </a:cubicBezTo>
                    <a:cubicBezTo>
                      <a:pt x="308" y="53"/>
                      <a:pt x="309" y="56"/>
                      <a:pt x="309" y="60"/>
                    </a:cubicBezTo>
                    <a:cubicBezTo>
                      <a:pt x="310" y="64"/>
                      <a:pt x="310" y="69"/>
                      <a:pt x="310" y="75"/>
                    </a:cubicBezTo>
                    <a:cubicBezTo>
                      <a:pt x="310" y="117"/>
                      <a:pt x="310" y="117"/>
                      <a:pt x="310" y="117"/>
                    </a:cubicBezTo>
                    <a:cubicBezTo>
                      <a:pt x="321" y="117"/>
                      <a:pt x="321" y="117"/>
                      <a:pt x="321" y="117"/>
                    </a:cubicBezTo>
                    <a:cubicBezTo>
                      <a:pt x="321" y="75"/>
                      <a:pt x="321" y="75"/>
                      <a:pt x="321" y="75"/>
                    </a:cubicBezTo>
                    <a:cubicBezTo>
                      <a:pt x="321" y="68"/>
                      <a:pt x="321" y="63"/>
                      <a:pt x="320" y="58"/>
                    </a:cubicBezTo>
                    <a:cubicBezTo>
                      <a:pt x="319" y="53"/>
                      <a:pt x="317" y="48"/>
                      <a:pt x="315" y="45"/>
                    </a:cubicBezTo>
                    <a:cubicBezTo>
                      <a:pt x="312" y="42"/>
                      <a:pt x="309" y="40"/>
                      <a:pt x="305" y="38"/>
                    </a:cubicBezTo>
                    <a:cubicBezTo>
                      <a:pt x="301" y="36"/>
                      <a:pt x="296" y="36"/>
                      <a:pt x="289" y="36"/>
                    </a:cubicBezTo>
                    <a:cubicBezTo>
                      <a:pt x="287" y="36"/>
                      <a:pt x="284" y="36"/>
                      <a:pt x="282" y="36"/>
                    </a:cubicBezTo>
                    <a:cubicBezTo>
                      <a:pt x="279" y="36"/>
                      <a:pt x="277" y="36"/>
                      <a:pt x="274" y="37"/>
                    </a:cubicBezTo>
                    <a:cubicBezTo>
                      <a:pt x="272" y="37"/>
                      <a:pt x="269" y="38"/>
                      <a:pt x="266" y="39"/>
                    </a:cubicBezTo>
                    <a:cubicBezTo>
                      <a:pt x="263" y="40"/>
                      <a:pt x="260" y="41"/>
                      <a:pt x="257" y="42"/>
                    </a:cubicBezTo>
                    <a:cubicBezTo>
                      <a:pt x="252" y="38"/>
                      <a:pt x="245" y="35"/>
                      <a:pt x="235" y="35"/>
                    </a:cubicBezTo>
                    <a:cubicBezTo>
                      <a:pt x="229" y="35"/>
                      <a:pt x="224" y="36"/>
                      <a:pt x="219" y="37"/>
                    </a:cubicBezTo>
                    <a:cubicBezTo>
                      <a:pt x="214" y="38"/>
                      <a:pt x="208" y="40"/>
                      <a:pt x="201" y="42"/>
                    </a:cubicBezTo>
                    <a:lnTo>
                      <a:pt x="201" y="117"/>
                    </a:lnTo>
                    <a:close/>
                    <a:moveTo>
                      <a:pt x="169" y="107"/>
                    </a:moveTo>
                    <a:cubicBezTo>
                      <a:pt x="166" y="108"/>
                      <a:pt x="162" y="108"/>
                      <a:pt x="157" y="109"/>
                    </a:cubicBezTo>
                    <a:cubicBezTo>
                      <a:pt x="152" y="110"/>
                      <a:pt x="147" y="111"/>
                      <a:pt x="142" y="111"/>
                    </a:cubicBezTo>
                    <a:cubicBezTo>
                      <a:pt x="138" y="111"/>
                      <a:pt x="134" y="109"/>
                      <a:pt x="132" y="106"/>
                    </a:cubicBezTo>
                    <a:cubicBezTo>
                      <a:pt x="129" y="103"/>
                      <a:pt x="128" y="99"/>
                      <a:pt x="128" y="94"/>
                    </a:cubicBezTo>
                    <a:cubicBezTo>
                      <a:pt x="128" y="90"/>
                      <a:pt x="129" y="86"/>
                      <a:pt x="132" y="83"/>
                    </a:cubicBezTo>
                    <a:cubicBezTo>
                      <a:pt x="134" y="80"/>
                      <a:pt x="138" y="78"/>
                      <a:pt x="144" y="78"/>
                    </a:cubicBezTo>
                    <a:cubicBezTo>
                      <a:pt x="169" y="76"/>
                      <a:pt x="169" y="76"/>
                      <a:pt x="169" y="76"/>
                    </a:cubicBezTo>
                    <a:lnTo>
                      <a:pt x="169" y="107"/>
                    </a:lnTo>
                    <a:close/>
                    <a:moveTo>
                      <a:pt x="125" y="45"/>
                    </a:moveTo>
                    <a:cubicBezTo>
                      <a:pt x="130" y="45"/>
                      <a:pt x="134" y="44"/>
                      <a:pt x="139" y="44"/>
                    </a:cubicBezTo>
                    <a:cubicBezTo>
                      <a:pt x="144" y="43"/>
                      <a:pt x="148" y="43"/>
                      <a:pt x="152" y="43"/>
                    </a:cubicBezTo>
                    <a:cubicBezTo>
                      <a:pt x="158" y="43"/>
                      <a:pt x="162" y="45"/>
                      <a:pt x="165" y="47"/>
                    </a:cubicBezTo>
                    <a:cubicBezTo>
                      <a:pt x="168" y="50"/>
                      <a:pt x="169" y="54"/>
                      <a:pt x="169" y="61"/>
                    </a:cubicBezTo>
                    <a:cubicBezTo>
                      <a:pt x="169" y="69"/>
                      <a:pt x="169" y="69"/>
                      <a:pt x="169" y="69"/>
                    </a:cubicBezTo>
                    <a:cubicBezTo>
                      <a:pt x="143" y="71"/>
                      <a:pt x="143" y="71"/>
                      <a:pt x="143" y="71"/>
                    </a:cubicBezTo>
                    <a:cubicBezTo>
                      <a:pt x="134" y="72"/>
                      <a:pt x="127" y="74"/>
                      <a:pt x="123" y="78"/>
                    </a:cubicBezTo>
                    <a:cubicBezTo>
                      <a:pt x="119" y="82"/>
                      <a:pt x="117" y="88"/>
                      <a:pt x="117" y="94"/>
                    </a:cubicBezTo>
                    <a:cubicBezTo>
                      <a:pt x="117" y="102"/>
                      <a:pt x="120" y="108"/>
                      <a:pt x="124" y="112"/>
                    </a:cubicBezTo>
                    <a:cubicBezTo>
                      <a:pt x="128" y="116"/>
                      <a:pt x="134" y="118"/>
                      <a:pt x="142" y="118"/>
                    </a:cubicBezTo>
                    <a:cubicBezTo>
                      <a:pt x="150" y="118"/>
                      <a:pt x="157" y="117"/>
                      <a:pt x="163" y="116"/>
                    </a:cubicBezTo>
                    <a:cubicBezTo>
                      <a:pt x="169" y="114"/>
                      <a:pt x="175" y="113"/>
                      <a:pt x="180" y="111"/>
                    </a:cubicBezTo>
                    <a:cubicBezTo>
                      <a:pt x="180" y="61"/>
                      <a:pt x="180" y="61"/>
                      <a:pt x="180" y="61"/>
                    </a:cubicBezTo>
                    <a:cubicBezTo>
                      <a:pt x="180" y="53"/>
                      <a:pt x="177" y="46"/>
                      <a:pt x="173" y="42"/>
                    </a:cubicBezTo>
                    <a:cubicBezTo>
                      <a:pt x="169" y="38"/>
                      <a:pt x="162" y="36"/>
                      <a:pt x="152" y="36"/>
                    </a:cubicBezTo>
                    <a:cubicBezTo>
                      <a:pt x="147" y="36"/>
                      <a:pt x="143" y="36"/>
                      <a:pt x="138" y="36"/>
                    </a:cubicBezTo>
                    <a:cubicBezTo>
                      <a:pt x="133" y="37"/>
                      <a:pt x="128" y="37"/>
                      <a:pt x="123" y="38"/>
                    </a:cubicBezTo>
                    <a:lnTo>
                      <a:pt x="125" y="45"/>
                    </a:lnTo>
                    <a:close/>
                    <a:moveTo>
                      <a:pt x="81" y="34"/>
                    </a:moveTo>
                    <a:cubicBezTo>
                      <a:pt x="91" y="34"/>
                      <a:pt x="91" y="34"/>
                      <a:pt x="91" y="34"/>
                    </a:cubicBezTo>
                    <a:cubicBezTo>
                      <a:pt x="100" y="0"/>
                      <a:pt x="100" y="0"/>
                      <a:pt x="100" y="0"/>
                    </a:cubicBezTo>
                    <a:cubicBezTo>
                      <a:pt x="89" y="0"/>
                      <a:pt x="89" y="0"/>
                      <a:pt x="89" y="0"/>
                    </a:cubicBezTo>
                    <a:lnTo>
                      <a:pt x="81" y="34"/>
                    </a:lnTo>
                    <a:close/>
                    <a:moveTo>
                      <a:pt x="70" y="117"/>
                    </a:moveTo>
                    <a:cubicBezTo>
                      <a:pt x="70" y="109"/>
                      <a:pt x="70" y="109"/>
                      <a:pt x="70" y="109"/>
                    </a:cubicBezTo>
                    <a:cubicBezTo>
                      <a:pt x="11" y="109"/>
                      <a:pt x="11" y="109"/>
                      <a:pt x="11" y="109"/>
                    </a:cubicBezTo>
                    <a:cubicBezTo>
                      <a:pt x="11" y="5"/>
                      <a:pt x="11" y="5"/>
                      <a:pt x="11" y="5"/>
                    </a:cubicBezTo>
                    <a:cubicBezTo>
                      <a:pt x="0" y="5"/>
                      <a:pt x="0" y="5"/>
                      <a:pt x="0" y="5"/>
                    </a:cubicBezTo>
                    <a:cubicBezTo>
                      <a:pt x="0" y="117"/>
                      <a:pt x="0" y="117"/>
                      <a:pt x="0" y="117"/>
                    </a:cubicBezTo>
                    <a:lnTo>
                      <a:pt x="70" y="117"/>
                    </a:lnTo>
                    <a:close/>
                  </a:path>
                </a:pathLst>
              </a:custGeom>
              <a:noFill/>
              <a:ln w="0" cap="flat">
                <a:solidFill>
                  <a:srgbClr val="225696"/>
                </a:solidFill>
                <a:prstDash val="solid"/>
                <a:miter lim="800000"/>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grpSp>
      <p:cxnSp>
        <p:nvCxnSpPr>
          <p:cNvPr id="40" name="Connecteur droit 39"/>
          <p:cNvCxnSpPr/>
          <p:nvPr userDrawn="1"/>
        </p:nvCxnSpPr>
        <p:spPr>
          <a:xfrm>
            <a:off x="8412516" y="297692"/>
            <a:ext cx="0" cy="324000"/>
          </a:xfrm>
          <a:prstGeom prst="line">
            <a:avLst/>
          </a:prstGeom>
          <a:ln w="12700">
            <a:solidFill>
              <a:schemeClr val="accent3"/>
            </a:solidFill>
          </a:ln>
        </p:spPr>
        <p:style>
          <a:lnRef idx="1">
            <a:schemeClr val="accent6"/>
          </a:lnRef>
          <a:fillRef idx="0">
            <a:schemeClr val="accent6"/>
          </a:fillRef>
          <a:effectRef idx="0">
            <a:schemeClr val="accent6"/>
          </a:effectRef>
          <a:fontRef idx="minor">
            <a:schemeClr val="tx1"/>
          </a:fontRef>
        </p:style>
      </p:cxnSp>
      <p:sp>
        <p:nvSpPr>
          <p:cNvPr id="42" name="Text Placeholder 21"/>
          <p:cNvSpPr>
            <a:spLocks noGrp="1"/>
          </p:cNvSpPr>
          <p:nvPr>
            <p:ph type="body" sz="quarter" idx="12" hasCustomPrompt="1"/>
          </p:nvPr>
        </p:nvSpPr>
        <p:spPr>
          <a:xfrm>
            <a:off x="7317226" y="321194"/>
            <a:ext cx="1046440" cy="276999"/>
          </a:xfrm>
        </p:spPr>
        <p:txBody>
          <a:bodyPr>
            <a:noAutofit/>
          </a:bodyPr>
          <a:lstStyle>
            <a:lvl1pPr algn="r">
              <a:defRPr sz="1200" b="0"/>
            </a:lvl1pPr>
          </a:lstStyle>
          <a:p>
            <a:pPr lvl="0"/>
            <a:r>
              <a:rPr lang="fr-FR" noProof="0"/>
              <a:t>Rappel partie</a:t>
            </a:r>
          </a:p>
        </p:txBody>
      </p:sp>
    </p:spTree>
    <p:extLst>
      <p:ext uri="{BB962C8B-B14F-4D97-AF65-F5344CB8AC3E}">
        <p14:creationId xmlns:p14="http://schemas.microsoft.com/office/powerpoint/2010/main" val="87373315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2466" y="4984"/>
            <a:ext cx="6934759" cy="909416"/>
          </a:xfrm>
        </p:spPr>
        <p:txBody>
          <a:bodyPr/>
          <a:lstStyle/>
          <a:p>
            <a:r>
              <a:rPr lang="fr-FR" noProof="0"/>
              <a:t>Titre</a:t>
            </a:r>
            <a:endParaRPr lang="fr-FR"/>
          </a:p>
        </p:txBody>
      </p:sp>
      <p:sp>
        <p:nvSpPr>
          <p:cNvPr id="7" name="Text Placeholder 17"/>
          <p:cNvSpPr>
            <a:spLocks noGrp="1"/>
          </p:cNvSpPr>
          <p:nvPr>
            <p:ph type="body" sz="quarter" idx="11" hasCustomPrompt="1"/>
          </p:nvPr>
        </p:nvSpPr>
        <p:spPr>
          <a:xfrm>
            <a:off x="382466" y="934810"/>
            <a:ext cx="6934759" cy="344606"/>
          </a:xfrm>
        </p:spPr>
        <p:txBody>
          <a:bodyPr>
            <a:noAutofit/>
          </a:bodyPr>
          <a:lstStyle>
            <a:lvl1pPr marL="266700" indent="-266700">
              <a:buClr>
                <a:schemeClr val="accent3"/>
              </a:buClr>
              <a:buFont typeface="Calibri" pitchFamily="34" charset="0"/>
              <a:buChar char="↗"/>
              <a:defRPr sz="2000" b="0"/>
            </a:lvl1pPr>
          </a:lstStyle>
          <a:p>
            <a:r>
              <a:rPr lang="fr-FR"/>
              <a:t>Phrase clé - proposition clé</a:t>
            </a:r>
          </a:p>
        </p:txBody>
      </p:sp>
      <p:cxnSp>
        <p:nvCxnSpPr>
          <p:cNvPr id="8" name="Connecteur droit 8"/>
          <p:cNvCxnSpPr/>
          <p:nvPr userDrawn="1"/>
        </p:nvCxnSpPr>
        <p:spPr>
          <a:xfrm>
            <a:off x="807480" y="6519411"/>
            <a:ext cx="0" cy="238496"/>
          </a:xfrm>
          <a:prstGeom prst="line">
            <a:avLst/>
          </a:prstGeom>
          <a:noFill/>
          <a:ln w="9525" cap="flat" cmpd="sng" algn="ctr">
            <a:solidFill>
              <a:srgbClr val="1F497D"/>
            </a:solidFill>
            <a:prstDash val="solid"/>
          </a:ln>
          <a:effectLst/>
        </p:spPr>
      </p:cxnSp>
      <p:cxnSp>
        <p:nvCxnSpPr>
          <p:cNvPr id="9" name="Connecteur droit 10"/>
          <p:cNvCxnSpPr/>
          <p:nvPr userDrawn="1"/>
        </p:nvCxnSpPr>
        <p:spPr>
          <a:xfrm>
            <a:off x="1612496" y="6519411"/>
            <a:ext cx="0" cy="238496"/>
          </a:xfrm>
          <a:prstGeom prst="line">
            <a:avLst/>
          </a:prstGeom>
          <a:noFill/>
          <a:ln w="9525" cap="flat" cmpd="sng" algn="ctr">
            <a:solidFill>
              <a:srgbClr val="1F497D"/>
            </a:solidFill>
            <a:prstDash val="solid"/>
          </a:ln>
          <a:effectLst/>
        </p:spPr>
      </p:cxnSp>
      <p:cxnSp>
        <p:nvCxnSpPr>
          <p:cNvPr id="10" name="Connecteur droit 12"/>
          <p:cNvCxnSpPr/>
          <p:nvPr userDrawn="1"/>
        </p:nvCxnSpPr>
        <p:spPr>
          <a:xfrm>
            <a:off x="8784581" y="6519411"/>
            <a:ext cx="0" cy="238496"/>
          </a:xfrm>
          <a:prstGeom prst="line">
            <a:avLst/>
          </a:prstGeom>
          <a:noFill/>
          <a:ln w="9525" cap="flat" cmpd="sng" algn="ctr">
            <a:solidFill>
              <a:srgbClr val="1F497D"/>
            </a:solidFill>
            <a:prstDash val="solid"/>
          </a:ln>
          <a:effectLst/>
        </p:spPr>
      </p:cxnSp>
      <p:grpSp>
        <p:nvGrpSpPr>
          <p:cNvPr id="11" name="Group 10"/>
          <p:cNvGrpSpPr/>
          <p:nvPr userDrawn="1"/>
        </p:nvGrpSpPr>
        <p:grpSpPr>
          <a:xfrm>
            <a:off x="8460398" y="276993"/>
            <a:ext cx="606670" cy="347673"/>
            <a:chOff x="3813175" y="1435101"/>
            <a:chExt cx="1368425" cy="723899"/>
          </a:xfrm>
        </p:grpSpPr>
        <p:grpSp>
          <p:nvGrpSpPr>
            <p:cNvPr id="12" name="Group 32"/>
            <p:cNvGrpSpPr/>
            <p:nvPr userDrawn="1"/>
          </p:nvGrpSpPr>
          <p:grpSpPr>
            <a:xfrm>
              <a:off x="3813175" y="1801813"/>
              <a:ext cx="1358900" cy="138112"/>
              <a:chOff x="3813175" y="1801813"/>
              <a:chExt cx="1358900" cy="138112"/>
            </a:xfrm>
          </p:grpSpPr>
          <p:sp>
            <p:nvSpPr>
              <p:cNvPr id="22" name="Freeform 5"/>
              <p:cNvSpPr>
                <a:spLocks/>
              </p:cNvSpPr>
              <p:nvPr userDrawn="1"/>
            </p:nvSpPr>
            <p:spPr bwMode="auto">
              <a:xfrm>
                <a:off x="3813175" y="1801813"/>
                <a:ext cx="103188" cy="138112"/>
              </a:xfrm>
              <a:custGeom>
                <a:avLst/>
                <a:gdLst/>
                <a:ahLst/>
                <a:cxnLst>
                  <a:cxn ang="0">
                    <a:pos x="74" y="20"/>
                  </a:cxn>
                  <a:cxn ang="0">
                    <a:pos x="34" y="79"/>
                  </a:cxn>
                  <a:cxn ang="0">
                    <a:pos x="86" y="152"/>
                  </a:cxn>
                  <a:cxn ang="0">
                    <a:pos x="115" y="142"/>
                  </a:cxn>
                  <a:cxn ang="0">
                    <a:pos x="123" y="138"/>
                  </a:cxn>
                  <a:cxn ang="0">
                    <a:pos x="131" y="146"/>
                  </a:cxn>
                  <a:cxn ang="0">
                    <a:pos x="78" y="177"/>
                  </a:cxn>
                  <a:cxn ang="0">
                    <a:pos x="0" y="87"/>
                  </a:cxn>
                  <a:cxn ang="0">
                    <a:pos x="77" y="0"/>
                  </a:cxn>
                  <a:cxn ang="0">
                    <a:pos x="133" y="35"/>
                  </a:cxn>
                  <a:cxn ang="0">
                    <a:pos x="119" y="49"/>
                  </a:cxn>
                  <a:cxn ang="0">
                    <a:pos x="106" y="42"/>
                  </a:cxn>
                  <a:cxn ang="0">
                    <a:pos x="74" y="20"/>
                  </a:cxn>
                </a:cxnLst>
                <a:rect l="0" t="0" r="r" b="b"/>
                <a:pathLst>
                  <a:path w="133" h="177">
                    <a:moveTo>
                      <a:pt x="74" y="20"/>
                    </a:moveTo>
                    <a:cubicBezTo>
                      <a:pt x="52" y="20"/>
                      <a:pt x="34" y="41"/>
                      <a:pt x="34" y="79"/>
                    </a:cubicBezTo>
                    <a:cubicBezTo>
                      <a:pt x="34" y="126"/>
                      <a:pt x="58" y="152"/>
                      <a:pt x="86" y="152"/>
                    </a:cubicBezTo>
                    <a:cubicBezTo>
                      <a:pt x="101" y="152"/>
                      <a:pt x="111" y="145"/>
                      <a:pt x="115" y="142"/>
                    </a:cubicBezTo>
                    <a:cubicBezTo>
                      <a:pt x="119" y="139"/>
                      <a:pt x="121" y="138"/>
                      <a:pt x="123" y="138"/>
                    </a:cubicBezTo>
                    <a:cubicBezTo>
                      <a:pt x="128" y="138"/>
                      <a:pt x="131" y="141"/>
                      <a:pt x="131" y="146"/>
                    </a:cubicBezTo>
                    <a:cubicBezTo>
                      <a:pt x="131" y="156"/>
                      <a:pt x="112" y="177"/>
                      <a:pt x="78" y="177"/>
                    </a:cubicBezTo>
                    <a:cubicBezTo>
                      <a:pt x="24" y="177"/>
                      <a:pt x="0" y="133"/>
                      <a:pt x="0" y="87"/>
                    </a:cubicBezTo>
                    <a:cubicBezTo>
                      <a:pt x="0" y="39"/>
                      <a:pt x="28" y="0"/>
                      <a:pt x="77" y="0"/>
                    </a:cubicBezTo>
                    <a:cubicBezTo>
                      <a:pt x="112" y="0"/>
                      <a:pt x="133" y="21"/>
                      <a:pt x="133" y="35"/>
                    </a:cubicBezTo>
                    <a:cubicBezTo>
                      <a:pt x="133" y="43"/>
                      <a:pt x="127" y="49"/>
                      <a:pt x="119" y="49"/>
                    </a:cubicBezTo>
                    <a:cubicBezTo>
                      <a:pt x="113" y="49"/>
                      <a:pt x="109" y="46"/>
                      <a:pt x="106" y="42"/>
                    </a:cubicBezTo>
                    <a:cubicBezTo>
                      <a:pt x="99" y="31"/>
                      <a:pt x="92" y="20"/>
                      <a:pt x="74" y="20"/>
                    </a:cubicBezTo>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3" name="Freeform 6"/>
              <p:cNvSpPr>
                <a:spLocks noEditPoints="1"/>
              </p:cNvSpPr>
              <p:nvPr userDrawn="1"/>
            </p:nvSpPr>
            <p:spPr bwMode="auto">
              <a:xfrm>
                <a:off x="3948113" y="1801813"/>
                <a:ext cx="119063" cy="138112"/>
              </a:xfrm>
              <a:custGeom>
                <a:avLst/>
                <a:gdLst/>
                <a:ahLst/>
                <a:cxnLst>
                  <a:cxn ang="0">
                    <a:pos x="108" y="39"/>
                  </a:cxn>
                  <a:cxn ang="0">
                    <a:pos x="76" y="20"/>
                  </a:cxn>
                  <a:cxn ang="0">
                    <a:pos x="58" y="25"/>
                  </a:cxn>
                  <a:cxn ang="0">
                    <a:pos x="34" y="86"/>
                  </a:cxn>
                  <a:cxn ang="0">
                    <a:pos x="36" y="110"/>
                  </a:cxn>
                  <a:cxn ang="0">
                    <a:pos x="77" y="154"/>
                  </a:cxn>
                  <a:cxn ang="0">
                    <a:pos x="110" y="133"/>
                  </a:cxn>
                  <a:cxn ang="0">
                    <a:pos x="119" y="84"/>
                  </a:cxn>
                  <a:cxn ang="0">
                    <a:pos x="108" y="39"/>
                  </a:cxn>
                  <a:cxn ang="0">
                    <a:pos x="77" y="177"/>
                  </a:cxn>
                  <a:cxn ang="0">
                    <a:pos x="0" y="89"/>
                  </a:cxn>
                  <a:cxn ang="0">
                    <a:pos x="77" y="0"/>
                  </a:cxn>
                  <a:cxn ang="0">
                    <a:pos x="153" y="84"/>
                  </a:cxn>
                  <a:cxn ang="0">
                    <a:pos x="77" y="177"/>
                  </a:cxn>
                </a:cxnLst>
                <a:rect l="0" t="0" r="r" b="b"/>
                <a:pathLst>
                  <a:path w="155" h="177">
                    <a:moveTo>
                      <a:pt x="108" y="39"/>
                    </a:moveTo>
                    <a:cubicBezTo>
                      <a:pt x="96" y="21"/>
                      <a:pt x="81" y="20"/>
                      <a:pt x="76" y="20"/>
                    </a:cubicBezTo>
                    <a:cubicBezTo>
                      <a:pt x="70" y="20"/>
                      <a:pt x="64" y="22"/>
                      <a:pt x="58" y="25"/>
                    </a:cubicBezTo>
                    <a:cubicBezTo>
                      <a:pt x="35" y="39"/>
                      <a:pt x="34" y="73"/>
                      <a:pt x="34" y="86"/>
                    </a:cubicBezTo>
                    <a:cubicBezTo>
                      <a:pt x="34" y="96"/>
                      <a:pt x="35" y="103"/>
                      <a:pt x="36" y="110"/>
                    </a:cubicBezTo>
                    <a:cubicBezTo>
                      <a:pt x="43" y="149"/>
                      <a:pt x="67" y="154"/>
                      <a:pt x="77" y="154"/>
                    </a:cubicBezTo>
                    <a:cubicBezTo>
                      <a:pt x="88" y="154"/>
                      <a:pt x="101" y="149"/>
                      <a:pt x="110" y="133"/>
                    </a:cubicBezTo>
                    <a:cubicBezTo>
                      <a:pt x="117" y="119"/>
                      <a:pt x="119" y="101"/>
                      <a:pt x="119" y="84"/>
                    </a:cubicBezTo>
                    <a:cubicBezTo>
                      <a:pt x="119" y="72"/>
                      <a:pt x="117" y="54"/>
                      <a:pt x="108" y="39"/>
                    </a:cubicBezTo>
                    <a:moveTo>
                      <a:pt x="77" y="177"/>
                    </a:moveTo>
                    <a:cubicBezTo>
                      <a:pt x="36" y="177"/>
                      <a:pt x="0" y="147"/>
                      <a:pt x="0" y="89"/>
                    </a:cubicBezTo>
                    <a:cubicBezTo>
                      <a:pt x="0" y="39"/>
                      <a:pt x="28" y="0"/>
                      <a:pt x="77" y="0"/>
                    </a:cubicBezTo>
                    <a:cubicBezTo>
                      <a:pt x="125" y="0"/>
                      <a:pt x="151" y="39"/>
                      <a:pt x="153" y="84"/>
                    </a:cubicBezTo>
                    <a:cubicBezTo>
                      <a:pt x="155" y="138"/>
                      <a:pt x="123" y="177"/>
                      <a:pt x="77" y="177"/>
                    </a:cubicBezTo>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4" name="Freeform 7"/>
              <p:cNvSpPr>
                <a:spLocks/>
              </p:cNvSpPr>
              <p:nvPr userDrawn="1"/>
            </p:nvSpPr>
            <p:spPr bwMode="auto">
              <a:xfrm>
                <a:off x="4108450" y="1804988"/>
                <a:ext cx="103188" cy="131762"/>
              </a:xfrm>
              <a:custGeom>
                <a:avLst/>
                <a:gdLst/>
                <a:ahLst/>
                <a:cxnLst>
                  <a:cxn ang="0">
                    <a:pos x="108" y="111"/>
                  </a:cxn>
                  <a:cxn ang="0">
                    <a:pos x="108" y="5"/>
                  </a:cxn>
                  <a:cxn ang="0">
                    <a:pos x="113" y="0"/>
                  </a:cxn>
                  <a:cxn ang="0">
                    <a:pos x="128" y="0"/>
                  </a:cxn>
                  <a:cxn ang="0">
                    <a:pos x="133" y="5"/>
                  </a:cxn>
                  <a:cxn ang="0">
                    <a:pos x="133" y="164"/>
                  </a:cxn>
                  <a:cxn ang="0">
                    <a:pos x="128" y="169"/>
                  </a:cxn>
                  <a:cxn ang="0">
                    <a:pos x="114" y="169"/>
                  </a:cxn>
                  <a:cxn ang="0">
                    <a:pos x="108" y="164"/>
                  </a:cxn>
                  <a:cxn ang="0">
                    <a:pos x="26" y="48"/>
                  </a:cxn>
                  <a:cxn ang="0">
                    <a:pos x="26" y="164"/>
                  </a:cxn>
                  <a:cxn ang="0">
                    <a:pos x="21" y="169"/>
                  </a:cxn>
                  <a:cxn ang="0">
                    <a:pos x="6" y="169"/>
                  </a:cxn>
                  <a:cxn ang="0">
                    <a:pos x="0" y="164"/>
                  </a:cxn>
                  <a:cxn ang="0">
                    <a:pos x="0" y="5"/>
                  </a:cxn>
                  <a:cxn ang="0">
                    <a:pos x="6" y="0"/>
                  </a:cxn>
                  <a:cxn ang="0">
                    <a:pos x="24" y="0"/>
                  </a:cxn>
                  <a:cxn ang="0">
                    <a:pos x="32" y="4"/>
                  </a:cxn>
                  <a:cxn ang="0">
                    <a:pos x="108" y="111"/>
                  </a:cxn>
                </a:cxnLst>
                <a:rect l="0" t="0" r="r" b="b"/>
                <a:pathLst>
                  <a:path w="133" h="169">
                    <a:moveTo>
                      <a:pt x="108" y="111"/>
                    </a:moveTo>
                    <a:cubicBezTo>
                      <a:pt x="108" y="5"/>
                      <a:pt x="108" y="5"/>
                      <a:pt x="108" y="5"/>
                    </a:cubicBezTo>
                    <a:cubicBezTo>
                      <a:pt x="108" y="1"/>
                      <a:pt x="109" y="0"/>
                      <a:pt x="113" y="0"/>
                    </a:cubicBezTo>
                    <a:cubicBezTo>
                      <a:pt x="128" y="0"/>
                      <a:pt x="128" y="0"/>
                      <a:pt x="128" y="0"/>
                    </a:cubicBezTo>
                    <a:cubicBezTo>
                      <a:pt x="132" y="0"/>
                      <a:pt x="133" y="1"/>
                      <a:pt x="133" y="5"/>
                    </a:cubicBezTo>
                    <a:cubicBezTo>
                      <a:pt x="133" y="164"/>
                      <a:pt x="133" y="164"/>
                      <a:pt x="133" y="164"/>
                    </a:cubicBezTo>
                    <a:cubicBezTo>
                      <a:pt x="133" y="168"/>
                      <a:pt x="131" y="169"/>
                      <a:pt x="128" y="169"/>
                    </a:cubicBezTo>
                    <a:cubicBezTo>
                      <a:pt x="114" y="169"/>
                      <a:pt x="114" y="169"/>
                      <a:pt x="114" y="169"/>
                    </a:cubicBezTo>
                    <a:cubicBezTo>
                      <a:pt x="111" y="169"/>
                      <a:pt x="111" y="168"/>
                      <a:pt x="108" y="164"/>
                    </a:cubicBezTo>
                    <a:cubicBezTo>
                      <a:pt x="26" y="48"/>
                      <a:pt x="26" y="48"/>
                      <a:pt x="26" y="48"/>
                    </a:cubicBezTo>
                    <a:cubicBezTo>
                      <a:pt x="26" y="164"/>
                      <a:pt x="26" y="164"/>
                      <a:pt x="26" y="164"/>
                    </a:cubicBezTo>
                    <a:cubicBezTo>
                      <a:pt x="26" y="168"/>
                      <a:pt x="25" y="169"/>
                      <a:pt x="21" y="169"/>
                    </a:cubicBezTo>
                    <a:cubicBezTo>
                      <a:pt x="6" y="169"/>
                      <a:pt x="6" y="169"/>
                      <a:pt x="6" y="169"/>
                    </a:cubicBezTo>
                    <a:cubicBezTo>
                      <a:pt x="2" y="169"/>
                      <a:pt x="0" y="169"/>
                      <a:pt x="0" y="164"/>
                    </a:cubicBezTo>
                    <a:cubicBezTo>
                      <a:pt x="0" y="5"/>
                      <a:pt x="0" y="5"/>
                      <a:pt x="0" y="5"/>
                    </a:cubicBezTo>
                    <a:cubicBezTo>
                      <a:pt x="0" y="0"/>
                      <a:pt x="2" y="0"/>
                      <a:pt x="6" y="0"/>
                    </a:cubicBezTo>
                    <a:cubicBezTo>
                      <a:pt x="24" y="0"/>
                      <a:pt x="24" y="0"/>
                      <a:pt x="24" y="0"/>
                    </a:cubicBezTo>
                    <a:cubicBezTo>
                      <a:pt x="28" y="0"/>
                      <a:pt x="29" y="0"/>
                      <a:pt x="32" y="4"/>
                    </a:cubicBezTo>
                    <a:lnTo>
                      <a:pt x="108" y="11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5" name="Freeform 8"/>
              <p:cNvSpPr>
                <a:spLocks/>
              </p:cNvSpPr>
              <p:nvPr userDrawn="1"/>
            </p:nvSpPr>
            <p:spPr bwMode="auto">
              <a:xfrm>
                <a:off x="4254500" y="1801813"/>
                <a:ext cx="85725" cy="138112"/>
              </a:xfrm>
              <a:custGeom>
                <a:avLst/>
                <a:gdLst/>
                <a:ahLst/>
                <a:cxnLst>
                  <a:cxn ang="0">
                    <a:pos x="71" y="75"/>
                  </a:cxn>
                  <a:cxn ang="0">
                    <a:pos x="110" y="127"/>
                  </a:cxn>
                  <a:cxn ang="0">
                    <a:pos x="55" y="177"/>
                  </a:cxn>
                  <a:cxn ang="0">
                    <a:pos x="0" y="138"/>
                  </a:cxn>
                  <a:cxn ang="0">
                    <a:pos x="14" y="123"/>
                  </a:cxn>
                  <a:cxn ang="0">
                    <a:pos x="31" y="137"/>
                  </a:cxn>
                  <a:cxn ang="0">
                    <a:pos x="57" y="156"/>
                  </a:cxn>
                  <a:cxn ang="0">
                    <a:pos x="80" y="134"/>
                  </a:cxn>
                  <a:cxn ang="0">
                    <a:pos x="48" y="100"/>
                  </a:cxn>
                  <a:cxn ang="0">
                    <a:pos x="35" y="93"/>
                  </a:cxn>
                  <a:cxn ang="0">
                    <a:pos x="2" y="47"/>
                  </a:cxn>
                  <a:cxn ang="0">
                    <a:pos x="54" y="0"/>
                  </a:cxn>
                  <a:cxn ang="0">
                    <a:pos x="104" y="32"/>
                  </a:cxn>
                  <a:cxn ang="0">
                    <a:pos x="90" y="46"/>
                  </a:cxn>
                  <a:cxn ang="0">
                    <a:pos x="76" y="35"/>
                  </a:cxn>
                  <a:cxn ang="0">
                    <a:pos x="53" y="19"/>
                  </a:cxn>
                  <a:cxn ang="0">
                    <a:pos x="32" y="40"/>
                  </a:cxn>
                  <a:cxn ang="0">
                    <a:pos x="60" y="70"/>
                  </a:cxn>
                  <a:cxn ang="0">
                    <a:pos x="71" y="75"/>
                  </a:cxn>
                </a:cxnLst>
                <a:rect l="0" t="0" r="r" b="b"/>
                <a:pathLst>
                  <a:path w="110" h="177">
                    <a:moveTo>
                      <a:pt x="71" y="75"/>
                    </a:moveTo>
                    <a:cubicBezTo>
                      <a:pt x="87" y="83"/>
                      <a:pt x="110" y="96"/>
                      <a:pt x="110" y="127"/>
                    </a:cubicBezTo>
                    <a:cubicBezTo>
                      <a:pt x="110" y="159"/>
                      <a:pt x="86" y="177"/>
                      <a:pt x="55" y="177"/>
                    </a:cubicBezTo>
                    <a:cubicBezTo>
                      <a:pt x="16" y="177"/>
                      <a:pt x="0" y="151"/>
                      <a:pt x="0" y="138"/>
                    </a:cubicBezTo>
                    <a:cubicBezTo>
                      <a:pt x="0" y="127"/>
                      <a:pt x="8" y="123"/>
                      <a:pt x="14" y="123"/>
                    </a:cubicBezTo>
                    <a:cubicBezTo>
                      <a:pt x="24" y="123"/>
                      <a:pt x="28" y="130"/>
                      <a:pt x="31" y="137"/>
                    </a:cubicBezTo>
                    <a:cubicBezTo>
                      <a:pt x="34" y="143"/>
                      <a:pt x="41" y="156"/>
                      <a:pt x="57" y="156"/>
                    </a:cubicBezTo>
                    <a:cubicBezTo>
                      <a:pt x="70" y="156"/>
                      <a:pt x="80" y="147"/>
                      <a:pt x="80" y="134"/>
                    </a:cubicBezTo>
                    <a:cubicBezTo>
                      <a:pt x="80" y="117"/>
                      <a:pt x="67" y="110"/>
                      <a:pt x="48" y="100"/>
                    </a:cubicBezTo>
                    <a:cubicBezTo>
                      <a:pt x="35" y="93"/>
                      <a:pt x="35" y="93"/>
                      <a:pt x="35" y="93"/>
                    </a:cubicBezTo>
                    <a:cubicBezTo>
                      <a:pt x="26" y="88"/>
                      <a:pt x="2" y="76"/>
                      <a:pt x="2" y="47"/>
                    </a:cubicBezTo>
                    <a:cubicBezTo>
                      <a:pt x="2" y="18"/>
                      <a:pt x="24" y="0"/>
                      <a:pt x="54" y="0"/>
                    </a:cubicBezTo>
                    <a:cubicBezTo>
                      <a:pt x="85" y="0"/>
                      <a:pt x="104" y="18"/>
                      <a:pt x="104" y="32"/>
                    </a:cubicBezTo>
                    <a:cubicBezTo>
                      <a:pt x="104" y="40"/>
                      <a:pt x="98" y="46"/>
                      <a:pt x="90" y="46"/>
                    </a:cubicBezTo>
                    <a:cubicBezTo>
                      <a:pt x="82" y="46"/>
                      <a:pt x="79" y="40"/>
                      <a:pt x="76" y="35"/>
                    </a:cubicBezTo>
                    <a:cubicBezTo>
                      <a:pt x="72" y="29"/>
                      <a:pt x="65" y="19"/>
                      <a:pt x="53" y="19"/>
                    </a:cubicBezTo>
                    <a:cubicBezTo>
                      <a:pt x="40" y="19"/>
                      <a:pt x="32" y="28"/>
                      <a:pt x="32" y="40"/>
                    </a:cubicBezTo>
                    <a:cubicBezTo>
                      <a:pt x="32" y="56"/>
                      <a:pt x="44" y="62"/>
                      <a:pt x="60" y="70"/>
                    </a:cubicBezTo>
                    <a:lnTo>
                      <a:pt x="71" y="75"/>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6" name="Freeform 9"/>
              <p:cNvSpPr>
                <a:spLocks/>
              </p:cNvSpPr>
              <p:nvPr userDrawn="1"/>
            </p:nvSpPr>
            <p:spPr bwMode="auto">
              <a:xfrm>
                <a:off x="4383088" y="1804988"/>
                <a:ext cx="88900" cy="134937"/>
              </a:xfrm>
              <a:custGeom>
                <a:avLst/>
                <a:gdLst/>
                <a:ahLst/>
                <a:cxnLst>
                  <a:cxn ang="0">
                    <a:pos x="116" y="119"/>
                  </a:cxn>
                  <a:cxn ang="0">
                    <a:pos x="111" y="146"/>
                  </a:cxn>
                  <a:cxn ang="0">
                    <a:pos x="58" y="173"/>
                  </a:cxn>
                  <a:cxn ang="0">
                    <a:pos x="5" y="146"/>
                  </a:cxn>
                  <a:cxn ang="0">
                    <a:pos x="0" y="117"/>
                  </a:cxn>
                  <a:cxn ang="0">
                    <a:pos x="0" y="4"/>
                  </a:cxn>
                  <a:cxn ang="0">
                    <a:pos x="4" y="0"/>
                  </a:cxn>
                  <a:cxn ang="0">
                    <a:pos x="28" y="0"/>
                  </a:cxn>
                  <a:cxn ang="0">
                    <a:pos x="33" y="4"/>
                  </a:cxn>
                  <a:cxn ang="0">
                    <a:pos x="33" y="114"/>
                  </a:cxn>
                  <a:cxn ang="0">
                    <a:pos x="62" y="148"/>
                  </a:cxn>
                  <a:cxn ang="0">
                    <a:pos x="90" y="116"/>
                  </a:cxn>
                  <a:cxn ang="0">
                    <a:pos x="90" y="5"/>
                  </a:cxn>
                  <a:cxn ang="0">
                    <a:pos x="95" y="0"/>
                  </a:cxn>
                  <a:cxn ang="0">
                    <a:pos x="111" y="0"/>
                  </a:cxn>
                  <a:cxn ang="0">
                    <a:pos x="116" y="4"/>
                  </a:cxn>
                  <a:cxn ang="0">
                    <a:pos x="116" y="119"/>
                  </a:cxn>
                </a:cxnLst>
                <a:rect l="0" t="0" r="r" b="b"/>
                <a:pathLst>
                  <a:path w="116" h="173">
                    <a:moveTo>
                      <a:pt x="116" y="119"/>
                    </a:moveTo>
                    <a:cubicBezTo>
                      <a:pt x="115" y="127"/>
                      <a:pt x="115" y="136"/>
                      <a:pt x="111" y="146"/>
                    </a:cubicBezTo>
                    <a:cubicBezTo>
                      <a:pt x="109" y="151"/>
                      <a:pt x="98" y="173"/>
                      <a:pt x="58" y="173"/>
                    </a:cubicBezTo>
                    <a:cubicBezTo>
                      <a:pt x="36" y="173"/>
                      <a:pt x="14" y="166"/>
                      <a:pt x="5" y="146"/>
                    </a:cubicBezTo>
                    <a:cubicBezTo>
                      <a:pt x="1" y="137"/>
                      <a:pt x="0" y="127"/>
                      <a:pt x="0" y="117"/>
                    </a:cubicBezTo>
                    <a:cubicBezTo>
                      <a:pt x="0" y="4"/>
                      <a:pt x="0" y="4"/>
                      <a:pt x="0" y="4"/>
                    </a:cubicBezTo>
                    <a:cubicBezTo>
                      <a:pt x="0" y="0"/>
                      <a:pt x="1" y="0"/>
                      <a:pt x="4" y="0"/>
                    </a:cubicBezTo>
                    <a:cubicBezTo>
                      <a:pt x="28" y="0"/>
                      <a:pt x="28" y="0"/>
                      <a:pt x="28" y="0"/>
                    </a:cubicBezTo>
                    <a:cubicBezTo>
                      <a:pt x="32" y="0"/>
                      <a:pt x="33" y="0"/>
                      <a:pt x="33" y="4"/>
                    </a:cubicBezTo>
                    <a:cubicBezTo>
                      <a:pt x="33" y="114"/>
                      <a:pt x="33" y="114"/>
                      <a:pt x="33" y="114"/>
                    </a:cubicBezTo>
                    <a:cubicBezTo>
                      <a:pt x="33" y="124"/>
                      <a:pt x="34" y="148"/>
                      <a:pt x="62" y="148"/>
                    </a:cubicBezTo>
                    <a:cubicBezTo>
                      <a:pt x="90" y="148"/>
                      <a:pt x="90" y="123"/>
                      <a:pt x="90" y="116"/>
                    </a:cubicBezTo>
                    <a:cubicBezTo>
                      <a:pt x="90" y="5"/>
                      <a:pt x="90" y="5"/>
                      <a:pt x="90" y="5"/>
                    </a:cubicBezTo>
                    <a:cubicBezTo>
                      <a:pt x="90" y="1"/>
                      <a:pt x="91" y="0"/>
                      <a:pt x="95" y="0"/>
                    </a:cubicBezTo>
                    <a:cubicBezTo>
                      <a:pt x="111" y="0"/>
                      <a:pt x="111" y="0"/>
                      <a:pt x="111" y="0"/>
                    </a:cubicBezTo>
                    <a:cubicBezTo>
                      <a:pt x="114" y="0"/>
                      <a:pt x="116" y="0"/>
                      <a:pt x="116" y="4"/>
                    </a:cubicBezTo>
                    <a:lnTo>
                      <a:pt x="116" y="119"/>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7" name="Freeform 10"/>
              <p:cNvSpPr>
                <a:spLocks/>
              </p:cNvSpPr>
              <p:nvPr userDrawn="1"/>
            </p:nvSpPr>
            <p:spPr bwMode="auto">
              <a:xfrm>
                <a:off x="4521200" y="1804988"/>
                <a:ext cx="71438" cy="131762"/>
              </a:xfrm>
              <a:custGeom>
                <a:avLst/>
                <a:gdLst/>
                <a:ahLst/>
                <a:cxnLst>
                  <a:cxn ang="0">
                    <a:pos x="32" y="147"/>
                  </a:cxn>
                  <a:cxn ang="0">
                    <a:pos x="87" y="147"/>
                  </a:cxn>
                  <a:cxn ang="0">
                    <a:pos x="92" y="152"/>
                  </a:cxn>
                  <a:cxn ang="0">
                    <a:pos x="92" y="164"/>
                  </a:cxn>
                  <a:cxn ang="0">
                    <a:pos x="87" y="169"/>
                  </a:cxn>
                  <a:cxn ang="0">
                    <a:pos x="5" y="169"/>
                  </a:cxn>
                  <a:cxn ang="0">
                    <a:pos x="0" y="164"/>
                  </a:cxn>
                  <a:cxn ang="0">
                    <a:pos x="0" y="5"/>
                  </a:cxn>
                  <a:cxn ang="0">
                    <a:pos x="5" y="0"/>
                  </a:cxn>
                  <a:cxn ang="0">
                    <a:pos x="27" y="0"/>
                  </a:cxn>
                  <a:cxn ang="0">
                    <a:pos x="32" y="5"/>
                  </a:cxn>
                  <a:cxn ang="0">
                    <a:pos x="32" y="147"/>
                  </a:cxn>
                </a:cxnLst>
                <a:rect l="0" t="0" r="r" b="b"/>
                <a:pathLst>
                  <a:path w="92" h="169">
                    <a:moveTo>
                      <a:pt x="32" y="147"/>
                    </a:moveTo>
                    <a:cubicBezTo>
                      <a:pt x="87" y="147"/>
                      <a:pt x="87" y="147"/>
                      <a:pt x="87" y="147"/>
                    </a:cubicBezTo>
                    <a:cubicBezTo>
                      <a:pt x="91" y="147"/>
                      <a:pt x="92" y="148"/>
                      <a:pt x="92" y="152"/>
                    </a:cubicBezTo>
                    <a:cubicBezTo>
                      <a:pt x="92" y="164"/>
                      <a:pt x="92" y="164"/>
                      <a:pt x="92" y="164"/>
                    </a:cubicBezTo>
                    <a:cubicBezTo>
                      <a:pt x="92" y="168"/>
                      <a:pt x="91" y="169"/>
                      <a:pt x="87" y="169"/>
                    </a:cubicBezTo>
                    <a:cubicBezTo>
                      <a:pt x="5" y="169"/>
                      <a:pt x="5" y="169"/>
                      <a:pt x="5" y="169"/>
                    </a:cubicBezTo>
                    <a:cubicBezTo>
                      <a:pt x="2" y="169"/>
                      <a:pt x="0" y="169"/>
                      <a:pt x="0" y="164"/>
                    </a:cubicBezTo>
                    <a:cubicBezTo>
                      <a:pt x="0" y="5"/>
                      <a:pt x="0" y="5"/>
                      <a:pt x="0" y="5"/>
                    </a:cubicBezTo>
                    <a:cubicBezTo>
                      <a:pt x="0" y="1"/>
                      <a:pt x="1" y="0"/>
                      <a:pt x="5" y="0"/>
                    </a:cubicBezTo>
                    <a:cubicBezTo>
                      <a:pt x="27" y="0"/>
                      <a:pt x="27" y="0"/>
                      <a:pt x="27" y="0"/>
                    </a:cubicBezTo>
                    <a:cubicBezTo>
                      <a:pt x="31" y="0"/>
                      <a:pt x="32" y="1"/>
                      <a:pt x="32" y="5"/>
                    </a:cubicBezTo>
                    <a:lnTo>
                      <a:pt x="32" y="147"/>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8" name="Freeform 11"/>
              <p:cNvSpPr>
                <a:spLocks/>
              </p:cNvSpPr>
              <p:nvPr userDrawn="1"/>
            </p:nvSpPr>
            <p:spPr bwMode="auto">
              <a:xfrm>
                <a:off x="4595813" y="1804988"/>
                <a:ext cx="90488" cy="131762"/>
              </a:xfrm>
              <a:custGeom>
                <a:avLst/>
                <a:gdLst/>
                <a:ahLst/>
                <a:cxnLst>
                  <a:cxn ang="0">
                    <a:pos x="74" y="21"/>
                  </a:cxn>
                  <a:cxn ang="0">
                    <a:pos x="74" y="163"/>
                  </a:cxn>
                  <a:cxn ang="0">
                    <a:pos x="69" y="169"/>
                  </a:cxn>
                  <a:cxn ang="0">
                    <a:pos x="47" y="169"/>
                  </a:cxn>
                  <a:cxn ang="0">
                    <a:pos x="41" y="163"/>
                  </a:cxn>
                  <a:cxn ang="0">
                    <a:pos x="41" y="21"/>
                  </a:cxn>
                  <a:cxn ang="0">
                    <a:pos x="5" y="21"/>
                  </a:cxn>
                  <a:cxn ang="0">
                    <a:pos x="0" y="16"/>
                  </a:cxn>
                  <a:cxn ang="0">
                    <a:pos x="0" y="5"/>
                  </a:cxn>
                  <a:cxn ang="0">
                    <a:pos x="5" y="0"/>
                  </a:cxn>
                  <a:cxn ang="0">
                    <a:pos x="110" y="0"/>
                  </a:cxn>
                  <a:cxn ang="0">
                    <a:pos x="116" y="4"/>
                  </a:cxn>
                  <a:cxn ang="0">
                    <a:pos x="116" y="16"/>
                  </a:cxn>
                  <a:cxn ang="0">
                    <a:pos x="110" y="21"/>
                  </a:cxn>
                  <a:cxn ang="0">
                    <a:pos x="74" y="21"/>
                  </a:cxn>
                </a:cxnLst>
                <a:rect l="0" t="0" r="r" b="b"/>
                <a:pathLst>
                  <a:path w="116" h="169">
                    <a:moveTo>
                      <a:pt x="74" y="21"/>
                    </a:moveTo>
                    <a:cubicBezTo>
                      <a:pt x="74" y="163"/>
                      <a:pt x="74" y="163"/>
                      <a:pt x="74" y="163"/>
                    </a:cubicBezTo>
                    <a:cubicBezTo>
                      <a:pt x="74" y="167"/>
                      <a:pt x="73" y="169"/>
                      <a:pt x="69" y="169"/>
                    </a:cubicBezTo>
                    <a:cubicBezTo>
                      <a:pt x="47" y="169"/>
                      <a:pt x="47" y="169"/>
                      <a:pt x="47" y="169"/>
                    </a:cubicBezTo>
                    <a:cubicBezTo>
                      <a:pt x="43" y="169"/>
                      <a:pt x="41" y="168"/>
                      <a:pt x="41" y="163"/>
                    </a:cubicBezTo>
                    <a:cubicBezTo>
                      <a:pt x="41" y="21"/>
                      <a:pt x="41" y="21"/>
                      <a:pt x="41" y="21"/>
                    </a:cubicBezTo>
                    <a:cubicBezTo>
                      <a:pt x="5" y="21"/>
                      <a:pt x="5" y="21"/>
                      <a:pt x="5" y="21"/>
                    </a:cubicBezTo>
                    <a:cubicBezTo>
                      <a:pt x="1" y="21"/>
                      <a:pt x="0" y="20"/>
                      <a:pt x="0" y="16"/>
                    </a:cubicBezTo>
                    <a:cubicBezTo>
                      <a:pt x="0" y="5"/>
                      <a:pt x="0" y="5"/>
                      <a:pt x="0" y="5"/>
                    </a:cubicBezTo>
                    <a:cubicBezTo>
                      <a:pt x="0" y="0"/>
                      <a:pt x="2" y="0"/>
                      <a:pt x="5" y="0"/>
                    </a:cubicBezTo>
                    <a:cubicBezTo>
                      <a:pt x="110" y="0"/>
                      <a:pt x="110" y="0"/>
                      <a:pt x="110" y="0"/>
                    </a:cubicBezTo>
                    <a:cubicBezTo>
                      <a:pt x="114" y="0"/>
                      <a:pt x="116" y="0"/>
                      <a:pt x="116" y="4"/>
                    </a:cubicBezTo>
                    <a:cubicBezTo>
                      <a:pt x="116" y="16"/>
                      <a:pt x="116" y="16"/>
                      <a:pt x="116" y="16"/>
                    </a:cubicBezTo>
                    <a:cubicBezTo>
                      <a:pt x="116" y="20"/>
                      <a:pt x="115" y="21"/>
                      <a:pt x="110" y="21"/>
                    </a:cubicBezTo>
                    <a:lnTo>
                      <a:pt x="74" y="2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9" name="Freeform 12"/>
              <p:cNvSpPr>
                <a:spLocks noEditPoints="1"/>
              </p:cNvSpPr>
              <p:nvPr userDrawn="1"/>
            </p:nvSpPr>
            <p:spPr bwMode="auto">
              <a:xfrm>
                <a:off x="4689475" y="1804988"/>
                <a:ext cx="112713" cy="131762"/>
              </a:xfrm>
              <a:custGeom>
                <a:avLst/>
                <a:gdLst/>
                <a:ahLst/>
                <a:cxnLst>
                  <a:cxn ang="0">
                    <a:pos x="87" y="98"/>
                  </a:cxn>
                  <a:cxn ang="0">
                    <a:pos x="68" y="43"/>
                  </a:cxn>
                  <a:cxn ang="0">
                    <a:pos x="50" y="98"/>
                  </a:cxn>
                  <a:cxn ang="0">
                    <a:pos x="87" y="98"/>
                  </a:cxn>
                  <a:cxn ang="0">
                    <a:pos x="93" y="116"/>
                  </a:cxn>
                  <a:cxn ang="0">
                    <a:pos x="44" y="116"/>
                  </a:cxn>
                  <a:cxn ang="0">
                    <a:pos x="27" y="164"/>
                  </a:cxn>
                  <a:cxn ang="0">
                    <a:pos x="21" y="169"/>
                  </a:cxn>
                  <a:cxn ang="0">
                    <a:pos x="5" y="169"/>
                  </a:cxn>
                  <a:cxn ang="0">
                    <a:pos x="0" y="166"/>
                  </a:cxn>
                  <a:cxn ang="0">
                    <a:pos x="2" y="161"/>
                  </a:cxn>
                  <a:cxn ang="0">
                    <a:pos x="60" y="4"/>
                  </a:cxn>
                  <a:cxn ang="0">
                    <a:pos x="66" y="0"/>
                  </a:cxn>
                  <a:cxn ang="0">
                    <a:pos x="80" y="0"/>
                  </a:cxn>
                  <a:cxn ang="0">
                    <a:pos x="86" y="3"/>
                  </a:cxn>
                  <a:cxn ang="0">
                    <a:pos x="144" y="163"/>
                  </a:cxn>
                  <a:cxn ang="0">
                    <a:pos x="145" y="166"/>
                  </a:cxn>
                  <a:cxn ang="0">
                    <a:pos x="141" y="169"/>
                  </a:cxn>
                  <a:cxn ang="0">
                    <a:pos x="117" y="169"/>
                  </a:cxn>
                  <a:cxn ang="0">
                    <a:pos x="110" y="165"/>
                  </a:cxn>
                  <a:cxn ang="0">
                    <a:pos x="93" y="116"/>
                  </a:cxn>
                </a:cxnLst>
                <a:rect l="0" t="0" r="r" b="b"/>
                <a:pathLst>
                  <a:path w="145" h="169">
                    <a:moveTo>
                      <a:pt x="87" y="98"/>
                    </a:moveTo>
                    <a:cubicBezTo>
                      <a:pt x="68" y="43"/>
                      <a:pt x="68" y="43"/>
                      <a:pt x="68" y="43"/>
                    </a:cubicBezTo>
                    <a:cubicBezTo>
                      <a:pt x="50" y="98"/>
                      <a:pt x="50" y="98"/>
                      <a:pt x="50" y="98"/>
                    </a:cubicBezTo>
                    <a:lnTo>
                      <a:pt x="87" y="98"/>
                    </a:lnTo>
                    <a:close/>
                    <a:moveTo>
                      <a:pt x="93" y="116"/>
                    </a:moveTo>
                    <a:cubicBezTo>
                      <a:pt x="44" y="116"/>
                      <a:pt x="44" y="116"/>
                      <a:pt x="44" y="116"/>
                    </a:cubicBezTo>
                    <a:cubicBezTo>
                      <a:pt x="27" y="164"/>
                      <a:pt x="27" y="164"/>
                      <a:pt x="27" y="164"/>
                    </a:cubicBezTo>
                    <a:cubicBezTo>
                      <a:pt x="26" y="168"/>
                      <a:pt x="25" y="169"/>
                      <a:pt x="21" y="169"/>
                    </a:cubicBezTo>
                    <a:cubicBezTo>
                      <a:pt x="5" y="169"/>
                      <a:pt x="5" y="169"/>
                      <a:pt x="5" y="169"/>
                    </a:cubicBezTo>
                    <a:cubicBezTo>
                      <a:pt x="3" y="169"/>
                      <a:pt x="0" y="169"/>
                      <a:pt x="0" y="166"/>
                    </a:cubicBezTo>
                    <a:cubicBezTo>
                      <a:pt x="0" y="165"/>
                      <a:pt x="2" y="162"/>
                      <a:pt x="2" y="161"/>
                    </a:cubicBezTo>
                    <a:cubicBezTo>
                      <a:pt x="60" y="4"/>
                      <a:pt x="60" y="4"/>
                      <a:pt x="60" y="4"/>
                    </a:cubicBezTo>
                    <a:cubicBezTo>
                      <a:pt x="62" y="1"/>
                      <a:pt x="62" y="0"/>
                      <a:pt x="66" y="0"/>
                    </a:cubicBezTo>
                    <a:cubicBezTo>
                      <a:pt x="80" y="0"/>
                      <a:pt x="80" y="0"/>
                      <a:pt x="80" y="0"/>
                    </a:cubicBezTo>
                    <a:cubicBezTo>
                      <a:pt x="84" y="0"/>
                      <a:pt x="84" y="0"/>
                      <a:pt x="86" y="3"/>
                    </a:cubicBezTo>
                    <a:cubicBezTo>
                      <a:pt x="144" y="163"/>
                      <a:pt x="144" y="163"/>
                      <a:pt x="144" y="163"/>
                    </a:cubicBezTo>
                    <a:cubicBezTo>
                      <a:pt x="145" y="164"/>
                      <a:pt x="145" y="165"/>
                      <a:pt x="145" y="166"/>
                    </a:cubicBezTo>
                    <a:cubicBezTo>
                      <a:pt x="145" y="169"/>
                      <a:pt x="143" y="169"/>
                      <a:pt x="141" y="169"/>
                    </a:cubicBezTo>
                    <a:cubicBezTo>
                      <a:pt x="117" y="169"/>
                      <a:pt x="117" y="169"/>
                      <a:pt x="117" y="169"/>
                    </a:cubicBezTo>
                    <a:cubicBezTo>
                      <a:pt x="113" y="169"/>
                      <a:pt x="112" y="169"/>
                      <a:pt x="110" y="165"/>
                    </a:cubicBezTo>
                    <a:lnTo>
                      <a:pt x="93" y="116"/>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0" name="Freeform 13"/>
              <p:cNvSpPr>
                <a:spLocks/>
              </p:cNvSpPr>
              <p:nvPr userDrawn="1"/>
            </p:nvSpPr>
            <p:spPr bwMode="auto">
              <a:xfrm>
                <a:off x="4833938" y="1804988"/>
                <a:ext cx="103188" cy="131762"/>
              </a:xfrm>
              <a:custGeom>
                <a:avLst/>
                <a:gdLst/>
                <a:ahLst/>
                <a:cxnLst>
                  <a:cxn ang="0">
                    <a:pos x="108" y="111"/>
                  </a:cxn>
                  <a:cxn ang="0">
                    <a:pos x="108" y="5"/>
                  </a:cxn>
                  <a:cxn ang="0">
                    <a:pos x="113" y="0"/>
                  </a:cxn>
                  <a:cxn ang="0">
                    <a:pos x="128" y="0"/>
                  </a:cxn>
                  <a:cxn ang="0">
                    <a:pos x="133" y="5"/>
                  </a:cxn>
                  <a:cxn ang="0">
                    <a:pos x="133" y="164"/>
                  </a:cxn>
                  <a:cxn ang="0">
                    <a:pos x="128" y="169"/>
                  </a:cxn>
                  <a:cxn ang="0">
                    <a:pos x="114" y="169"/>
                  </a:cxn>
                  <a:cxn ang="0">
                    <a:pos x="108" y="164"/>
                  </a:cxn>
                  <a:cxn ang="0">
                    <a:pos x="26" y="48"/>
                  </a:cxn>
                  <a:cxn ang="0">
                    <a:pos x="26" y="164"/>
                  </a:cxn>
                  <a:cxn ang="0">
                    <a:pos x="21" y="169"/>
                  </a:cxn>
                  <a:cxn ang="0">
                    <a:pos x="6" y="169"/>
                  </a:cxn>
                  <a:cxn ang="0">
                    <a:pos x="0" y="164"/>
                  </a:cxn>
                  <a:cxn ang="0">
                    <a:pos x="0" y="5"/>
                  </a:cxn>
                  <a:cxn ang="0">
                    <a:pos x="6" y="0"/>
                  </a:cxn>
                  <a:cxn ang="0">
                    <a:pos x="24" y="0"/>
                  </a:cxn>
                  <a:cxn ang="0">
                    <a:pos x="32" y="4"/>
                  </a:cxn>
                  <a:cxn ang="0">
                    <a:pos x="108" y="111"/>
                  </a:cxn>
                </a:cxnLst>
                <a:rect l="0" t="0" r="r" b="b"/>
                <a:pathLst>
                  <a:path w="133" h="169">
                    <a:moveTo>
                      <a:pt x="108" y="111"/>
                    </a:moveTo>
                    <a:cubicBezTo>
                      <a:pt x="108" y="5"/>
                      <a:pt x="108" y="5"/>
                      <a:pt x="108" y="5"/>
                    </a:cubicBezTo>
                    <a:cubicBezTo>
                      <a:pt x="108" y="1"/>
                      <a:pt x="109" y="0"/>
                      <a:pt x="113" y="0"/>
                    </a:cubicBezTo>
                    <a:cubicBezTo>
                      <a:pt x="128" y="0"/>
                      <a:pt x="128" y="0"/>
                      <a:pt x="128" y="0"/>
                    </a:cubicBezTo>
                    <a:cubicBezTo>
                      <a:pt x="132" y="0"/>
                      <a:pt x="133" y="1"/>
                      <a:pt x="133" y="5"/>
                    </a:cubicBezTo>
                    <a:cubicBezTo>
                      <a:pt x="133" y="164"/>
                      <a:pt x="133" y="164"/>
                      <a:pt x="133" y="164"/>
                    </a:cubicBezTo>
                    <a:cubicBezTo>
                      <a:pt x="133" y="168"/>
                      <a:pt x="131" y="169"/>
                      <a:pt x="128" y="169"/>
                    </a:cubicBezTo>
                    <a:cubicBezTo>
                      <a:pt x="114" y="169"/>
                      <a:pt x="114" y="169"/>
                      <a:pt x="114" y="169"/>
                    </a:cubicBezTo>
                    <a:cubicBezTo>
                      <a:pt x="111" y="169"/>
                      <a:pt x="111" y="168"/>
                      <a:pt x="108" y="164"/>
                    </a:cubicBezTo>
                    <a:cubicBezTo>
                      <a:pt x="26" y="48"/>
                      <a:pt x="26" y="48"/>
                      <a:pt x="26" y="48"/>
                    </a:cubicBezTo>
                    <a:cubicBezTo>
                      <a:pt x="26" y="164"/>
                      <a:pt x="26" y="164"/>
                      <a:pt x="26" y="164"/>
                    </a:cubicBezTo>
                    <a:cubicBezTo>
                      <a:pt x="26" y="168"/>
                      <a:pt x="25" y="169"/>
                      <a:pt x="21" y="169"/>
                    </a:cubicBezTo>
                    <a:cubicBezTo>
                      <a:pt x="6" y="169"/>
                      <a:pt x="6" y="169"/>
                      <a:pt x="6" y="169"/>
                    </a:cubicBezTo>
                    <a:cubicBezTo>
                      <a:pt x="2" y="169"/>
                      <a:pt x="0" y="169"/>
                      <a:pt x="0" y="164"/>
                    </a:cubicBezTo>
                    <a:cubicBezTo>
                      <a:pt x="0" y="5"/>
                      <a:pt x="0" y="5"/>
                      <a:pt x="0" y="5"/>
                    </a:cubicBezTo>
                    <a:cubicBezTo>
                      <a:pt x="0" y="0"/>
                      <a:pt x="2" y="0"/>
                      <a:pt x="6" y="0"/>
                    </a:cubicBezTo>
                    <a:cubicBezTo>
                      <a:pt x="24" y="0"/>
                      <a:pt x="24" y="0"/>
                      <a:pt x="24" y="0"/>
                    </a:cubicBezTo>
                    <a:cubicBezTo>
                      <a:pt x="28" y="0"/>
                      <a:pt x="29" y="0"/>
                      <a:pt x="32" y="4"/>
                    </a:cubicBezTo>
                    <a:lnTo>
                      <a:pt x="108" y="11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1" name="Freeform 14"/>
              <p:cNvSpPr>
                <a:spLocks/>
              </p:cNvSpPr>
              <p:nvPr userDrawn="1"/>
            </p:nvSpPr>
            <p:spPr bwMode="auto">
              <a:xfrm>
                <a:off x="4970463" y="1804988"/>
                <a:ext cx="88900" cy="131762"/>
              </a:xfrm>
              <a:custGeom>
                <a:avLst/>
                <a:gdLst/>
                <a:ahLst/>
                <a:cxnLst>
                  <a:cxn ang="0">
                    <a:pos x="74" y="21"/>
                  </a:cxn>
                  <a:cxn ang="0">
                    <a:pos x="74" y="163"/>
                  </a:cxn>
                  <a:cxn ang="0">
                    <a:pos x="69" y="169"/>
                  </a:cxn>
                  <a:cxn ang="0">
                    <a:pos x="48" y="169"/>
                  </a:cxn>
                  <a:cxn ang="0">
                    <a:pos x="42" y="163"/>
                  </a:cxn>
                  <a:cxn ang="0">
                    <a:pos x="42" y="21"/>
                  </a:cxn>
                  <a:cxn ang="0">
                    <a:pos x="6" y="21"/>
                  </a:cxn>
                  <a:cxn ang="0">
                    <a:pos x="0" y="16"/>
                  </a:cxn>
                  <a:cxn ang="0">
                    <a:pos x="0" y="5"/>
                  </a:cxn>
                  <a:cxn ang="0">
                    <a:pos x="6" y="0"/>
                  </a:cxn>
                  <a:cxn ang="0">
                    <a:pos x="111" y="0"/>
                  </a:cxn>
                  <a:cxn ang="0">
                    <a:pos x="116" y="4"/>
                  </a:cxn>
                  <a:cxn ang="0">
                    <a:pos x="116" y="16"/>
                  </a:cxn>
                  <a:cxn ang="0">
                    <a:pos x="111" y="21"/>
                  </a:cxn>
                  <a:cxn ang="0">
                    <a:pos x="74" y="21"/>
                  </a:cxn>
                </a:cxnLst>
                <a:rect l="0" t="0" r="r" b="b"/>
                <a:pathLst>
                  <a:path w="116" h="169">
                    <a:moveTo>
                      <a:pt x="74" y="21"/>
                    </a:moveTo>
                    <a:cubicBezTo>
                      <a:pt x="74" y="163"/>
                      <a:pt x="74" y="163"/>
                      <a:pt x="74" y="163"/>
                    </a:cubicBezTo>
                    <a:cubicBezTo>
                      <a:pt x="74" y="167"/>
                      <a:pt x="74" y="169"/>
                      <a:pt x="69" y="169"/>
                    </a:cubicBezTo>
                    <a:cubicBezTo>
                      <a:pt x="48" y="169"/>
                      <a:pt x="48" y="169"/>
                      <a:pt x="48" y="169"/>
                    </a:cubicBezTo>
                    <a:cubicBezTo>
                      <a:pt x="43" y="169"/>
                      <a:pt x="42" y="168"/>
                      <a:pt x="42" y="163"/>
                    </a:cubicBezTo>
                    <a:cubicBezTo>
                      <a:pt x="42" y="21"/>
                      <a:pt x="42" y="21"/>
                      <a:pt x="42" y="21"/>
                    </a:cubicBezTo>
                    <a:cubicBezTo>
                      <a:pt x="6" y="21"/>
                      <a:pt x="6" y="21"/>
                      <a:pt x="6" y="21"/>
                    </a:cubicBezTo>
                    <a:cubicBezTo>
                      <a:pt x="1" y="21"/>
                      <a:pt x="0" y="20"/>
                      <a:pt x="0" y="16"/>
                    </a:cubicBezTo>
                    <a:cubicBezTo>
                      <a:pt x="0" y="5"/>
                      <a:pt x="0" y="5"/>
                      <a:pt x="0" y="5"/>
                    </a:cubicBezTo>
                    <a:cubicBezTo>
                      <a:pt x="0" y="0"/>
                      <a:pt x="2" y="0"/>
                      <a:pt x="6" y="0"/>
                    </a:cubicBezTo>
                    <a:cubicBezTo>
                      <a:pt x="111" y="0"/>
                      <a:pt x="111" y="0"/>
                      <a:pt x="111" y="0"/>
                    </a:cubicBezTo>
                    <a:cubicBezTo>
                      <a:pt x="114" y="0"/>
                      <a:pt x="116" y="0"/>
                      <a:pt x="116" y="4"/>
                    </a:cubicBezTo>
                    <a:cubicBezTo>
                      <a:pt x="116" y="16"/>
                      <a:pt x="116" y="16"/>
                      <a:pt x="116" y="16"/>
                    </a:cubicBezTo>
                    <a:cubicBezTo>
                      <a:pt x="116" y="20"/>
                      <a:pt x="115" y="21"/>
                      <a:pt x="111" y="21"/>
                    </a:cubicBezTo>
                    <a:lnTo>
                      <a:pt x="74" y="2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2" name="Freeform 15"/>
              <p:cNvSpPr>
                <a:spLocks/>
              </p:cNvSpPr>
              <p:nvPr userDrawn="1"/>
            </p:nvSpPr>
            <p:spPr bwMode="auto">
              <a:xfrm>
                <a:off x="5086350" y="1801813"/>
                <a:ext cx="85725" cy="138112"/>
              </a:xfrm>
              <a:custGeom>
                <a:avLst/>
                <a:gdLst/>
                <a:ahLst/>
                <a:cxnLst>
                  <a:cxn ang="0">
                    <a:pos x="71" y="75"/>
                  </a:cxn>
                  <a:cxn ang="0">
                    <a:pos x="110" y="127"/>
                  </a:cxn>
                  <a:cxn ang="0">
                    <a:pos x="55" y="177"/>
                  </a:cxn>
                  <a:cxn ang="0">
                    <a:pos x="0" y="138"/>
                  </a:cxn>
                  <a:cxn ang="0">
                    <a:pos x="14" y="123"/>
                  </a:cxn>
                  <a:cxn ang="0">
                    <a:pos x="31" y="137"/>
                  </a:cxn>
                  <a:cxn ang="0">
                    <a:pos x="57" y="156"/>
                  </a:cxn>
                  <a:cxn ang="0">
                    <a:pos x="79" y="134"/>
                  </a:cxn>
                  <a:cxn ang="0">
                    <a:pos x="48" y="100"/>
                  </a:cxn>
                  <a:cxn ang="0">
                    <a:pos x="34" y="93"/>
                  </a:cxn>
                  <a:cxn ang="0">
                    <a:pos x="2" y="47"/>
                  </a:cxn>
                  <a:cxn ang="0">
                    <a:pos x="53" y="0"/>
                  </a:cxn>
                  <a:cxn ang="0">
                    <a:pos x="104" y="32"/>
                  </a:cxn>
                  <a:cxn ang="0">
                    <a:pos x="90" y="46"/>
                  </a:cxn>
                  <a:cxn ang="0">
                    <a:pos x="75" y="35"/>
                  </a:cxn>
                  <a:cxn ang="0">
                    <a:pos x="52" y="19"/>
                  </a:cxn>
                  <a:cxn ang="0">
                    <a:pos x="31" y="40"/>
                  </a:cxn>
                  <a:cxn ang="0">
                    <a:pos x="60" y="70"/>
                  </a:cxn>
                  <a:cxn ang="0">
                    <a:pos x="71" y="75"/>
                  </a:cxn>
                </a:cxnLst>
                <a:rect l="0" t="0" r="r" b="b"/>
                <a:pathLst>
                  <a:path w="110" h="177">
                    <a:moveTo>
                      <a:pt x="71" y="75"/>
                    </a:moveTo>
                    <a:cubicBezTo>
                      <a:pt x="86" y="83"/>
                      <a:pt x="110" y="96"/>
                      <a:pt x="110" y="127"/>
                    </a:cubicBezTo>
                    <a:cubicBezTo>
                      <a:pt x="110" y="159"/>
                      <a:pt x="86" y="177"/>
                      <a:pt x="55" y="177"/>
                    </a:cubicBezTo>
                    <a:cubicBezTo>
                      <a:pt x="16" y="177"/>
                      <a:pt x="0" y="151"/>
                      <a:pt x="0" y="138"/>
                    </a:cubicBezTo>
                    <a:cubicBezTo>
                      <a:pt x="0" y="127"/>
                      <a:pt x="8" y="123"/>
                      <a:pt x="14" y="123"/>
                    </a:cubicBezTo>
                    <a:cubicBezTo>
                      <a:pt x="23" y="123"/>
                      <a:pt x="27" y="130"/>
                      <a:pt x="31" y="137"/>
                    </a:cubicBezTo>
                    <a:cubicBezTo>
                      <a:pt x="34" y="143"/>
                      <a:pt x="41" y="156"/>
                      <a:pt x="57" y="156"/>
                    </a:cubicBezTo>
                    <a:cubicBezTo>
                      <a:pt x="70" y="156"/>
                      <a:pt x="79" y="147"/>
                      <a:pt x="79" y="134"/>
                    </a:cubicBezTo>
                    <a:cubicBezTo>
                      <a:pt x="79" y="117"/>
                      <a:pt x="67" y="110"/>
                      <a:pt x="48" y="100"/>
                    </a:cubicBezTo>
                    <a:cubicBezTo>
                      <a:pt x="34" y="93"/>
                      <a:pt x="34" y="93"/>
                      <a:pt x="34" y="93"/>
                    </a:cubicBezTo>
                    <a:cubicBezTo>
                      <a:pt x="25" y="88"/>
                      <a:pt x="2" y="76"/>
                      <a:pt x="2" y="47"/>
                    </a:cubicBezTo>
                    <a:cubicBezTo>
                      <a:pt x="2" y="18"/>
                      <a:pt x="23" y="0"/>
                      <a:pt x="53" y="0"/>
                    </a:cubicBezTo>
                    <a:cubicBezTo>
                      <a:pt x="85" y="0"/>
                      <a:pt x="104" y="18"/>
                      <a:pt x="104" y="32"/>
                    </a:cubicBezTo>
                    <a:cubicBezTo>
                      <a:pt x="104" y="40"/>
                      <a:pt x="98" y="46"/>
                      <a:pt x="90" y="46"/>
                    </a:cubicBezTo>
                    <a:cubicBezTo>
                      <a:pt x="82" y="46"/>
                      <a:pt x="79" y="40"/>
                      <a:pt x="75" y="35"/>
                    </a:cubicBezTo>
                    <a:cubicBezTo>
                      <a:pt x="71" y="29"/>
                      <a:pt x="65" y="19"/>
                      <a:pt x="52" y="19"/>
                    </a:cubicBezTo>
                    <a:cubicBezTo>
                      <a:pt x="40" y="19"/>
                      <a:pt x="31" y="28"/>
                      <a:pt x="31" y="40"/>
                    </a:cubicBezTo>
                    <a:cubicBezTo>
                      <a:pt x="31" y="56"/>
                      <a:pt x="44" y="62"/>
                      <a:pt x="60" y="70"/>
                    </a:cubicBezTo>
                    <a:lnTo>
                      <a:pt x="71" y="75"/>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sp>
          <p:nvSpPr>
            <p:cNvPr id="13" name="Rectangle 16"/>
            <p:cNvSpPr>
              <a:spLocks noChangeArrowheads="1"/>
            </p:cNvSpPr>
            <p:nvPr userDrawn="1"/>
          </p:nvSpPr>
          <p:spPr bwMode="auto">
            <a:xfrm>
              <a:off x="3813175" y="1984375"/>
              <a:ext cx="1368425" cy="9525"/>
            </a:xfrm>
            <a:prstGeom prst="rect">
              <a:avLst/>
            </a:prstGeom>
            <a:solidFill>
              <a:srgbClr val="225696"/>
            </a:solidFill>
            <a:ln w="9525">
              <a:noFill/>
              <a:miter lim="800000"/>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nvGrpSpPr>
            <p:cNvPr id="14" name="Group 31"/>
            <p:cNvGrpSpPr/>
            <p:nvPr userDrawn="1"/>
          </p:nvGrpSpPr>
          <p:grpSpPr>
            <a:xfrm>
              <a:off x="3813175" y="1435101"/>
              <a:ext cx="1358901" cy="317499"/>
              <a:chOff x="3813175" y="1435101"/>
              <a:chExt cx="1358901" cy="317499"/>
            </a:xfrm>
          </p:grpSpPr>
          <p:sp>
            <p:nvSpPr>
              <p:cNvPr id="18" name="Freeform 17"/>
              <p:cNvSpPr>
                <a:spLocks/>
              </p:cNvSpPr>
              <p:nvPr userDrawn="1"/>
            </p:nvSpPr>
            <p:spPr bwMode="auto">
              <a:xfrm>
                <a:off x="4551363" y="1452563"/>
                <a:ext cx="285750" cy="300037"/>
              </a:xfrm>
              <a:custGeom>
                <a:avLst/>
                <a:gdLst/>
                <a:ahLst/>
                <a:cxnLst>
                  <a:cxn ang="0">
                    <a:pos x="54" y="0"/>
                  </a:cxn>
                  <a:cxn ang="0">
                    <a:pos x="201" y="207"/>
                  </a:cxn>
                  <a:cxn ang="0">
                    <a:pos x="330" y="0"/>
                  </a:cxn>
                  <a:cxn ang="0">
                    <a:pos x="368" y="38"/>
                  </a:cxn>
                  <a:cxn ang="0">
                    <a:pos x="228" y="314"/>
                  </a:cxn>
                  <a:cxn ang="0">
                    <a:pos x="51" y="387"/>
                  </a:cxn>
                  <a:cxn ang="0">
                    <a:pos x="0" y="357"/>
                  </a:cxn>
                  <a:cxn ang="0">
                    <a:pos x="55" y="325"/>
                  </a:cxn>
                  <a:cxn ang="0">
                    <a:pos x="170" y="272"/>
                  </a:cxn>
                  <a:cxn ang="0">
                    <a:pos x="20" y="50"/>
                  </a:cxn>
                  <a:cxn ang="0">
                    <a:pos x="54" y="0"/>
                  </a:cxn>
                </a:cxnLst>
                <a:rect l="0" t="0" r="r" b="b"/>
                <a:pathLst>
                  <a:path w="368" h="387">
                    <a:moveTo>
                      <a:pt x="54" y="0"/>
                    </a:moveTo>
                    <a:cubicBezTo>
                      <a:pt x="99" y="0"/>
                      <a:pt x="96" y="207"/>
                      <a:pt x="201" y="207"/>
                    </a:cubicBezTo>
                    <a:cubicBezTo>
                      <a:pt x="296" y="207"/>
                      <a:pt x="280" y="0"/>
                      <a:pt x="330" y="0"/>
                    </a:cubicBezTo>
                    <a:cubicBezTo>
                      <a:pt x="368" y="0"/>
                      <a:pt x="368" y="28"/>
                      <a:pt x="368" y="38"/>
                    </a:cubicBezTo>
                    <a:cubicBezTo>
                      <a:pt x="368" y="48"/>
                      <a:pt x="332" y="235"/>
                      <a:pt x="228" y="314"/>
                    </a:cubicBezTo>
                    <a:cubicBezTo>
                      <a:pt x="147" y="376"/>
                      <a:pt x="81" y="387"/>
                      <a:pt x="51" y="387"/>
                    </a:cubicBezTo>
                    <a:cubicBezTo>
                      <a:pt x="21" y="387"/>
                      <a:pt x="0" y="376"/>
                      <a:pt x="0" y="357"/>
                    </a:cubicBezTo>
                    <a:cubicBezTo>
                      <a:pt x="0" y="339"/>
                      <a:pt x="21" y="328"/>
                      <a:pt x="55" y="325"/>
                    </a:cubicBezTo>
                    <a:cubicBezTo>
                      <a:pt x="95" y="322"/>
                      <a:pt x="170" y="287"/>
                      <a:pt x="170" y="272"/>
                    </a:cubicBezTo>
                    <a:cubicBezTo>
                      <a:pt x="74" y="272"/>
                      <a:pt x="22" y="64"/>
                      <a:pt x="20" y="50"/>
                    </a:cubicBezTo>
                    <a:cubicBezTo>
                      <a:pt x="16" y="11"/>
                      <a:pt x="32" y="0"/>
                      <a:pt x="54" y="0"/>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19" name="Freeform 18"/>
              <p:cNvSpPr>
                <a:spLocks/>
              </p:cNvSpPr>
              <p:nvPr userDrawn="1"/>
            </p:nvSpPr>
            <p:spPr bwMode="auto">
              <a:xfrm>
                <a:off x="4189413" y="1444625"/>
                <a:ext cx="309563" cy="233362"/>
              </a:xfrm>
              <a:custGeom>
                <a:avLst/>
                <a:gdLst/>
                <a:ahLst/>
                <a:cxnLst>
                  <a:cxn ang="0">
                    <a:pos x="371" y="251"/>
                  </a:cxn>
                  <a:cxn ang="0">
                    <a:pos x="258" y="158"/>
                  </a:cxn>
                  <a:cxn ang="0">
                    <a:pos x="361" y="48"/>
                  </a:cxn>
                  <a:cxn ang="0">
                    <a:pos x="384" y="19"/>
                  </a:cxn>
                  <a:cxn ang="0">
                    <a:pos x="349" y="2"/>
                  </a:cxn>
                  <a:cxn ang="0">
                    <a:pos x="200" y="91"/>
                  </a:cxn>
                  <a:cxn ang="0">
                    <a:pos x="51" y="2"/>
                  </a:cxn>
                  <a:cxn ang="0">
                    <a:pos x="16" y="19"/>
                  </a:cxn>
                  <a:cxn ang="0">
                    <a:pos x="39" y="48"/>
                  </a:cxn>
                  <a:cxn ang="0">
                    <a:pos x="142" y="158"/>
                  </a:cxn>
                  <a:cxn ang="0">
                    <a:pos x="29" y="251"/>
                  </a:cxn>
                  <a:cxn ang="0">
                    <a:pos x="4" y="280"/>
                  </a:cxn>
                  <a:cxn ang="0">
                    <a:pos x="41" y="298"/>
                  </a:cxn>
                  <a:cxn ang="0">
                    <a:pos x="200" y="218"/>
                  </a:cxn>
                  <a:cxn ang="0">
                    <a:pos x="359" y="298"/>
                  </a:cxn>
                  <a:cxn ang="0">
                    <a:pos x="396" y="280"/>
                  </a:cxn>
                  <a:cxn ang="0">
                    <a:pos x="371" y="251"/>
                  </a:cxn>
                </a:cxnLst>
                <a:rect l="0" t="0" r="r" b="b"/>
                <a:pathLst>
                  <a:path w="399" h="300">
                    <a:moveTo>
                      <a:pt x="371" y="251"/>
                    </a:moveTo>
                    <a:cubicBezTo>
                      <a:pt x="370" y="251"/>
                      <a:pt x="258" y="225"/>
                      <a:pt x="258" y="158"/>
                    </a:cubicBezTo>
                    <a:cubicBezTo>
                      <a:pt x="258" y="79"/>
                      <a:pt x="360" y="48"/>
                      <a:pt x="361" y="48"/>
                    </a:cubicBezTo>
                    <a:cubicBezTo>
                      <a:pt x="373" y="44"/>
                      <a:pt x="387" y="31"/>
                      <a:pt x="384" y="19"/>
                    </a:cubicBezTo>
                    <a:cubicBezTo>
                      <a:pt x="379" y="2"/>
                      <a:pt x="365" y="0"/>
                      <a:pt x="349" y="2"/>
                    </a:cubicBezTo>
                    <a:cubicBezTo>
                      <a:pt x="345" y="2"/>
                      <a:pt x="247" y="26"/>
                      <a:pt x="200" y="91"/>
                    </a:cubicBezTo>
                    <a:cubicBezTo>
                      <a:pt x="152" y="26"/>
                      <a:pt x="55" y="3"/>
                      <a:pt x="51" y="2"/>
                    </a:cubicBezTo>
                    <a:cubicBezTo>
                      <a:pt x="39" y="0"/>
                      <a:pt x="19" y="6"/>
                      <a:pt x="16" y="19"/>
                    </a:cubicBezTo>
                    <a:cubicBezTo>
                      <a:pt x="12" y="31"/>
                      <a:pt x="27" y="44"/>
                      <a:pt x="39" y="48"/>
                    </a:cubicBezTo>
                    <a:cubicBezTo>
                      <a:pt x="40" y="48"/>
                      <a:pt x="142" y="79"/>
                      <a:pt x="142" y="158"/>
                    </a:cubicBezTo>
                    <a:cubicBezTo>
                      <a:pt x="142" y="225"/>
                      <a:pt x="30" y="251"/>
                      <a:pt x="29" y="251"/>
                    </a:cubicBezTo>
                    <a:cubicBezTo>
                      <a:pt x="16" y="254"/>
                      <a:pt x="0" y="267"/>
                      <a:pt x="4" y="280"/>
                    </a:cubicBezTo>
                    <a:cubicBezTo>
                      <a:pt x="7" y="293"/>
                      <a:pt x="26" y="300"/>
                      <a:pt x="41" y="298"/>
                    </a:cubicBezTo>
                    <a:cubicBezTo>
                      <a:pt x="45" y="297"/>
                      <a:pt x="152" y="277"/>
                      <a:pt x="200" y="218"/>
                    </a:cubicBezTo>
                    <a:cubicBezTo>
                      <a:pt x="248" y="277"/>
                      <a:pt x="355" y="297"/>
                      <a:pt x="359" y="298"/>
                    </a:cubicBezTo>
                    <a:cubicBezTo>
                      <a:pt x="374" y="300"/>
                      <a:pt x="392" y="297"/>
                      <a:pt x="396" y="280"/>
                    </a:cubicBezTo>
                    <a:cubicBezTo>
                      <a:pt x="399" y="267"/>
                      <a:pt x="384" y="254"/>
                      <a:pt x="371" y="251"/>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0" name="Freeform 19"/>
              <p:cNvSpPr>
                <a:spLocks/>
              </p:cNvSpPr>
              <p:nvPr userDrawn="1"/>
            </p:nvSpPr>
            <p:spPr bwMode="auto">
              <a:xfrm>
                <a:off x="4887913" y="1435101"/>
                <a:ext cx="284163" cy="265112"/>
              </a:xfrm>
              <a:custGeom>
                <a:avLst/>
                <a:gdLst/>
                <a:ahLst/>
                <a:cxnLst>
                  <a:cxn ang="0">
                    <a:pos x="208" y="143"/>
                  </a:cxn>
                  <a:cxn ang="0">
                    <a:pos x="200" y="142"/>
                  </a:cxn>
                  <a:cxn ang="0">
                    <a:pos x="105" y="105"/>
                  </a:cxn>
                  <a:cxn ang="0">
                    <a:pos x="115" y="84"/>
                  </a:cxn>
                  <a:cxn ang="0">
                    <a:pos x="295" y="87"/>
                  </a:cxn>
                  <a:cxn ang="0">
                    <a:pos x="333" y="70"/>
                  </a:cxn>
                  <a:cxn ang="0">
                    <a:pos x="305" y="35"/>
                  </a:cxn>
                  <a:cxn ang="0">
                    <a:pos x="62" y="46"/>
                  </a:cxn>
                  <a:cxn ang="0">
                    <a:pos x="34" y="104"/>
                  </a:cxn>
                  <a:cxn ang="0">
                    <a:pos x="170" y="194"/>
                  </a:cxn>
                  <a:cxn ang="0">
                    <a:pos x="296" y="231"/>
                  </a:cxn>
                  <a:cxn ang="0">
                    <a:pos x="285" y="249"/>
                  </a:cxn>
                  <a:cxn ang="0">
                    <a:pos x="45" y="236"/>
                  </a:cxn>
                  <a:cxn ang="0">
                    <a:pos x="2" y="248"/>
                  </a:cxn>
                  <a:cxn ang="0">
                    <a:pos x="2" y="265"/>
                  </a:cxn>
                  <a:cxn ang="0">
                    <a:pos x="23" y="287"/>
                  </a:cxn>
                  <a:cxn ang="0">
                    <a:pos x="331" y="294"/>
                  </a:cxn>
                  <a:cxn ang="0">
                    <a:pos x="367" y="231"/>
                  </a:cxn>
                  <a:cxn ang="0">
                    <a:pos x="208" y="143"/>
                  </a:cxn>
                </a:cxnLst>
                <a:rect l="0" t="0" r="r" b="b"/>
                <a:pathLst>
                  <a:path w="367" h="342">
                    <a:moveTo>
                      <a:pt x="208" y="143"/>
                    </a:moveTo>
                    <a:cubicBezTo>
                      <a:pt x="200" y="142"/>
                      <a:pt x="200" y="142"/>
                      <a:pt x="200" y="142"/>
                    </a:cubicBezTo>
                    <a:cubicBezTo>
                      <a:pt x="177" y="139"/>
                      <a:pt x="105" y="130"/>
                      <a:pt x="105" y="105"/>
                    </a:cubicBezTo>
                    <a:cubicBezTo>
                      <a:pt x="105" y="96"/>
                      <a:pt x="108" y="89"/>
                      <a:pt x="115" y="84"/>
                    </a:cubicBezTo>
                    <a:cubicBezTo>
                      <a:pt x="148" y="57"/>
                      <a:pt x="252" y="77"/>
                      <a:pt x="295" y="87"/>
                    </a:cubicBezTo>
                    <a:cubicBezTo>
                      <a:pt x="311" y="90"/>
                      <a:pt x="330" y="86"/>
                      <a:pt x="333" y="70"/>
                    </a:cubicBezTo>
                    <a:cubicBezTo>
                      <a:pt x="337" y="54"/>
                      <a:pt x="320" y="39"/>
                      <a:pt x="305" y="35"/>
                    </a:cubicBezTo>
                    <a:cubicBezTo>
                      <a:pt x="258" y="23"/>
                      <a:pt x="121" y="0"/>
                      <a:pt x="62" y="46"/>
                    </a:cubicBezTo>
                    <a:cubicBezTo>
                      <a:pt x="43" y="60"/>
                      <a:pt x="34" y="79"/>
                      <a:pt x="34" y="104"/>
                    </a:cubicBezTo>
                    <a:cubicBezTo>
                      <a:pt x="34" y="162"/>
                      <a:pt x="88" y="182"/>
                      <a:pt x="170" y="194"/>
                    </a:cubicBezTo>
                    <a:cubicBezTo>
                      <a:pt x="237" y="204"/>
                      <a:pt x="296" y="212"/>
                      <a:pt x="296" y="231"/>
                    </a:cubicBezTo>
                    <a:cubicBezTo>
                      <a:pt x="296" y="238"/>
                      <a:pt x="292" y="244"/>
                      <a:pt x="285" y="249"/>
                    </a:cubicBezTo>
                    <a:cubicBezTo>
                      <a:pt x="241" y="277"/>
                      <a:pt x="94" y="257"/>
                      <a:pt x="45" y="236"/>
                    </a:cubicBezTo>
                    <a:cubicBezTo>
                      <a:pt x="30" y="230"/>
                      <a:pt x="9" y="233"/>
                      <a:pt x="2" y="248"/>
                    </a:cubicBezTo>
                    <a:cubicBezTo>
                      <a:pt x="0" y="253"/>
                      <a:pt x="0" y="259"/>
                      <a:pt x="2" y="265"/>
                    </a:cubicBezTo>
                    <a:cubicBezTo>
                      <a:pt x="5" y="274"/>
                      <a:pt x="14" y="283"/>
                      <a:pt x="23" y="287"/>
                    </a:cubicBezTo>
                    <a:cubicBezTo>
                      <a:pt x="78" y="313"/>
                      <a:pt x="256" y="342"/>
                      <a:pt x="331" y="294"/>
                    </a:cubicBezTo>
                    <a:cubicBezTo>
                      <a:pt x="355" y="279"/>
                      <a:pt x="367" y="258"/>
                      <a:pt x="367" y="231"/>
                    </a:cubicBezTo>
                    <a:cubicBezTo>
                      <a:pt x="367" y="162"/>
                      <a:pt x="293" y="153"/>
                      <a:pt x="208" y="143"/>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1" name="Freeform 20"/>
              <p:cNvSpPr>
                <a:spLocks noEditPoints="1"/>
              </p:cNvSpPr>
              <p:nvPr userDrawn="1"/>
            </p:nvSpPr>
            <p:spPr bwMode="auto">
              <a:xfrm>
                <a:off x="3813175" y="1441451"/>
                <a:ext cx="341313" cy="234950"/>
              </a:xfrm>
              <a:custGeom>
                <a:avLst/>
                <a:gdLst/>
                <a:ahLst/>
                <a:cxnLst>
                  <a:cxn ang="0">
                    <a:pos x="286" y="219"/>
                  </a:cxn>
                  <a:cxn ang="0">
                    <a:pos x="222" y="258"/>
                  </a:cxn>
                  <a:cxn ang="0">
                    <a:pos x="103" y="208"/>
                  </a:cxn>
                  <a:cxn ang="0">
                    <a:pos x="163" y="165"/>
                  </a:cxn>
                  <a:cxn ang="0">
                    <a:pos x="163" y="165"/>
                  </a:cxn>
                  <a:cxn ang="0">
                    <a:pos x="287" y="155"/>
                  </a:cxn>
                  <a:cxn ang="0">
                    <a:pos x="286" y="219"/>
                  </a:cxn>
                  <a:cxn ang="0">
                    <a:pos x="282" y="112"/>
                  </a:cxn>
                  <a:cxn ang="0">
                    <a:pos x="143" y="117"/>
                  </a:cxn>
                  <a:cxn ang="0">
                    <a:pos x="0" y="211"/>
                  </a:cxn>
                  <a:cxn ang="0">
                    <a:pos x="35" y="270"/>
                  </a:cxn>
                  <a:cxn ang="0">
                    <a:pos x="186" y="304"/>
                  </a:cxn>
                  <a:cxn ang="0">
                    <a:pos x="287" y="290"/>
                  </a:cxn>
                  <a:cxn ang="0">
                    <a:pos x="335" y="275"/>
                  </a:cxn>
                  <a:cxn ang="0">
                    <a:pos x="398" y="304"/>
                  </a:cxn>
                  <a:cxn ang="0">
                    <a:pos x="395" y="246"/>
                  </a:cxn>
                  <a:cxn ang="0">
                    <a:pos x="388" y="157"/>
                  </a:cxn>
                  <a:cxn ang="0">
                    <a:pos x="312" y="21"/>
                  </a:cxn>
                  <a:cxn ang="0">
                    <a:pos x="186" y="1"/>
                  </a:cxn>
                  <a:cxn ang="0">
                    <a:pos x="34" y="42"/>
                  </a:cxn>
                  <a:cxn ang="0">
                    <a:pos x="55" y="79"/>
                  </a:cxn>
                  <a:cxn ang="0">
                    <a:pos x="195" y="47"/>
                  </a:cxn>
                  <a:cxn ang="0">
                    <a:pos x="282" y="112"/>
                  </a:cxn>
                </a:cxnLst>
                <a:rect l="0" t="0" r="r" b="b"/>
                <a:pathLst>
                  <a:path w="440" h="304">
                    <a:moveTo>
                      <a:pt x="286" y="219"/>
                    </a:moveTo>
                    <a:cubicBezTo>
                      <a:pt x="279" y="241"/>
                      <a:pt x="260" y="258"/>
                      <a:pt x="222" y="258"/>
                    </a:cubicBezTo>
                    <a:cubicBezTo>
                      <a:pt x="164" y="258"/>
                      <a:pt x="103" y="236"/>
                      <a:pt x="103" y="208"/>
                    </a:cubicBezTo>
                    <a:cubicBezTo>
                      <a:pt x="103" y="190"/>
                      <a:pt x="129" y="174"/>
                      <a:pt x="163" y="165"/>
                    </a:cubicBezTo>
                    <a:cubicBezTo>
                      <a:pt x="163" y="165"/>
                      <a:pt x="163" y="165"/>
                      <a:pt x="163" y="165"/>
                    </a:cubicBezTo>
                    <a:cubicBezTo>
                      <a:pt x="163" y="165"/>
                      <a:pt x="221" y="150"/>
                      <a:pt x="287" y="155"/>
                    </a:cubicBezTo>
                    <a:cubicBezTo>
                      <a:pt x="291" y="169"/>
                      <a:pt x="292" y="200"/>
                      <a:pt x="286" y="219"/>
                    </a:cubicBezTo>
                    <a:moveTo>
                      <a:pt x="282" y="112"/>
                    </a:moveTo>
                    <a:cubicBezTo>
                      <a:pt x="265" y="111"/>
                      <a:pt x="189" y="111"/>
                      <a:pt x="143" y="117"/>
                    </a:cubicBezTo>
                    <a:cubicBezTo>
                      <a:pt x="35" y="133"/>
                      <a:pt x="0" y="175"/>
                      <a:pt x="0" y="211"/>
                    </a:cubicBezTo>
                    <a:cubicBezTo>
                      <a:pt x="0" y="233"/>
                      <a:pt x="11" y="256"/>
                      <a:pt x="35" y="270"/>
                    </a:cubicBezTo>
                    <a:cubicBezTo>
                      <a:pt x="67" y="290"/>
                      <a:pt x="120" y="304"/>
                      <a:pt x="186" y="304"/>
                    </a:cubicBezTo>
                    <a:cubicBezTo>
                      <a:pt x="222" y="304"/>
                      <a:pt x="257" y="300"/>
                      <a:pt x="287" y="290"/>
                    </a:cubicBezTo>
                    <a:cubicBezTo>
                      <a:pt x="287" y="290"/>
                      <a:pt x="327" y="275"/>
                      <a:pt x="335" y="275"/>
                    </a:cubicBezTo>
                    <a:cubicBezTo>
                      <a:pt x="360" y="275"/>
                      <a:pt x="354" y="304"/>
                      <a:pt x="398" y="304"/>
                    </a:cubicBezTo>
                    <a:cubicBezTo>
                      <a:pt x="440" y="304"/>
                      <a:pt x="402" y="272"/>
                      <a:pt x="395" y="246"/>
                    </a:cubicBezTo>
                    <a:cubicBezTo>
                      <a:pt x="388" y="218"/>
                      <a:pt x="389" y="173"/>
                      <a:pt x="388" y="157"/>
                    </a:cubicBezTo>
                    <a:cubicBezTo>
                      <a:pt x="385" y="98"/>
                      <a:pt x="366" y="48"/>
                      <a:pt x="312" y="21"/>
                    </a:cubicBezTo>
                    <a:cubicBezTo>
                      <a:pt x="279" y="5"/>
                      <a:pt x="244" y="0"/>
                      <a:pt x="186" y="1"/>
                    </a:cubicBezTo>
                    <a:cubicBezTo>
                      <a:pt x="139" y="2"/>
                      <a:pt x="67" y="22"/>
                      <a:pt x="34" y="42"/>
                    </a:cubicBezTo>
                    <a:cubicBezTo>
                      <a:pt x="6" y="60"/>
                      <a:pt x="26" y="91"/>
                      <a:pt x="55" y="79"/>
                    </a:cubicBezTo>
                    <a:cubicBezTo>
                      <a:pt x="108" y="56"/>
                      <a:pt x="141" y="46"/>
                      <a:pt x="195" y="47"/>
                    </a:cubicBezTo>
                    <a:cubicBezTo>
                      <a:pt x="234" y="48"/>
                      <a:pt x="273" y="57"/>
                      <a:pt x="282" y="112"/>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grpSp>
          <p:nvGrpSpPr>
            <p:cNvPr id="15" name="Group 33"/>
            <p:cNvGrpSpPr/>
            <p:nvPr userDrawn="1"/>
          </p:nvGrpSpPr>
          <p:grpSpPr>
            <a:xfrm>
              <a:off x="3825875" y="2044700"/>
              <a:ext cx="1347788" cy="114300"/>
              <a:chOff x="3825875" y="2044700"/>
              <a:chExt cx="1347788" cy="114300"/>
            </a:xfrm>
          </p:grpSpPr>
          <p:sp>
            <p:nvSpPr>
              <p:cNvPr id="16" name="Freeform 21"/>
              <p:cNvSpPr>
                <a:spLocks noEditPoints="1"/>
              </p:cNvSpPr>
              <p:nvPr userDrawn="1"/>
            </p:nvSpPr>
            <p:spPr bwMode="auto">
              <a:xfrm>
                <a:off x="3825875" y="2044700"/>
                <a:ext cx="1347788" cy="114300"/>
              </a:xfrm>
              <a:custGeom>
                <a:avLst/>
                <a:gdLst/>
                <a:ahLst/>
                <a:cxnLst>
                  <a:cxn ang="0">
                    <a:pos x="1726" y="117"/>
                  </a:cxn>
                  <a:cxn ang="0">
                    <a:pos x="1670" y="43"/>
                  </a:cxn>
                  <a:cxn ang="0">
                    <a:pos x="1648" y="17"/>
                  </a:cxn>
                  <a:cxn ang="0">
                    <a:pos x="1557" y="60"/>
                  </a:cxn>
                  <a:cxn ang="0">
                    <a:pos x="1605" y="92"/>
                  </a:cxn>
                  <a:cxn ang="0">
                    <a:pos x="1547" y="57"/>
                  </a:cxn>
                  <a:cxn ang="0">
                    <a:pos x="1615" y="95"/>
                  </a:cxn>
                  <a:cxn ang="0">
                    <a:pos x="1526" y="5"/>
                  </a:cxn>
                  <a:cxn ang="0">
                    <a:pos x="1448" y="114"/>
                  </a:cxn>
                  <a:cxn ang="0">
                    <a:pos x="1430" y="69"/>
                  </a:cxn>
                  <a:cxn ang="0">
                    <a:pos x="1456" y="44"/>
                  </a:cxn>
                  <a:cxn ang="0">
                    <a:pos x="1411" y="46"/>
                  </a:cxn>
                  <a:cxn ang="0">
                    <a:pos x="1435" y="83"/>
                  </a:cxn>
                  <a:cxn ang="0">
                    <a:pos x="1431" y="111"/>
                  </a:cxn>
                  <a:cxn ang="0">
                    <a:pos x="1369" y="110"/>
                  </a:cxn>
                  <a:cxn ang="0">
                    <a:pos x="1332" y="109"/>
                  </a:cxn>
                  <a:cxn ang="0">
                    <a:pos x="1304" y="5"/>
                  </a:cxn>
                  <a:cxn ang="0">
                    <a:pos x="1261" y="63"/>
                  </a:cxn>
                  <a:cxn ang="0">
                    <a:pos x="1218" y="44"/>
                  </a:cxn>
                  <a:cxn ang="0">
                    <a:pos x="1271" y="60"/>
                  </a:cxn>
                  <a:cxn ang="0">
                    <a:pos x="1218" y="114"/>
                  </a:cxn>
                  <a:cxn ang="0">
                    <a:pos x="1155" y="36"/>
                  </a:cxn>
                  <a:cxn ang="0">
                    <a:pos x="1059" y="43"/>
                  </a:cxn>
                  <a:cxn ang="0">
                    <a:pos x="1060" y="111"/>
                  </a:cxn>
                  <a:cxn ang="0">
                    <a:pos x="1059" y="36"/>
                  </a:cxn>
                  <a:cxn ang="0">
                    <a:pos x="1060" y="118"/>
                  </a:cxn>
                  <a:cxn ang="0">
                    <a:pos x="1007" y="5"/>
                  </a:cxn>
                  <a:cxn ang="0">
                    <a:pos x="930" y="107"/>
                  </a:cxn>
                  <a:cxn ang="0">
                    <a:pos x="930" y="107"/>
                  </a:cxn>
                  <a:cxn ang="0">
                    <a:pos x="885" y="78"/>
                  </a:cxn>
                  <a:cxn ang="0">
                    <a:pos x="913" y="36"/>
                  </a:cxn>
                  <a:cxn ang="0">
                    <a:pos x="842" y="34"/>
                  </a:cxn>
                  <a:cxn ang="0">
                    <a:pos x="768" y="61"/>
                  </a:cxn>
                  <a:cxn ang="0">
                    <a:pos x="801" y="37"/>
                  </a:cxn>
                  <a:cxn ang="0">
                    <a:pos x="778" y="116"/>
                  </a:cxn>
                  <a:cxn ang="0">
                    <a:pos x="643" y="117"/>
                  </a:cxn>
                  <a:cxn ang="0">
                    <a:pos x="700" y="75"/>
                  </a:cxn>
                  <a:cxn ang="0">
                    <a:pos x="564" y="109"/>
                  </a:cxn>
                  <a:cxn ang="0">
                    <a:pos x="588" y="45"/>
                  </a:cxn>
                  <a:cxn ang="0">
                    <a:pos x="564" y="109"/>
                  </a:cxn>
                  <a:cxn ang="0">
                    <a:pos x="559" y="116"/>
                  </a:cxn>
                  <a:cxn ang="0">
                    <a:pos x="592" y="38"/>
                  </a:cxn>
                  <a:cxn ang="0">
                    <a:pos x="522" y="17"/>
                  </a:cxn>
                  <a:cxn ang="0">
                    <a:pos x="467" y="45"/>
                  </a:cxn>
                  <a:cxn ang="0">
                    <a:pos x="496" y="110"/>
                  </a:cxn>
                  <a:cxn ang="0">
                    <a:pos x="477" y="45"/>
                  </a:cxn>
                  <a:cxn ang="0">
                    <a:pos x="440" y="37"/>
                  </a:cxn>
                  <a:cxn ang="0">
                    <a:pos x="353" y="47"/>
                  </a:cxn>
                  <a:cxn ang="0">
                    <a:pos x="392" y="102"/>
                  </a:cxn>
                  <a:cxn ang="0">
                    <a:pos x="354" y="118"/>
                  </a:cxn>
                  <a:cxn ang="0">
                    <a:pos x="392" y="38"/>
                  </a:cxn>
                  <a:cxn ang="0">
                    <a:pos x="212" y="47"/>
                  </a:cxn>
                  <a:cxn ang="0">
                    <a:pos x="267" y="117"/>
                  </a:cxn>
                  <a:cxn ang="0">
                    <a:pos x="309" y="60"/>
                  </a:cxn>
                  <a:cxn ang="0">
                    <a:pos x="289" y="36"/>
                  </a:cxn>
                  <a:cxn ang="0">
                    <a:pos x="201" y="117"/>
                  </a:cxn>
                  <a:cxn ang="0">
                    <a:pos x="169" y="76"/>
                  </a:cxn>
                  <a:cxn ang="0">
                    <a:pos x="143" y="71"/>
                  </a:cxn>
                  <a:cxn ang="0">
                    <a:pos x="173" y="42"/>
                  </a:cxn>
                  <a:cxn ang="0">
                    <a:pos x="89" y="0"/>
                  </a:cxn>
                  <a:cxn ang="0">
                    <a:pos x="70" y="117"/>
                  </a:cxn>
                </a:cxnLst>
                <a:rect l="0" t="0" r="r" b="b"/>
                <a:pathLst>
                  <a:path w="1737" h="148">
                    <a:moveTo>
                      <a:pt x="1670" y="117"/>
                    </a:moveTo>
                    <a:cubicBezTo>
                      <a:pt x="1680" y="117"/>
                      <a:pt x="1680" y="117"/>
                      <a:pt x="1680" y="117"/>
                    </a:cubicBezTo>
                    <a:cubicBezTo>
                      <a:pt x="1680" y="47"/>
                      <a:pt x="1680" y="47"/>
                      <a:pt x="1680" y="47"/>
                    </a:cubicBezTo>
                    <a:cubicBezTo>
                      <a:pt x="1683" y="46"/>
                      <a:pt x="1686" y="45"/>
                      <a:pt x="1690" y="44"/>
                    </a:cubicBezTo>
                    <a:cubicBezTo>
                      <a:pt x="1694" y="43"/>
                      <a:pt x="1698" y="43"/>
                      <a:pt x="1703" y="43"/>
                    </a:cubicBezTo>
                    <a:cubicBezTo>
                      <a:pt x="1712" y="43"/>
                      <a:pt x="1718" y="45"/>
                      <a:pt x="1721" y="51"/>
                    </a:cubicBezTo>
                    <a:cubicBezTo>
                      <a:pt x="1725" y="56"/>
                      <a:pt x="1726" y="64"/>
                      <a:pt x="1726" y="75"/>
                    </a:cubicBezTo>
                    <a:cubicBezTo>
                      <a:pt x="1726" y="117"/>
                      <a:pt x="1726" y="117"/>
                      <a:pt x="1726" y="117"/>
                    </a:cubicBezTo>
                    <a:cubicBezTo>
                      <a:pt x="1737" y="117"/>
                      <a:pt x="1737" y="117"/>
                      <a:pt x="1737" y="117"/>
                    </a:cubicBezTo>
                    <a:cubicBezTo>
                      <a:pt x="1737" y="75"/>
                      <a:pt x="1737" y="75"/>
                      <a:pt x="1737" y="75"/>
                    </a:cubicBezTo>
                    <a:cubicBezTo>
                      <a:pt x="1737" y="69"/>
                      <a:pt x="1737" y="63"/>
                      <a:pt x="1736" y="58"/>
                    </a:cubicBezTo>
                    <a:cubicBezTo>
                      <a:pt x="1734" y="53"/>
                      <a:pt x="1732" y="49"/>
                      <a:pt x="1730" y="45"/>
                    </a:cubicBezTo>
                    <a:cubicBezTo>
                      <a:pt x="1727" y="42"/>
                      <a:pt x="1723" y="40"/>
                      <a:pt x="1719" y="38"/>
                    </a:cubicBezTo>
                    <a:cubicBezTo>
                      <a:pt x="1715" y="37"/>
                      <a:pt x="1709" y="36"/>
                      <a:pt x="1703" y="36"/>
                    </a:cubicBezTo>
                    <a:cubicBezTo>
                      <a:pt x="1697" y="36"/>
                      <a:pt x="1692" y="36"/>
                      <a:pt x="1686" y="37"/>
                    </a:cubicBezTo>
                    <a:cubicBezTo>
                      <a:pt x="1681" y="39"/>
                      <a:pt x="1676" y="40"/>
                      <a:pt x="1670" y="43"/>
                    </a:cubicBezTo>
                    <a:lnTo>
                      <a:pt x="1670" y="117"/>
                    </a:lnTo>
                    <a:close/>
                    <a:moveTo>
                      <a:pt x="1637" y="117"/>
                    </a:moveTo>
                    <a:cubicBezTo>
                      <a:pt x="1648" y="117"/>
                      <a:pt x="1648" y="117"/>
                      <a:pt x="1648" y="117"/>
                    </a:cubicBezTo>
                    <a:cubicBezTo>
                      <a:pt x="1648" y="37"/>
                      <a:pt x="1648" y="37"/>
                      <a:pt x="1648" y="37"/>
                    </a:cubicBezTo>
                    <a:cubicBezTo>
                      <a:pt x="1637" y="37"/>
                      <a:pt x="1637" y="37"/>
                      <a:pt x="1637" y="37"/>
                    </a:cubicBezTo>
                    <a:lnTo>
                      <a:pt x="1637" y="117"/>
                    </a:lnTo>
                    <a:close/>
                    <a:moveTo>
                      <a:pt x="1637" y="17"/>
                    </a:moveTo>
                    <a:cubicBezTo>
                      <a:pt x="1648" y="17"/>
                      <a:pt x="1648" y="17"/>
                      <a:pt x="1648" y="17"/>
                    </a:cubicBezTo>
                    <a:cubicBezTo>
                      <a:pt x="1648" y="6"/>
                      <a:pt x="1648" y="6"/>
                      <a:pt x="1648" y="6"/>
                    </a:cubicBezTo>
                    <a:cubicBezTo>
                      <a:pt x="1637" y="6"/>
                      <a:pt x="1637" y="6"/>
                      <a:pt x="1637" y="6"/>
                    </a:cubicBezTo>
                    <a:lnTo>
                      <a:pt x="1637" y="17"/>
                    </a:lnTo>
                    <a:close/>
                    <a:moveTo>
                      <a:pt x="1568" y="109"/>
                    </a:moveTo>
                    <a:cubicBezTo>
                      <a:pt x="1565" y="108"/>
                      <a:pt x="1562" y="106"/>
                      <a:pt x="1560" y="103"/>
                    </a:cubicBezTo>
                    <a:cubicBezTo>
                      <a:pt x="1558" y="100"/>
                      <a:pt x="1557" y="97"/>
                      <a:pt x="1556" y="92"/>
                    </a:cubicBezTo>
                    <a:cubicBezTo>
                      <a:pt x="1556" y="88"/>
                      <a:pt x="1556" y="82"/>
                      <a:pt x="1556" y="76"/>
                    </a:cubicBezTo>
                    <a:cubicBezTo>
                      <a:pt x="1556" y="69"/>
                      <a:pt x="1556" y="64"/>
                      <a:pt x="1557" y="60"/>
                    </a:cubicBezTo>
                    <a:cubicBezTo>
                      <a:pt x="1558" y="56"/>
                      <a:pt x="1559" y="52"/>
                      <a:pt x="1561" y="50"/>
                    </a:cubicBezTo>
                    <a:cubicBezTo>
                      <a:pt x="1563" y="47"/>
                      <a:pt x="1566" y="46"/>
                      <a:pt x="1569" y="45"/>
                    </a:cubicBezTo>
                    <a:cubicBezTo>
                      <a:pt x="1572" y="44"/>
                      <a:pt x="1576" y="43"/>
                      <a:pt x="1581" y="43"/>
                    </a:cubicBezTo>
                    <a:cubicBezTo>
                      <a:pt x="1585" y="43"/>
                      <a:pt x="1588" y="44"/>
                      <a:pt x="1592" y="45"/>
                    </a:cubicBezTo>
                    <a:cubicBezTo>
                      <a:pt x="1595" y="46"/>
                      <a:pt x="1597" y="48"/>
                      <a:pt x="1599" y="50"/>
                    </a:cubicBezTo>
                    <a:cubicBezTo>
                      <a:pt x="1602" y="53"/>
                      <a:pt x="1603" y="56"/>
                      <a:pt x="1604" y="61"/>
                    </a:cubicBezTo>
                    <a:cubicBezTo>
                      <a:pt x="1605" y="65"/>
                      <a:pt x="1606" y="70"/>
                      <a:pt x="1606" y="76"/>
                    </a:cubicBezTo>
                    <a:cubicBezTo>
                      <a:pt x="1606" y="82"/>
                      <a:pt x="1606" y="87"/>
                      <a:pt x="1605" y="92"/>
                    </a:cubicBezTo>
                    <a:cubicBezTo>
                      <a:pt x="1605" y="96"/>
                      <a:pt x="1603" y="100"/>
                      <a:pt x="1602" y="103"/>
                    </a:cubicBezTo>
                    <a:cubicBezTo>
                      <a:pt x="1600" y="106"/>
                      <a:pt x="1597" y="108"/>
                      <a:pt x="1594" y="109"/>
                    </a:cubicBezTo>
                    <a:cubicBezTo>
                      <a:pt x="1591" y="110"/>
                      <a:pt x="1587" y="111"/>
                      <a:pt x="1581" y="111"/>
                    </a:cubicBezTo>
                    <a:cubicBezTo>
                      <a:pt x="1576" y="111"/>
                      <a:pt x="1571" y="111"/>
                      <a:pt x="1568" y="109"/>
                    </a:cubicBezTo>
                    <a:moveTo>
                      <a:pt x="1581" y="36"/>
                    </a:moveTo>
                    <a:cubicBezTo>
                      <a:pt x="1575" y="36"/>
                      <a:pt x="1569" y="36"/>
                      <a:pt x="1565" y="38"/>
                    </a:cubicBezTo>
                    <a:cubicBezTo>
                      <a:pt x="1560" y="39"/>
                      <a:pt x="1557" y="41"/>
                      <a:pt x="1554" y="45"/>
                    </a:cubicBezTo>
                    <a:cubicBezTo>
                      <a:pt x="1551" y="48"/>
                      <a:pt x="1548" y="52"/>
                      <a:pt x="1547" y="57"/>
                    </a:cubicBezTo>
                    <a:cubicBezTo>
                      <a:pt x="1546" y="62"/>
                      <a:pt x="1545" y="68"/>
                      <a:pt x="1545" y="75"/>
                    </a:cubicBezTo>
                    <a:cubicBezTo>
                      <a:pt x="1545" y="83"/>
                      <a:pt x="1545" y="90"/>
                      <a:pt x="1547" y="95"/>
                    </a:cubicBezTo>
                    <a:cubicBezTo>
                      <a:pt x="1548" y="101"/>
                      <a:pt x="1550" y="105"/>
                      <a:pt x="1552" y="109"/>
                    </a:cubicBezTo>
                    <a:cubicBezTo>
                      <a:pt x="1555" y="112"/>
                      <a:pt x="1559" y="114"/>
                      <a:pt x="1563" y="116"/>
                    </a:cubicBezTo>
                    <a:cubicBezTo>
                      <a:pt x="1568" y="118"/>
                      <a:pt x="1574" y="118"/>
                      <a:pt x="1581" y="118"/>
                    </a:cubicBezTo>
                    <a:cubicBezTo>
                      <a:pt x="1588" y="118"/>
                      <a:pt x="1594" y="117"/>
                      <a:pt x="1599" y="116"/>
                    </a:cubicBezTo>
                    <a:cubicBezTo>
                      <a:pt x="1603" y="114"/>
                      <a:pt x="1607" y="111"/>
                      <a:pt x="1610" y="108"/>
                    </a:cubicBezTo>
                    <a:cubicBezTo>
                      <a:pt x="1612" y="104"/>
                      <a:pt x="1614" y="100"/>
                      <a:pt x="1615" y="95"/>
                    </a:cubicBezTo>
                    <a:cubicBezTo>
                      <a:pt x="1616" y="89"/>
                      <a:pt x="1617" y="83"/>
                      <a:pt x="1617" y="76"/>
                    </a:cubicBezTo>
                    <a:cubicBezTo>
                      <a:pt x="1617" y="69"/>
                      <a:pt x="1616" y="63"/>
                      <a:pt x="1614" y="57"/>
                    </a:cubicBezTo>
                    <a:cubicBezTo>
                      <a:pt x="1613" y="52"/>
                      <a:pt x="1610" y="48"/>
                      <a:pt x="1607" y="45"/>
                    </a:cubicBezTo>
                    <a:cubicBezTo>
                      <a:pt x="1604" y="42"/>
                      <a:pt x="1601" y="40"/>
                      <a:pt x="1596" y="38"/>
                    </a:cubicBezTo>
                    <a:cubicBezTo>
                      <a:pt x="1592" y="37"/>
                      <a:pt x="1587" y="36"/>
                      <a:pt x="1581" y="36"/>
                    </a:cubicBezTo>
                    <a:close/>
                    <a:moveTo>
                      <a:pt x="1516" y="117"/>
                    </a:moveTo>
                    <a:cubicBezTo>
                      <a:pt x="1526" y="117"/>
                      <a:pt x="1526" y="117"/>
                      <a:pt x="1526" y="117"/>
                    </a:cubicBezTo>
                    <a:cubicBezTo>
                      <a:pt x="1526" y="5"/>
                      <a:pt x="1526" y="5"/>
                      <a:pt x="1526" y="5"/>
                    </a:cubicBezTo>
                    <a:cubicBezTo>
                      <a:pt x="1516" y="5"/>
                      <a:pt x="1516" y="5"/>
                      <a:pt x="1516" y="5"/>
                    </a:cubicBezTo>
                    <a:lnTo>
                      <a:pt x="1516" y="117"/>
                    </a:lnTo>
                    <a:close/>
                    <a:moveTo>
                      <a:pt x="1408" y="115"/>
                    </a:moveTo>
                    <a:cubicBezTo>
                      <a:pt x="1412" y="116"/>
                      <a:pt x="1415" y="116"/>
                      <a:pt x="1419" y="117"/>
                    </a:cubicBezTo>
                    <a:cubicBezTo>
                      <a:pt x="1422" y="117"/>
                      <a:pt x="1426" y="117"/>
                      <a:pt x="1429" y="117"/>
                    </a:cubicBezTo>
                    <a:cubicBezTo>
                      <a:pt x="1432" y="117"/>
                      <a:pt x="1432" y="117"/>
                      <a:pt x="1432" y="117"/>
                    </a:cubicBezTo>
                    <a:cubicBezTo>
                      <a:pt x="1434" y="117"/>
                      <a:pt x="1437" y="117"/>
                      <a:pt x="1440" y="117"/>
                    </a:cubicBezTo>
                    <a:cubicBezTo>
                      <a:pt x="1443" y="116"/>
                      <a:pt x="1446" y="115"/>
                      <a:pt x="1448" y="114"/>
                    </a:cubicBezTo>
                    <a:cubicBezTo>
                      <a:pt x="1451" y="113"/>
                      <a:pt x="1453" y="111"/>
                      <a:pt x="1455" y="108"/>
                    </a:cubicBezTo>
                    <a:cubicBezTo>
                      <a:pt x="1457" y="106"/>
                      <a:pt x="1457" y="102"/>
                      <a:pt x="1457" y="98"/>
                    </a:cubicBezTo>
                    <a:cubicBezTo>
                      <a:pt x="1457" y="96"/>
                      <a:pt x="1457" y="94"/>
                      <a:pt x="1456" y="91"/>
                    </a:cubicBezTo>
                    <a:cubicBezTo>
                      <a:pt x="1455" y="88"/>
                      <a:pt x="1453" y="85"/>
                      <a:pt x="1450" y="83"/>
                    </a:cubicBezTo>
                    <a:cubicBezTo>
                      <a:pt x="1449" y="82"/>
                      <a:pt x="1448" y="81"/>
                      <a:pt x="1447" y="80"/>
                    </a:cubicBezTo>
                    <a:cubicBezTo>
                      <a:pt x="1445" y="79"/>
                      <a:pt x="1444" y="78"/>
                      <a:pt x="1442" y="77"/>
                    </a:cubicBezTo>
                    <a:cubicBezTo>
                      <a:pt x="1440" y="76"/>
                      <a:pt x="1438" y="74"/>
                      <a:pt x="1436" y="73"/>
                    </a:cubicBezTo>
                    <a:cubicBezTo>
                      <a:pt x="1434" y="72"/>
                      <a:pt x="1432" y="70"/>
                      <a:pt x="1430" y="69"/>
                    </a:cubicBezTo>
                    <a:cubicBezTo>
                      <a:pt x="1426" y="67"/>
                      <a:pt x="1424" y="64"/>
                      <a:pt x="1422" y="62"/>
                    </a:cubicBezTo>
                    <a:cubicBezTo>
                      <a:pt x="1421" y="61"/>
                      <a:pt x="1420" y="58"/>
                      <a:pt x="1420" y="55"/>
                    </a:cubicBezTo>
                    <a:cubicBezTo>
                      <a:pt x="1420" y="53"/>
                      <a:pt x="1420" y="53"/>
                      <a:pt x="1420" y="53"/>
                    </a:cubicBezTo>
                    <a:cubicBezTo>
                      <a:pt x="1420" y="50"/>
                      <a:pt x="1422" y="48"/>
                      <a:pt x="1424" y="46"/>
                    </a:cubicBezTo>
                    <a:cubicBezTo>
                      <a:pt x="1426" y="44"/>
                      <a:pt x="1430" y="43"/>
                      <a:pt x="1435" y="43"/>
                    </a:cubicBezTo>
                    <a:cubicBezTo>
                      <a:pt x="1438" y="43"/>
                      <a:pt x="1438" y="43"/>
                      <a:pt x="1438" y="43"/>
                    </a:cubicBezTo>
                    <a:cubicBezTo>
                      <a:pt x="1441" y="43"/>
                      <a:pt x="1444" y="43"/>
                      <a:pt x="1446" y="43"/>
                    </a:cubicBezTo>
                    <a:cubicBezTo>
                      <a:pt x="1449" y="43"/>
                      <a:pt x="1452" y="44"/>
                      <a:pt x="1456" y="44"/>
                    </a:cubicBezTo>
                    <a:cubicBezTo>
                      <a:pt x="1457" y="37"/>
                      <a:pt x="1457" y="37"/>
                      <a:pt x="1457" y="37"/>
                    </a:cubicBezTo>
                    <a:cubicBezTo>
                      <a:pt x="1455" y="37"/>
                      <a:pt x="1453" y="37"/>
                      <a:pt x="1451" y="37"/>
                    </a:cubicBezTo>
                    <a:cubicBezTo>
                      <a:pt x="1449" y="36"/>
                      <a:pt x="1448" y="36"/>
                      <a:pt x="1446" y="36"/>
                    </a:cubicBezTo>
                    <a:cubicBezTo>
                      <a:pt x="1444" y="36"/>
                      <a:pt x="1443" y="36"/>
                      <a:pt x="1441" y="36"/>
                    </a:cubicBezTo>
                    <a:cubicBezTo>
                      <a:pt x="1439" y="36"/>
                      <a:pt x="1437" y="36"/>
                      <a:pt x="1435" y="36"/>
                    </a:cubicBezTo>
                    <a:cubicBezTo>
                      <a:pt x="1431" y="36"/>
                      <a:pt x="1427" y="36"/>
                      <a:pt x="1424" y="37"/>
                    </a:cubicBezTo>
                    <a:cubicBezTo>
                      <a:pt x="1421" y="38"/>
                      <a:pt x="1418" y="39"/>
                      <a:pt x="1416" y="41"/>
                    </a:cubicBezTo>
                    <a:cubicBezTo>
                      <a:pt x="1414" y="42"/>
                      <a:pt x="1412" y="44"/>
                      <a:pt x="1411" y="46"/>
                    </a:cubicBezTo>
                    <a:cubicBezTo>
                      <a:pt x="1410" y="48"/>
                      <a:pt x="1410" y="50"/>
                      <a:pt x="1410" y="52"/>
                    </a:cubicBezTo>
                    <a:cubicBezTo>
                      <a:pt x="1410" y="55"/>
                      <a:pt x="1410" y="55"/>
                      <a:pt x="1410" y="55"/>
                    </a:cubicBezTo>
                    <a:cubicBezTo>
                      <a:pt x="1410" y="57"/>
                      <a:pt x="1410" y="59"/>
                      <a:pt x="1410" y="61"/>
                    </a:cubicBezTo>
                    <a:cubicBezTo>
                      <a:pt x="1411" y="63"/>
                      <a:pt x="1412" y="65"/>
                      <a:pt x="1413" y="66"/>
                    </a:cubicBezTo>
                    <a:cubicBezTo>
                      <a:pt x="1414" y="68"/>
                      <a:pt x="1416" y="70"/>
                      <a:pt x="1417" y="71"/>
                    </a:cubicBezTo>
                    <a:cubicBezTo>
                      <a:pt x="1419" y="72"/>
                      <a:pt x="1421" y="74"/>
                      <a:pt x="1424" y="75"/>
                    </a:cubicBezTo>
                    <a:cubicBezTo>
                      <a:pt x="1425" y="77"/>
                      <a:pt x="1427" y="78"/>
                      <a:pt x="1429" y="79"/>
                    </a:cubicBezTo>
                    <a:cubicBezTo>
                      <a:pt x="1431" y="80"/>
                      <a:pt x="1433" y="82"/>
                      <a:pt x="1435" y="83"/>
                    </a:cubicBezTo>
                    <a:cubicBezTo>
                      <a:pt x="1436" y="84"/>
                      <a:pt x="1438" y="85"/>
                      <a:pt x="1439" y="86"/>
                    </a:cubicBezTo>
                    <a:cubicBezTo>
                      <a:pt x="1440" y="87"/>
                      <a:pt x="1441" y="88"/>
                      <a:pt x="1442" y="89"/>
                    </a:cubicBezTo>
                    <a:cubicBezTo>
                      <a:pt x="1444" y="90"/>
                      <a:pt x="1445" y="92"/>
                      <a:pt x="1446" y="94"/>
                    </a:cubicBezTo>
                    <a:cubicBezTo>
                      <a:pt x="1446" y="95"/>
                      <a:pt x="1447" y="97"/>
                      <a:pt x="1447" y="99"/>
                    </a:cubicBezTo>
                    <a:cubicBezTo>
                      <a:pt x="1447" y="101"/>
                      <a:pt x="1446" y="103"/>
                      <a:pt x="1446" y="105"/>
                    </a:cubicBezTo>
                    <a:cubicBezTo>
                      <a:pt x="1445" y="107"/>
                      <a:pt x="1444" y="108"/>
                      <a:pt x="1442" y="109"/>
                    </a:cubicBezTo>
                    <a:cubicBezTo>
                      <a:pt x="1441" y="109"/>
                      <a:pt x="1439" y="110"/>
                      <a:pt x="1437" y="110"/>
                    </a:cubicBezTo>
                    <a:cubicBezTo>
                      <a:pt x="1435" y="111"/>
                      <a:pt x="1433" y="111"/>
                      <a:pt x="1431" y="111"/>
                    </a:cubicBezTo>
                    <a:cubicBezTo>
                      <a:pt x="1428" y="111"/>
                      <a:pt x="1428" y="111"/>
                      <a:pt x="1428" y="111"/>
                    </a:cubicBezTo>
                    <a:cubicBezTo>
                      <a:pt x="1426" y="111"/>
                      <a:pt x="1423" y="111"/>
                      <a:pt x="1420" y="110"/>
                    </a:cubicBezTo>
                    <a:cubicBezTo>
                      <a:pt x="1417" y="110"/>
                      <a:pt x="1413" y="109"/>
                      <a:pt x="1409" y="109"/>
                    </a:cubicBezTo>
                    <a:lnTo>
                      <a:pt x="1408" y="115"/>
                    </a:lnTo>
                    <a:close/>
                    <a:moveTo>
                      <a:pt x="1390" y="37"/>
                    </a:moveTo>
                    <a:cubicBezTo>
                      <a:pt x="1379" y="37"/>
                      <a:pt x="1379" y="37"/>
                      <a:pt x="1379" y="37"/>
                    </a:cubicBezTo>
                    <a:cubicBezTo>
                      <a:pt x="1379" y="107"/>
                      <a:pt x="1379" y="107"/>
                      <a:pt x="1379" y="107"/>
                    </a:cubicBezTo>
                    <a:cubicBezTo>
                      <a:pt x="1376" y="108"/>
                      <a:pt x="1373" y="109"/>
                      <a:pt x="1369" y="110"/>
                    </a:cubicBezTo>
                    <a:cubicBezTo>
                      <a:pt x="1366" y="111"/>
                      <a:pt x="1362" y="111"/>
                      <a:pt x="1359" y="111"/>
                    </a:cubicBezTo>
                    <a:cubicBezTo>
                      <a:pt x="1350" y="111"/>
                      <a:pt x="1344" y="109"/>
                      <a:pt x="1340" y="104"/>
                    </a:cubicBezTo>
                    <a:cubicBezTo>
                      <a:pt x="1337" y="99"/>
                      <a:pt x="1335" y="90"/>
                      <a:pt x="1335" y="79"/>
                    </a:cubicBezTo>
                    <a:cubicBezTo>
                      <a:pt x="1335" y="38"/>
                      <a:pt x="1335" y="38"/>
                      <a:pt x="1335" y="38"/>
                    </a:cubicBezTo>
                    <a:cubicBezTo>
                      <a:pt x="1324" y="38"/>
                      <a:pt x="1324" y="38"/>
                      <a:pt x="1324" y="38"/>
                    </a:cubicBezTo>
                    <a:cubicBezTo>
                      <a:pt x="1324" y="79"/>
                      <a:pt x="1324" y="79"/>
                      <a:pt x="1324" y="79"/>
                    </a:cubicBezTo>
                    <a:cubicBezTo>
                      <a:pt x="1324" y="86"/>
                      <a:pt x="1325" y="92"/>
                      <a:pt x="1326" y="97"/>
                    </a:cubicBezTo>
                    <a:cubicBezTo>
                      <a:pt x="1327" y="102"/>
                      <a:pt x="1329" y="106"/>
                      <a:pt x="1332" y="109"/>
                    </a:cubicBezTo>
                    <a:cubicBezTo>
                      <a:pt x="1335" y="112"/>
                      <a:pt x="1338" y="114"/>
                      <a:pt x="1343" y="116"/>
                    </a:cubicBezTo>
                    <a:cubicBezTo>
                      <a:pt x="1347" y="118"/>
                      <a:pt x="1352" y="118"/>
                      <a:pt x="1359" y="118"/>
                    </a:cubicBezTo>
                    <a:cubicBezTo>
                      <a:pt x="1363" y="118"/>
                      <a:pt x="1368" y="118"/>
                      <a:pt x="1373" y="117"/>
                    </a:cubicBezTo>
                    <a:cubicBezTo>
                      <a:pt x="1378" y="116"/>
                      <a:pt x="1384" y="114"/>
                      <a:pt x="1390" y="112"/>
                    </a:cubicBezTo>
                    <a:lnTo>
                      <a:pt x="1390" y="37"/>
                    </a:lnTo>
                    <a:close/>
                    <a:moveTo>
                      <a:pt x="1293" y="117"/>
                    </a:moveTo>
                    <a:cubicBezTo>
                      <a:pt x="1304" y="117"/>
                      <a:pt x="1304" y="117"/>
                      <a:pt x="1304" y="117"/>
                    </a:cubicBezTo>
                    <a:cubicBezTo>
                      <a:pt x="1304" y="5"/>
                      <a:pt x="1304" y="5"/>
                      <a:pt x="1304" y="5"/>
                    </a:cubicBezTo>
                    <a:cubicBezTo>
                      <a:pt x="1293" y="5"/>
                      <a:pt x="1293" y="5"/>
                      <a:pt x="1293" y="5"/>
                    </a:cubicBezTo>
                    <a:lnTo>
                      <a:pt x="1293" y="117"/>
                    </a:lnTo>
                    <a:close/>
                    <a:moveTo>
                      <a:pt x="1218" y="44"/>
                    </a:moveTo>
                    <a:cubicBezTo>
                      <a:pt x="1220" y="43"/>
                      <a:pt x="1222" y="43"/>
                      <a:pt x="1225" y="43"/>
                    </a:cubicBezTo>
                    <a:cubicBezTo>
                      <a:pt x="1228" y="43"/>
                      <a:pt x="1230" y="43"/>
                      <a:pt x="1232" y="43"/>
                    </a:cubicBezTo>
                    <a:cubicBezTo>
                      <a:pt x="1238" y="43"/>
                      <a:pt x="1243" y="44"/>
                      <a:pt x="1247" y="45"/>
                    </a:cubicBezTo>
                    <a:cubicBezTo>
                      <a:pt x="1251" y="47"/>
                      <a:pt x="1254" y="49"/>
                      <a:pt x="1257" y="52"/>
                    </a:cubicBezTo>
                    <a:cubicBezTo>
                      <a:pt x="1259" y="55"/>
                      <a:pt x="1260" y="58"/>
                      <a:pt x="1261" y="63"/>
                    </a:cubicBezTo>
                    <a:cubicBezTo>
                      <a:pt x="1262" y="67"/>
                      <a:pt x="1262" y="72"/>
                      <a:pt x="1262" y="78"/>
                    </a:cubicBezTo>
                    <a:cubicBezTo>
                      <a:pt x="1262" y="84"/>
                      <a:pt x="1262" y="89"/>
                      <a:pt x="1261" y="93"/>
                    </a:cubicBezTo>
                    <a:cubicBezTo>
                      <a:pt x="1260" y="97"/>
                      <a:pt x="1259" y="101"/>
                      <a:pt x="1258" y="103"/>
                    </a:cubicBezTo>
                    <a:cubicBezTo>
                      <a:pt x="1256" y="106"/>
                      <a:pt x="1254" y="108"/>
                      <a:pt x="1251" y="109"/>
                    </a:cubicBezTo>
                    <a:cubicBezTo>
                      <a:pt x="1249" y="110"/>
                      <a:pt x="1245" y="111"/>
                      <a:pt x="1241" y="111"/>
                    </a:cubicBezTo>
                    <a:cubicBezTo>
                      <a:pt x="1236" y="111"/>
                      <a:pt x="1232" y="111"/>
                      <a:pt x="1228" y="110"/>
                    </a:cubicBezTo>
                    <a:cubicBezTo>
                      <a:pt x="1224" y="109"/>
                      <a:pt x="1220" y="108"/>
                      <a:pt x="1218" y="107"/>
                    </a:cubicBezTo>
                    <a:lnTo>
                      <a:pt x="1218" y="44"/>
                    </a:lnTo>
                    <a:close/>
                    <a:moveTo>
                      <a:pt x="1218" y="114"/>
                    </a:moveTo>
                    <a:cubicBezTo>
                      <a:pt x="1220" y="115"/>
                      <a:pt x="1224" y="116"/>
                      <a:pt x="1228" y="117"/>
                    </a:cubicBezTo>
                    <a:cubicBezTo>
                      <a:pt x="1232" y="118"/>
                      <a:pt x="1236" y="118"/>
                      <a:pt x="1241" y="118"/>
                    </a:cubicBezTo>
                    <a:cubicBezTo>
                      <a:pt x="1247" y="118"/>
                      <a:pt x="1252" y="117"/>
                      <a:pt x="1256" y="116"/>
                    </a:cubicBezTo>
                    <a:cubicBezTo>
                      <a:pt x="1260" y="114"/>
                      <a:pt x="1264" y="112"/>
                      <a:pt x="1266" y="108"/>
                    </a:cubicBezTo>
                    <a:cubicBezTo>
                      <a:pt x="1268" y="105"/>
                      <a:pt x="1270" y="101"/>
                      <a:pt x="1271" y="96"/>
                    </a:cubicBezTo>
                    <a:cubicBezTo>
                      <a:pt x="1272" y="91"/>
                      <a:pt x="1273" y="85"/>
                      <a:pt x="1273" y="79"/>
                    </a:cubicBezTo>
                    <a:cubicBezTo>
                      <a:pt x="1273" y="71"/>
                      <a:pt x="1272" y="65"/>
                      <a:pt x="1271" y="60"/>
                    </a:cubicBezTo>
                    <a:cubicBezTo>
                      <a:pt x="1270" y="54"/>
                      <a:pt x="1267" y="50"/>
                      <a:pt x="1264" y="46"/>
                    </a:cubicBezTo>
                    <a:cubicBezTo>
                      <a:pt x="1261" y="43"/>
                      <a:pt x="1257" y="40"/>
                      <a:pt x="1251" y="38"/>
                    </a:cubicBezTo>
                    <a:cubicBezTo>
                      <a:pt x="1246" y="37"/>
                      <a:pt x="1239" y="36"/>
                      <a:pt x="1230" y="36"/>
                    </a:cubicBezTo>
                    <a:cubicBezTo>
                      <a:pt x="1226" y="36"/>
                      <a:pt x="1222" y="36"/>
                      <a:pt x="1219" y="36"/>
                    </a:cubicBezTo>
                    <a:cubicBezTo>
                      <a:pt x="1215" y="36"/>
                      <a:pt x="1211" y="37"/>
                      <a:pt x="1207" y="37"/>
                    </a:cubicBezTo>
                    <a:cubicBezTo>
                      <a:pt x="1207" y="148"/>
                      <a:pt x="1207" y="148"/>
                      <a:pt x="1207" y="148"/>
                    </a:cubicBezTo>
                    <a:cubicBezTo>
                      <a:pt x="1218" y="148"/>
                      <a:pt x="1218" y="148"/>
                      <a:pt x="1218" y="148"/>
                    </a:cubicBezTo>
                    <a:lnTo>
                      <a:pt x="1218" y="114"/>
                    </a:lnTo>
                    <a:close/>
                    <a:moveTo>
                      <a:pt x="1113" y="117"/>
                    </a:moveTo>
                    <a:cubicBezTo>
                      <a:pt x="1124" y="117"/>
                      <a:pt x="1124" y="117"/>
                      <a:pt x="1124" y="117"/>
                    </a:cubicBezTo>
                    <a:cubicBezTo>
                      <a:pt x="1124" y="47"/>
                      <a:pt x="1124" y="47"/>
                      <a:pt x="1124" y="47"/>
                    </a:cubicBezTo>
                    <a:cubicBezTo>
                      <a:pt x="1126" y="46"/>
                      <a:pt x="1130" y="45"/>
                      <a:pt x="1134" y="44"/>
                    </a:cubicBezTo>
                    <a:cubicBezTo>
                      <a:pt x="1138" y="43"/>
                      <a:pt x="1142" y="43"/>
                      <a:pt x="1146" y="43"/>
                    </a:cubicBezTo>
                    <a:cubicBezTo>
                      <a:pt x="1147" y="43"/>
                      <a:pt x="1149" y="43"/>
                      <a:pt x="1150" y="43"/>
                    </a:cubicBezTo>
                    <a:cubicBezTo>
                      <a:pt x="1151" y="43"/>
                      <a:pt x="1152" y="43"/>
                      <a:pt x="1154" y="44"/>
                    </a:cubicBezTo>
                    <a:cubicBezTo>
                      <a:pt x="1155" y="36"/>
                      <a:pt x="1155" y="36"/>
                      <a:pt x="1155" y="36"/>
                    </a:cubicBezTo>
                    <a:cubicBezTo>
                      <a:pt x="1153" y="36"/>
                      <a:pt x="1151" y="36"/>
                      <a:pt x="1150" y="36"/>
                    </a:cubicBezTo>
                    <a:cubicBezTo>
                      <a:pt x="1149" y="36"/>
                      <a:pt x="1148" y="36"/>
                      <a:pt x="1146" y="36"/>
                    </a:cubicBezTo>
                    <a:cubicBezTo>
                      <a:pt x="1141" y="36"/>
                      <a:pt x="1135" y="36"/>
                      <a:pt x="1130" y="38"/>
                    </a:cubicBezTo>
                    <a:cubicBezTo>
                      <a:pt x="1125" y="39"/>
                      <a:pt x="1119" y="40"/>
                      <a:pt x="1113" y="43"/>
                    </a:cubicBezTo>
                    <a:lnTo>
                      <a:pt x="1113" y="117"/>
                    </a:lnTo>
                    <a:close/>
                    <a:moveTo>
                      <a:pt x="1036" y="73"/>
                    </a:moveTo>
                    <a:cubicBezTo>
                      <a:pt x="1036" y="62"/>
                      <a:pt x="1038" y="54"/>
                      <a:pt x="1042" y="50"/>
                    </a:cubicBezTo>
                    <a:cubicBezTo>
                      <a:pt x="1046" y="45"/>
                      <a:pt x="1051" y="43"/>
                      <a:pt x="1059" y="43"/>
                    </a:cubicBezTo>
                    <a:cubicBezTo>
                      <a:pt x="1068" y="43"/>
                      <a:pt x="1074" y="45"/>
                      <a:pt x="1077" y="50"/>
                    </a:cubicBezTo>
                    <a:cubicBezTo>
                      <a:pt x="1081" y="54"/>
                      <a:pt x="1083" y="62"/>
                      <a:pt x="1083" y="73"/>
                    </a:cubicBezTo>
                    <a:lnTo>
                      <a:pt x="1036" y="73"/>
                    </a:lnTo>
                    <a:close/>
                    <a:moveTo>
                      <a:pt x="1090" y="107"/>
                    </a:moveTo>
                    <a:cubicBezTo>
                      <a:pt x="1088" y="107"/>
                      <a:pt x="1086" y="107"/>
                      <a:pt x="1084" y="108"/>
                    </a:cubicBezTo>
                    <a:cubicBezTo>
                      <a:pt x="1081" y="108"/>
                      <a:pt x="1079" y="109"/>
                      <a:pt x="1076" y="109"/>
                    </a:cubicBezTo>
                    <a:cubicBezTo>
                      <a:pt x="1073" y="110"/>
                      <a:pt x="1071" y="110"/>
                      <a:pt x="1068" y="111"/>
                    </a:cubicBezTo>
                    <a:cubicBezTo>
                      <a:pt x="1065" y="111"/>
                      <a:pt x="1063" y="111"/>
                      <a:pt x="1060" y="111"/>
                    </a:cubicBezTo>
                    <a:cubicBezTo>
                      <a:pt x="1056" y="111"/>
                      <a:pt x="1052" y="110"/>
                      <a:pt x="1049" y="109"/>
                    </a:cubicBezTo>
                    <a:cubicBezTo>
                      <a:pt x="1046" y="108"/>
                      <a:pt x="1043" y="106"/>
                      <a:pt x="1041" y="103"/>
                    </a:cubicBezTo>
                    <a:cubicBezTo>
                      <a:pt x="1040" y="101"/>
                      <a:pt x="1038" y="97"/>
                      <a:pt x="1037" y="93"/>
                    </a:cubicBezTo>
                    <a:cubicBezTo>
                      <a:pt x="1037" y="90"/>
                      <a:pt x="1036" y="85"/>
                      <a:pt x="1036" y="80"/>
                    </a:cubicBezTo>
                    <a:cubicBezTo>
                      <a:pt x="1094" y="80"/>
                      <a:pt x="1094" y="80"/>
                      <a:pt x="1094" y="80"/>
                    </a:cubicBezTo>
                    <a:cubicBezTo>
                      <a:pt x="1094" y="74"/>
                      <a:pt x="1094" y="74"/>
                      <a:pt x="1094" y="74"/>
                    </a:cubicBezTo>
                    <a:cubicBezTo>
                      <a:pt x="1094" y="60"/>
                      <a:pt x="1091" y="51"/>
                      <a:pt x="1085" y="45"/>
                    </a:cubicBezTo>
                    <a:cubicBezTo>
                      <a:pt x="1079" y="39"/>
                      <a:pt x="1071" y="36"/>
                      <a:pt x="1059" y="36"/>
                    </a:cubicBezTo>
                    <a:cubicBezTo>
                      <a:pt x="1054" y="36"/>
                      <a:pt x="1049" y="36"/>
                      <a:pt x="1045" y="38"/>
                    </a:cubicBezTo>
                    <a:cubicBezTo>
                      <a:pt x="1041" y="39"/>
                      <a:pt x="1037" y="41"/>
                      <a:pt x="1034" y="45"/>
                    </a:cubicBezTo>
                    <a:cubicBezTo>
                      <a:pt x="1031" y="48"/>
                      <a:pt x="1029" y="52"/>
                      <a:pt x="1028" y="57"/>
                    </a:cubicBezTo>
                    <a:cubicBezTo>
                      <a:pt x="1026" y="63"/>
                      <a:pt x="1025" y="69"/>
                      <a:pt x="1025" y="77"/>
                    </a:cubicBezTo>
                    <a:cubicBezTo>
                      <a:pt x="1025" y="83"/>
                      <a:pt x="1026" y="89"/>
                      <a:pt x="1027" y="94"/>
                    </a:cubicBezTo>
                    <a:cubicBezTo>
                      <a:pt x="1028" y="99"/>
                      <a:pt x="1030" y="104"/>
                      <a:pt x="1032" y="107"/>
                    </a:cubicBezTo>
                    <a:cubicBezTo>
                      <a:pt x="1035" y="111"/>
                      <a:pt x="1039" y="113"/>
                      <a:pt x="1043" y="115"/>
                    </a:cubicBezTo>
                    <a:cubicBezTo>
                      <a:pt x="1048" y="117"/>
                      <a:pt x="1053" y="118"/>
                      <a:pt x="1060" y="118"/>
                    </a:cubicBezTo>
                    <a:cubicBezTo>
                      <a:pt x="1063" y="118"/>
                      <a:pt x="1066" y="118"/>
                      <a:pt x="1068" y="118"/>
                    </a:cubicBezTo>
                    <a:cubicBezTo>
                      <a:pt x="1071" y="117"/>
                      <a:pt x="1074" y="117"/>
                      <a:pt x="1077" y="116"/>
                    </a:cubicBezTo>
                    <a:cubicBezTo>
                      <a:pt x="1080" y="116"/>
                      <a:pt x="1082" y="116"/>
                      <a:pt x="1085" y="115"/>
                    </a:cubicBezTo>
                    <a:cubicBezTo>
                      <a:pt x="1087" y="115"/>
                      <a:pt x="1089" y="114"/>
                      <a:pt x="1091" y="114"/>
                    </a:cubicBezTo>
                    <a:lnTo>
                      <a:pt x="1090" y="107"/>
                    </a:lnTo>
                    <a:close/>
                    <a:moveTo>
                      <a:pt x="996" y="117"/>
                    </a:moveTo>
                    <a:cubicBezTo>
                      <a:pt x="1007" y="117"/>
                      <a:pt x="1007" y="117"/>
                      <a:pt x="1007" y="117"/>
                    </a:cubicBezTo>
                    <a:cubicBezTo>
                      <a:pt x="1007" y="5"/>
                      <a:pt x="1007" y="5"/>
                      <a:pt x="1007" y="5"/>
                    </a:cubicBezTo>
                    <a:cubicBezTo>
                      <a:pt x="996" y="5"/>
                      <a:pt x="996" y="5"/>
                      <a:pt x="996" y="5"/>
                    </a:cubicBezTo>
                    <a:lnTo>
                      <a:pt x="996" y="117"/>
                    </a:lnTo>
                    <a:close/>
                    <a:moveTo>
                      <a:pt x="963" y="117"/>
                    </a:moveTo>
                    <a:cubicBezTo>
                      <a:pt x="974" y="117"/>
                      <a:pt x="974" y="117"/>
                      <a:pt x="974" y="117"/>
                    </a:cubicBezTo>
                    <a:cubicBezTo>
                      <a:pt x="974" y="5"/>
                      <a:pt x="974" y="5"/>
                      <a:pt x="974" y="5"/>
                    </a:cubicBezTo>
                    <a:cubicBezTo>
                      <a:pt x="963" y="5"/>
                      <a:pt x="963" y="5"/>
                      <a:pt x="963" y="5"/>
                    </a:cubicBezTo>
                    <a:lnTo>
                      <a:pt x="963" y="117"/>
                    </a:lnTo>
                    <a:close/>
                    <a:moveTo>
                      <a:pt x="930" y="107"/>
                    </a:moveTo>
                    <a:cubicBezTo>
                      <a:pt x="927" y="108"/>
                      <a:pt x="923" y="108"/>
                      <a:pt x="918" y="109"/>
                    </a:cubicBezTo>
                    <a:cubicBezTo>
                      <a:pt x="913" y="110"/>
                      <a:pt x="908" y="111"/>
                      <a:pt x="903" y="111"/>
                    </a:cubicBezTo>
                    <a:cubicBezTo>
                      <a:pt x="899" y="111"/>
                      <a:pt x="895" y="109"/>
                      <a:pt x="893" y="106"/>
                    </a:cubicBezTo>
                    <a:cubicBezTo>
                      <a:pt x="890" y="103"/>
                      <a:pt x="889" y="99"/>
                      <a:pt x="889" y="94"/>
                    </a:cubicBezTo>
                    <a:cubicBezTo>
                      <a:pt x="889" y="90"/>
                      <a:pt x="890" y="86"/>
                      <a:pt x="893" y="83"/>
                    </a:cubicBezTo>
                    <a:cubicBezTo>
                      <a:pt x="895" y="80"/>
                      <a:pt x="899" y="78"/>
                      <a:pt x="906" y="78"/>
                    </a:cubicBezTo>
                    <a:cubicBezTo>
                      <a:pt x="930" y="76"/>
                      <a:pt x="930" y="76"/>
                      <a:pt x="930" y="76"/>
                    </a:cubicBezTo>
                    <a:lnTo>
                      <a:pt x="930" y="107"/>
                    </a:lnTo>
                    <a:close/>
                    <a:moveTo>
                      <a:pt x="886" y="45"/>
                    </a:moveTo>
                    <a:cubicBezTo>
                      <a:pt x="891" y="45"/>
                      <a:pt x="896" y="44"/>
                      <a:pt x="900" y="44"/>
                    </a:cubicBezTo>
                    <a:cubicBezTo>
                      <a:pt x="905" y="43"/>
                      <a:pt x="909" y="43"/>
                      <a:pt x="913" y="43"/>
                    </a:cubicBezTo>
                    <a:cubicBezTo>
                      <a:pt x="919" y="43"/>
                      <a:pt x="923" y="45"/>
                      <a:pt x="926" y="47"/>
                    </a:cubicBezTo>
                    <a:cubicBezTo>
                      <a:pt x="929" y="50"/>
                      <a:pt x="930" y="54"/>
                      <a:pt x="930" y="61"/>
                    </a:cubicBezTo>
                    <a:cubicBezTo>
                      <a:pt x="930" y="69"/>
                      <a:pt x="930" y="69"/>
                      <a:pt x="930" y="69"/>
                    </a:cubicBezTo>
                    <a:cubicBezTo>
                      <a:pt x="905" y="71"/>
                      <a:pt x="905" y="71"/>
                      <a:pt x="905" y="71"/>
                    </a:cubicBezTo>
                    <a:cubicBezTo>
                      <a:pt x="895" y="72"/>
                      <a:pt x="889" y="74"/>
                      <a:pt x="885" y="78"/>
                    </a:cubicBezTo>
                    <a:cubicBezTo>
                      <a:pt x="881" y="82"/>
                      <a:pt x="879" y="88"/>
                      <a:pt x="879" y="94"/>
                    </a:cubicBezTo>
                    <a:cubicBezTo>
                      <a:pt x="879" y="102"/>
                      <a:pt x="881" y="108"/>
                      <a:pt x="885" y="112"/>
                    </a:cubicBezTo>
                    <a:cubicBezTo>
                      <a:pt x="889" y="116"/>
                      <a:pt x="895" y="118"/>
                      <a:pt x="903" y="118"/>
                    </a:cubicBezTo>
                    <a:cubicBezTo>
                      <a:pt x="911" y="118"/>
                      <a:pt x="918" y="117"/>
                      <a:pt x="924" y="116"/>
                    </a:cubicBezTo>
                    <a:cubicBezTo>
                      <a:pt x="931" y="114"/>
                      <a:pt x="936" y="113"/>
                      <a:pt x="941" y="111"/>
                    </a:cubicBezTo>
                    <a:cubicBezTo>
                      <a:pt x="941" y="61"/>
                      <a:pt x="941" y="61"/>
                      <a:pt x="941" y="61"/>
                    </a:cubicBezTo>
                    <a:cubicBezTo>
                      <a:pt x="941" y="53"/>
                      <a:pt x="939" y="46"/>
                      <a:pt x="934" y="42"/>
                    </a:cubicBezTo>
                    <a:cubicBezTo>
                      <a:pt x="930" y="38"/>
                      <a:pt x="923" y="36"/>
                      <a:pt x="913" y="36"/>
                    </a:cubicBezTo>
                    <a:cubicBezTo>
                      <a:pt x="909" y="36"/>
                      <a:pt x="904" y="36"/>
                      <a:pt x="899" y="36"/>
                    </a:cubicBezTo>
                    <a:cubicBezTo>
                      <a:pt x="894" y="37"/>
                      <a:pt x="889" y="37"/>
                      <a:pt x="884" y="38"/>
                    </a:cubicBezTo>
                    <a:lnTo>
                      <a:pt x="886" y="45"/>
                    </a:lnTo>
                    <a:close/>
                    <a:moveTo>
                      <a:pt x="842" y="34"/>
                    </a:moveTo>
                    <a:cubicBezTo>
                      <a:pt x="852" y="34"/>
                      <a:pt x="852" y="34"/>
                      <a:pt x="852" y="34"/>
                    </a:cubicBezTo>
                    <a:cubicBezTo>
                      <a:pt x="861" y="0"/>
                      <a:pt x="861" y="0"/>
                      <a:pt x="861" y="0"/>
                    </a:cubicBezTo>
                    <a:cubicBezTo>
                      <a:pt x="850" y="0"/>
                      <a:pt x="850" y="0"/>
                      <a:pt x="850" y="0"/>
                    </a:cubicBezTo>
                    <a:lnTo>
                      <a:pt x="842" y="34"/>
                    </a:lnTo>
                    <a:close/>
                    <a:moveTo>
                      <a:pt x="811" y="110"/>
                    </a:moveTo>
                    <a:cubicBezTo>
                      <a:pt x="809" y="110"/>
                      <a:pt x="807" y="111"/>
                      <a:pt x="804" y="111"/>
                    </a:cubicBezTo>
                    <a:cubicBezTo>
                      <a:pt x="802" y="111"/>
                      <a:pt x="799" y="111"/>
                      <a:pt x="798" y="111"/>
                    </a:cubicBezTo>
                    <a:cubicBezTo>
                      <a:pt x="791" y="111"/>
                      <a:pt x="786" y="110"/>
                      <a:pt x="782" y="109"/>
                    </a:cubicBezTo>
                    <a:cubicBezTo>
                      <a:pt x="778" y="107"/>
                      <a:pt x="775" y="105"/>
                      <a:pt x="773" y="102"/>
                    </a:cubicBezTo>
                    <a:cubicBezTo>
                      <a:pt x="771" y="99"/>
                      <a:pt x="769" y="95"/>
                      <a:pt x="768" y="91"/>
                    </a:cubicBezTo>
                    <a:cubicBezTo>
                      <a:pt x="768" y="87"/>
                      <a:pt x="767" y="81"/>
                      <a:pt x="767" y="76"/>
                    </a:cubicBezTo>
                    <a:cubicBezTo>
                      <a:pt x="767" y="70"/>
                      <a:pt x="768" y="65"/>
                      <a:pt x="768" y="61"/>
                    </a:cubicBezTo>
                    <a:cubicBezTo>
                      <a:pt x="769" y="57"/>
                      <a:pt x="770" y="53"/>
                      <a:pt x="771" y="51"/>
                    </a:cubicBezTo>
                    <a:cubicBezTo>
                      <a:pt x="773" y="48"/>
                      <a:pt x="775" y="46"/>
                      <a:pt x="778" y="45"/>
                    </a:cubicBezTo>
                    <a:cubicBezTo>
                      <a:pt x="781" y="44"/>
                      <a:pt x="784" y="43"/>
                      <a:pt x="789" y="43"/>
                    </a:cubicBezTo>
                    <a:cubicBezTo>
                      <a:pt x="793" y="43"/>
                      <a:pt x="797" y="43"/>
                      <a:pt x="801" y="44"/>
                    </a:cubicBezTo>
                    <a:cubicBezTo>
                      <a:pt x="805" y="45"/>
                      <a:pt x="809" y="46"/>
                      <a:pt x="811" y="47"/>
                    </a:cubicBezTo>
                    <a:lnTo>
                      <a:pt x="811" y="110"/>
                    </a:lnTo>
                    <a:close/>
                    <a:moveTo>
                      <a:pt x="811" y="40"/>
                    </a:moveTo>
                    <a:cubicBezTo>
                      <a:pt x="809" y="39"/>
                      <a:pt x="805" y="38"/>
                      <a:pt x="801" y="37"/>
                    </a:cubicBezTo>
                    <a:cubicBezTo>
                      <a:pt x="797" y="36"/>
                      <a:pt x="793" y="36"/>
                      <a:pt x="789" y="36"/>
                    </a:cubicBezTo>
                    <a:cubicBezTo>
                      <a:pt x="782" y="36"/>
                      <a:pt x="777" y="37"/>
                      <a:pt x="773" y="38"/>
                    </a:cubicBezTo>
                    <a:cubicBezTo>
                      <a:pt x="769" y="40"/>
                      <a:pt x="766" y="42"/>
                      <a:pt x="763" y="45"/>
                    </a:cubicBezTo>
                    <a:cubicBezTo>
                      <a:pt x="761" y="49"/>
                      <a:pt x="759" y="53"/>
                      <a:pt x="758" y="58"/>
                    </a:cubicBezTo>
                    <a:cubicBezTo>
                      <a:pt x="757" y="63"/>
                      <a:pt x="757" y="69"/>
                      <a:pt x="757" y="75"/>
                    </a:cubicBezTo>
                    <a:cubicBezTo>
                      <a:pt x="757" y="83"/>
                      <a:pt x="757" y="89"/>
                      <a:pt x="758" y="94"/>
                    </a:cubicBezTo>
                    <a:cubicBezTo>
                      <a:pt x="760" y="100"/>
                      <a:pt x="762" y="104"/>
                      <a:pt x="765" y="108"/>
                    </a:cubicBezTo>
                    <a:cubicBezTo>
                      <a:pt x="768" y="111"/>
                      <a:pt x="772" y="114"/>
                      <a:pt x="778" y="116"/>
                    </a:cubicBezTo>
                    <a:cubicBezTo>
                      <a:pt x="783" y="117"/>
                      <a:pt x="790" y="118"/>
                      <a:pt x="799" y="118"/>
                    </a:cubicBezTo>
                    <a:cubicBezTo>
                      <a:pt x="803" y="118"/>
                      <a:pt x="807" y="118"/>
                      <a:pt x="811" y="118"/>
                    </a:cubicBezTo>
                    <a:cubicBezTo>
                      <a:pt x="814" y="117"/>
                      <a:pt x="818" y="117"/>
                      <a:pt x="822" y="117"/>
                    </a:cubicBezTo>
                    <a:cubicBezTo>
                      <a:pt x="822" y="5"/>
                      <a:pt x="822" y="5"/>
                      <a:pt x="822" y="5"/>
                    </a:cubicBezTo>
                    <a:cubicBezTo>
                      <a:pt x="811" y="5"/>
                      <a:pt x="811" y="5"/>
                      <a:pt x="811" y="5"/>
                    </a:cubicBezTo>
                    <a:lnTo>
                      <a:pt x="811" y="40"/>
                    </a:lnTo>
                    <a:close/>
                    <a:moveTo>
                      <a:pt x="633" y="117"/>
                    </a:moveTo>
                    <a:cubicBezTo>
                      <a:pt x="643" y="117"/>
                      <a:pt x="643" y="117"/>
                      <a:pt x="643" y="117"/>
                    </a:cubicBezTo>
                    <a:cubicBezTo>
                      <a:pt x="643" y="47"/>
                      <a:pt x="643" y="47"/>
                      <a:pt x="643" y="47"/>
                    </a:cubicBezTo>
                    <a:cubicBezTo>
                      <a:pt x="646" y="46"/>
                      <a:pt x="649" y="45"/>
                      <a:pt x="653" y="44"/>
                    </a:cubicBezTo>
                    <a:cubicBezTo>
                      <a:pt x="657" y="43"/>
                      <a:pt x="661" y="43"/>
                      <a:pt x="666" y="43"/>
                    </a:cubicBezTo>
                    <a:cubicBezTo>
                      <a:pt x="675" y="43"/>
                      <a:pt x="681" y="45"/>
                      <a:pt x="684" y="51"/>
                    </a:cubicBezTo>
                    <a:cubicBezTo>
                      <a:pt x="688" y="56"/>
                      <a:pt x="689" y="64"/>
                      <a:pt x="689" y="75"/>
                    </a:cubicBezTo>
                    <a:cubicBezTo>
                      <a:pt x="689" y="117"/>
                      <a:pt x="689" y="117"/>
                      <a:pt x="689" y="117"/>
                    </a:cubicBezTo>
                    <a:cubicBezTo>
                      <a:pt x="700" y="117"/>
                      <a:pt x="700" y="117"/>
                      <a:pt x="700" y="117"/>
                    </a:cubicBezTo>
                    <a:cubicBezTo>
                      <a:pt x="700" y="75"/>
                      <a:pt x="700" y="75"/>
                      <a:pt x="700" y="75"/>
                    </a:cubicBezTo>
                    <a:cubicBezTo>
                      <a:pt x="700" y="69"/>
                      <a:pt x="700" y="63"/>
                      <a:pt x="698" y="58"/>
                    </a:cubicBezTo>
                    <a:cubicBezTo>
                      <a:pt x="697" y="53"/>
                      <a:pt x="695" y="49"/>
                      <a:pt x="693" y="45"/>
                    </a:cubicBezTo>
                    <a:cubicBezTo>
                      <a:pt x="690" y="42"/>
                      <a:pt x="686" y="40"/>
                      <a:pt x="682" y="38"/>
                    </a:cubicBezTo>
                    <a:cubicBezTo>
                      <a:pt x="677" y="37"/>
                      <a:pt x="672" y="36"/>
                      <a:pt x="666" y="36"/>
                    </a:cubicBezTo>
                    <a:cubicBezTo>
                      <a:pt x="660" y="36"/>
                      <a:pt x="654" y="36"/>
                      <a:pt x="649" y="37"/>
                    </a:cubicBezTo>
                    <a:cubicBezTo>
                      <a:pt x="644" y="39"/>
                      <a:pt x="639" y="40"/>
                      <a:pt x="632" y="43"/>
                    </a:cubicBezTo>
                    <a:lnTo>
                      <a:pt x="633" y="117"/>
                    </a:lnTo>
                    <a:close/>
                    <a:moveTo>
                      <a:pt x="564" y="109"/>
                    </a:moveTo>
                    <a:cubicBezTo>
                      <a:pt x="561" y="108"/>
                      <a:pt x="558" y="106"/>
                      <a:pt x="556" y="103"/>
                    </a:cubicBezTo>
                    <a:cubicBezTo>
                      <a:pt x="554" y="100"/>
                      <a:pt x="553" y="97"/>
                      <a:pt x="552" y="92"/>
                    </a:cubicBezTo>
                    <a:cubicBezTo>
                      <a:pt x="552" y="88"/>
                      <a:pt x="551" y="82"/>
                      <a:pt x="551" y="76"/>
                    </a:cubicBezTo>
                    <a:cubicBezTo>
                      <a:pt x="551" y="69"/>
                      <a:pt x="552" y="64"/>
                      <a:pt x="553" y="60"/>
                    </a:cubicBezTo>
                    <a:cubicBezTo>
                      <a:pt x="554" y="56"/>
                      <a:pt x="555" y="52"/>
                      <a:pt x="557" y="50"/>
                    </a:cubicBezTo>
                    <a:cubicBezTo>
                      <a:pt x="559" y="47"/>
                      <a:pt x="562" y="46"/>
                      <a:pt x="565" y="45"/>
                    </a:cubicBezTo>
                    <a:cubicBezTo>
                      <a:pt x="568" y="44"/>
                      <a:pt x="572" y="43"/>
                      <a:pt x="577" y="43"/>
                    </a:cubicBezTo>
                    <a:cubicBezTo>
                      <a:pt x="581" y="43"/>
                      <a:pt x="584" y="44"/>
                      <a:pt x="588" y="45"/>
                    </a:cubicBezTo>
                    <a:cubicBezTo>
                      <a:pt x="591" y="46"/>
                      <a:pt x="593" y="48"/>
                      <a:pt x="595" y="50"/>
                    </a:cubicBezTo>
                    <a:cubicBezTo>
                      <a:pt x="597" y="53"/>
                      <a:pt x="599" y="56"/>
                      <a:pt x="600" y="61"/>
                    </a:cubicBezTo>
                    <a:cubicBezTo>
                      <a:pt x="601" y="65"/>
                      <a:pt x="602" y="70"/>
                      <a:pt x="602" y="76"/>
                    </a:cubicBezTo>
                    <a:cubicBezTo>
                      <a:pt x="602" y="82"/>
                      <a:pt x="602" y="87"/>
                      <a:pt x="601" y="92"/>
                    </a:cubicBezTo>
                    <a:cubicBezTo>
                      <a:pt x="601" y="96"/>
                      <a:pt x="599" y="100"/>
                      <a:pt x="598" y="103"/>
                    </a:cubicBezTo>
                    <a:cubicBezTo>
                      <a:pt x="596" y="106"/>
                      <a:pt x="593" y="108"/>
                      <a:pt x="590" y="109"/>
                    </a:cubicBezTo>
                    <a:cubicBezTo>
                      <a:pt x="587" y="110"/>
                      <a:pt x="582" y="111"/>
                      <a:pt x="577" y="111"/>
                    </a:cubicBezTo>
                    <a:cubicBezTo>
                      <a:pt x="572" y="111"/>
                      <a:pt x="567" y="111"/>
                      <a:pt x="564" y="109"/>
                    </a:cubicBezTo>
                    <a:moveTo>
                      <a:pt x="577" y="36"/>
                    </a:moveTo>
                    <a:cubicBezTo>
                      <a:pt x="571" y="36"/>
                      <a:pt x="565" y="36"/>
                      <a:pt x="561" y="38"/>
                    </a:cubicBezTo>
                    <a:cubicBezTo>
                      <a:pt x="556" y="39"/>
                      <a:pt x="553" y="41"/>
                      <a:pt x="550" y="45"/>
                    </a:cubicBezTo>
                    <a:cubicBezTo>
                      <a:pt x="547" y="48"/>
                      <a:pt x="544" y="52"/>
                      <a:pt x="543" y="57"/>
                    </a:cubicBezTo>
                    <a:cubicBezTo>
                      <a:pt x="542" y="62"/>
                      <a:pt x="541" y="68"/>
                      <a:pt x="541" y="75"/>
                    </a:cubicBezTo>
                    <a:cubicBezTo>
                      <a:pt x="541" y="83"/>
                      <a:pt x="541" y="90"/>
                      <a:pt x="542" y="95"/>
                    </a:cubicBezTo>
                    <a:cubicBezTo>
                      <a:pt x="544" y="101"/>
                      <a:pt x="546" y="105"/>
                      <a:pt x="548" y="109"/>
                    </a:cubicBezTo>
                    <a:cubicBezTo>
                      <a:pt x="551" y="112"/>
                      <a:pt x="555" y="114"/>
                      <a:pt x="559" y="116"/>
                    </a:cubicBezTo>
                    <a:cubicBezTo>
                      <a:pt x="564" y="118"/>
                      <a:pt x="570" y="118"/>
                      <a:pt x="577" y="118"/>
                    </a:cubicBezTo>
                    <a:cubicBezTo>
                      <a:pt x="584" y="118"/>
                      <a:pt x="590" y="117"/>
                      <a:pt x="595" y="116"/>
                    </a:cubicBezTo>
                    <a:cubicBezTo>
                      <a:pt x="599" y="114"/>
                      <a:pt x="603" y="111"/>
                      <a:pt x="605" y="108"/>
                    </a:cubicBezTo>
                    <a:cubicBezTo>
                      <a:pt x="608" y="104"/>
                      <a:pt x="610" y="100"/>
                      <a:pt x="611" y="95"/>
                    </a:cubicBezTo>
                    <a:cubicBezTo>
                      <a:pt x="612" y="89"/>
                      <a:pt x="613" y="83"/>
                      <a:pt x="613" y="76"/>
                    </a:cubicBezTo>
                    <a:cubicBezTo>
                      <a:pt x="613" y="69"/>
                      <a:pt x="612" y="63"/>
                      <a:pt x="610" y="57"/>
                    </a:cubicBezTo>
                    <a:cubicBezTo>
                      <a:pt x="609" y="52"/>
                      <a:pt x="606" y="48"/>
                      <a:pt x="603" y="45"/>
                    </a:cubicBezTo>
                    <a:cubicBezTo>
                      <a:pt x="600" y="42"/>
                      <a:pt x="597" y="40"/>
                      <a:pt x="592" y="38"/>
                    </a:cubicBezTo>
                    <a:cubicBezTo>
                      <a:pt x="588" y="37"/>
                      <a:pt x="583" y="36"/>
                      <a:pt x="577" y="36"/>
                    </a:cubicBezTo>
                    <a:close/>
                    <a:moveTo>
                      <a:pt x="512" y="117"/>
                    </a:moveTo>
                    <a:cubicBezTo>
                      <a:pt x="522" y="117"/>
                      <a:pt x="522" y="117"/>
                      <a:pt x="522" y="117"/>
                    </a:cubicBezTo>
                    <a:cubicBezTo>
                      <a:pt x="522" y="37"/>
                      <a:pt x="522" y="37"/>
                      <a:pt x="522" y="37"/>
                    </a:cubicBezTo>
                    <a:cubicBezTo>
                      <a:pt x="512" y="37"/>
                      <a:pt x="512" y="37"/>
                      <a:pt x="512" y="37"/>
                    </a:cubicBezTo>
                    <a:lnTo>
                      <a:pt x="512" y="117"/>
                    </a:lnTo>
                    <a:close/>
                    <a:moveTo>
                      <a:pt x="512" y="17"/>
                    </a:moveTo>
                    <a:cubicBezTo>
                      <a:pt x="522" y="17"/>
                      <a:pt x="522" y="17"/>
                      <a:pt x="522" y="17"/>
                    </a:cubicBezTo>
                    <a:cubicBezTo>
                      <a:pt x="522" y="6"/>
                      <a:pt x="522" y="6"/>
                      <a:pt x="522" y="6"/>
                    </a:cubicBezTo>
                    <a:cubicBezTo>
                      <a:pt x="512" y="6"/>
                      <a:pt x="512" y="6"/>
                      <a:pt x="512" y="6"/>
                    </a:cubicBezTo>
                    <a:lnTo>
                      <a:pt x="512" y="17"/>
                    </a:lnTo>
                    <a:close/>
                    <a:moveTo>
                      <a:pt x="467" y="17"/>
                    </a:moveTo>
                    <a:cubicBezTo>
                      <a:pt x="467" y="37"/>
                      <a:pt x="467" y="37"/>
                      <a:pt x="467" y="37"/>
                    </a:cubicBezTo>
                    <a:cubicBezTo>
                      <a:pt x="450" y="37"/>
                      <a:pt x="450" y="37"/>
                      <a:pt x="450" y="37"/>
                    </a:cubicBezTo>
                    <a:cubicBezTo>
                      <a:pt x="450" y="45"/>
                      <a:pt x="450" y="45"/>
                      <a:pt x="450" y="45"/>
                    </a:cubicBezTo>
                    <a:cubicBezTo>
                      <a:pt x="467" y="45"/>
                      <a:pt x="467" y="45"/>
                      <a:pt x="467" y="45"/>
                    </a:cubicBezTo>
                    <a:cubicBezTo>
                      <a:pt x="467" y="92"/>
                      <a:pt x="467" y="92"/>
                      <a:pt x="467" y="92"/>
                    </a:cubicBezTo>
                    <a:cubicBezTo>
                      <a:pt x="467" y="96"/>
                      <a:pt x="467" y="101"/>
                      <a:pt x="468" y="104"/>
                    </a:cubicBezTo>
                    <a:cubicBezTo>
                      <a:pt x="468" y="107"/>
                      <a:pt x="469" y="110"/>
                      <a:pt x="470" y="112"/>
                    </a:cubicBezTo>
                    <a:cubicBezTo>
                      <a:pt x="471" y="114"/>
                      <a:pt x="473" y="116"/>
                      <a:pt x="475" y="117"/>
                    </a:cubicBezTo>
                    <a:cubicBezTo>
                      <a:pt x="478" y="118"/>
                      <a:pt x="481" y="118"/>
                      <a:pt x="484" y="118"/>
                    </a:cubicBezTo>
                    <a:cubicBezTo>
                      <a:pt x="486" y="118"/>
                      <a:pt x="487" y="118"/>
                      <a:pt x="488" y="118"/>
                    </a:cubicBezTo>
                    <a:cubicBezTo>
                      <a:pt x="490" y="118"/>
                      <a:pt x="492" y="117"/>
                      <a:pt x="495" y="117"/>
                    </a:cubicBezTo>
                    <a:cubicBezTo>
                      <a:pt x="496" y="110"/>
                      <a:pt x="496" y="110"/>
                      <a:pt x="496" y="110"/>
                    </a:cubicBezTo>
                    <a:cubicBezTo>
                      <a:pt x="494" y="110"/>
                      <a:pt x="492" y="110"/>
                      <a:pt x="490" y="111"/>
                    </a:cubicBezTo>
                    <a:cubicBezTo>
                      <a:pt x="489" y="111"/>
                      <a:pt x="487" y="111"/>
                      <a:pt x="486" y="111"/>
                    </a:cubicBezTo>
                    <a:cubicBezTo>
                      <a:pt x="485" y="111"/>
                      <a:pt x="485" y="111"/>
                      <a:pt x="485" y="111"/>
                    </a:cubicBezTo>
                    <a:cubicBezTo>
                      <a:pt x="484" y="111"/>
                      <a:pt x="482" y="111"/>
                      <a:pt x="481" y="110"/>
                    </a:cubicBezTo>
                    <a:cubicBezTo>
                      <a:pt x="480" y="110"/>
                      <a:pt x="479" y="109"/>
                      <a:pt x="479" y="107"/>
                    </a:cubicBezTo>
                    <a:cubicBezTo>
                      <a:pt x="478" y="106"/>
                      <a:pt x="478" y="104"/>
                      <a:pt x="478" y="101"/>
                    </a:cubicBezTo>
                    <a:cubicBezTo>
                      <a:pt x="477" y="99"/>
                      <a:pt x="477" y="96"/>
                      <a:pt x="477" y="92"/>
                    </a:cubicBezTo>
                    <a:cubicBezTo>
                      <a:pt x="477" y="45"/>
                      <a:pt x="477" y="45"/>
                      <a:pt x="477" y="45"/>
                    </a:cubicBezTo>
                    <a:cubicBezTo>
                      <a:pt x="496" y="45"/>
                      <a:pt x="496" y="45"/>
                      <a:pt x="496" y="45"/>
                    </a:cubicBezTo>
                    <a:cubicBezTo>
                      <a:pt x="496" y="37"/>
                      <a:pt x="496" y="37"/>
                      <a:pt x="496" y="37"/>
                    </a:cubicBezTo>
                    <a:cubicBezTo>
                      <a:pt x="477" y="37"/>
                      <a:pt x="477" y="37"/>
                      <a:pt x="477" y="37"/>
                    </a:cubicBezTo>
                    <a:cubicBezTo>
                      <a:pt x="477" y="17"/>
                      <a:pt x="477" y="17"/>
                      <a:pt x="477" y="17"/>
                    </a:cubicBezTo>
                    <a:lnTo>
                      <a:pt x="467" y="17"/>
                    </a:lnTo>
                    <a:close/>
                    <a:moveTo>
                      <a:pt x="429" y="117"/>
                    </a:moveTo>
                    <a:cubicBezTo>
                      <a:pt x="440" y="117"/>
                      <a:pt x="440" y="117"/>
                      <a:pt x="440" y="117"/>
                    </a:cubicBezTo>
                    <a:cubicBezTo>
                      <a:pt x="440" y="37"/>
                      <a:pt x="440" y="37"/>
                      <a:pt x="440" y="37"/>
                    </a:cubicBezTo>
                    <a:cubicBezTo>
                      <a:pt x="429" y="37"/>
                      <a:pt x="429" y="37"/>
                      <a:pt x="429" y="37"/>
                    </a:cubicBezTo>
                    <a:lnTo>
                      <a:pt x="429" y="117"/>
                    </a:lnTo>
                    <a:close/>
                    <a:moveTo>
                      <a:pt x="429" y="17"/>
                    </a:moveTo>
                    <a:cubicBezTo>
                      <a:pt x="440" y="17"/>
                      <a:pt x="440" y="17"/>
                      <a:pt x="440" y="17"/>
                    </a:cubicBezTo>
                    <a:cubicBezTo>
                      <a:pt x="440" y="6"/>
                      <a:pt x="440" y="6"/>
                      <a:pt x="440" y="6"/>
                    </a:cubicBezTo>
                    <a:cubicBezTo>
                      <a:pt x="429" y="6"/>
                      <a:pt x="429" y="6"/>
                      <a:pt x="429" y="6"/>
                    </a:cubicBezTo>
                    <a:lnTo>
                      <a:pt x="429" y="17"/>
                    </a:lnTo>
                    <a:close/>
                    <a:moveTo>
                      <a:pt x="353" y="47"/>
                    </a:moveTo>
                    <a:cubicBezTo>
                      <a:pt x="356" y="46"/>
                      <a:pt x="359" y="45"/>
                      <a:pt x="363" y="44"/>
                    </a:cubicBezTo>
                    <a:cubicBezTo>
                      <a:pt x="367" y="43"/>
                      <a:pt x="372" y="43"/>
                      <a:pt x="376" y="43"/>
                    </a:cubicBezTo>
                    <a:cubicBezTo>
                      <a:pt x="380" y="43"/>
                      <a:pt x="384" y="43"/>
                      <a:pt x="387" y="45"/>
                    </a:cubicBezTo>
                    <a:cubicBezTo>
                      <a:pt x="390" y="46"/>
                      <a:pt x="392" y="48"/>
                      <a:pt x="393" y="50"/>
                    </a:cubicBezTo>
                    <a:cubicBezTo>
                      <a:pt x="395" y="53"/>
                      <a:pt x="396" y="56"/>
                      <a:pt x="396" y="61"/>
                    </a:cubicBezTo>
                    <a:cubicBezTo>
                      <a:pt x="397" y="65"/>
                      <a:pt x="397" y="70"/>
                      <a:pt x="397" y="75"/>
                    </a:cubicBezTo>
                    <a:cubicBezTo>
                      <a:pt x="397" y="81"/>
                      <a:pt x="397" y="86"/>
                      <a:pt x="396" y="91"/>
                    </a:cubicBezTo>
                    <a:cubicBezTo>
                      <a:pt x="396" y="95"/>
                      <a:pt x="394" y="99"/>
                      <a:pt x="392" y="102"/>
                    </a:cubicBezTo>
                    <a:cubicBezTo>
                      <a:pt x="390" y="105"/>
                      <a:pt x="387" y="107"/>
                      <a:pt x="383" y="108"/>
                    </a:cubicBezTo>
                    <a:cubicBezTo>
                      <a:pt x="379" y="110"/>
                      <a:pt x="374" y="111"/>
                      <a:pt x="367" y="111"/>
                    </a:cubicBezTo>
                    <a:cubicBezTo>
                      <a:pt x="365" y="111"/>
                      <a:pt x="363" y="111"/>
                      <a:pt x="361" y="111"/>
                    </a:cubicBezTo>
                    <a:cubicBezTo>
                      <a:pt x="358" y="110"/>
                      <a:pt x="356" y="110"/>
                      <a:pt x="353" y="110"/>
                    </a:cubicBezTo>
                    <a:lnTo>
                      <a:pt x="353" y="47"/>
                    </a:lnTo>
                    <a:close/>
                    <a:moveTo>
                      <a:pt x="343" y="5"/>
                    </a:moveTo>
                    <a:cubicBezTo>
                      <a:pt x="343" y="117"/>
                      <a:pt x="343" y="117"/>
                      <a:pt x="343" y="117"/>
                    </a:cubicBezTo>
                    <a:cubicBezTo>
                      <a:pt x="346" y="117"/>
                      <a:pt x="350" y="117"/>
                      <a:pt x="354" y="118"/>
                    </a:cubicBezTo>
                    <a:cubicBezTo>
                      <a:pt x="358" y="118"/>
                      <a:pt x="362" y="118"/>
                      <a:pt x="366" y="118"/>
                    </a:cubicBezTo>
                    <a:cubicBezTo>
                      <a:pt x="374" y="118"/>
                      <a:pt x="381" y="117"/>
                      <a:pt x="387" y="116"/>
                    </a:cubicBezTo>
                    <a:cubicBezTo>
                      <a:pt x="392" y="114"/>
                      <a:pt x="397" y="111"/>
                      <a:pt x="400" y="108"/>
                    </a:cubicBezTo>
                    <a:cubicBezTo>
                      <a:pt x="403" y="104"/>
                      <a:pt x="405" y="100"/>
                      <a:pt x="406" y="94"/>
                    </a:cubicBezTo>
                    <a:cubicBezTo>
                      <a:pt x="407" y="89"/>
                      <a:pt x="408" y="83"/>
                      <a:pt x="408" y="75"/>
                    </a:cubicBezTo>
                    <a:cubicBezTo>
                      <a:pt x="408" y="69"/>
                      <a:pt x="407" y="63"/>
                      <a:pt x="406" y="58"/>
                    </a:cubicBezTo>
                    <a:cubicBezTo>
                      <a:pt x="405" y="53"/>
                      <a:pt x="404" y="49"/>
                      <a:pt x="401" y="45"/>
                    </a:cubicBezTo>
                    <a:cubicBezTo>
                      <a:pt x="399" y="42"/>
                      <a:pt x="396" y="40"/>
                      <a:pt x="392" y="38"/>
                    </a:cubicBezTo>
                    <a:cubicBezTo>
                      <a:pt x="388" y="37"/>
                      <a:pt x="382" y="36"/>
                      <a:pt x="376" y="36"/>
                    </a:cubicBezTo>
                    <a:cubicBezTo>
                      <a:pt x="372" y="36"/>
                      <a:pt x="367" y="36"/>
                      <a:pt x="363" y="37"/>
                    </a:cubicBezTo>
                    <a:cubicBezTo>
                      <a:pt x="359" y="38"/>
                      <a:pt x="356" y="39"/>
                      <a:pt x="353" y="40"/>
                    </a:cubicBezTo>
                    <a:cubicBezTo>
                      <a:pt x="353" y="5"/>
                      <a:pt x="353" y="5"/>
                      <a:pt x="353" y="5"/>
                    </a:cubicBezTo>
                    <a:lnTo>
                      <a:pt x="343" y="5"/>
                    </a:lnTo>
                    <a:close/>
                    <a:moveTo>
                      <a:pt x="201" y="117"/>
                    </a:moveTo>
                    <a:cubicBezTo>
                      <a:pt x="212" y="117"/>
                      <a:pt x="212" y="117"/>
                      <a:pt x="212" y="117"/>
                    </a:cubicBezTo>
                    <a:cubicBezTo>
                      <a:pt x="212" y="47"/>
                      <a:pt x="212" y="47"/>
                      <a:pt x="212" y="47"/>
                    </a:cubicBezTo>
                    <a:cubicBezTo>
                      <a:pt x="215" y="46"/>
                      <a:pt x="218" y="45"/>
                      <a:pt x="222" y="44"/>
                    </a:cubicBezTo>
                    <a:cubicBezTo>
                      <a:pt x="226" y="43"/>
                      <a:pt x="230" y="43"/>
                      <a:pt x="235" y="43"/>
                    </a:cubicBezTo>
                    <a:cubicBezTo>
                      <a:pt x="239" y="43"/>
                      <a:pt x="242" y="43"/>
                      <a:pt x="245" y="45"/>
                    </a:cubicBezTo>
                    <a:cubicBezTo>
                      <a:pt x="248" y="46"/>
                      <a:pt x="250" y="48"/>
                      <a:pt x="252" y="50"/>
                    </a:cubicBezTo>
                    <a:cubicBezTo>
                      <a:pt x="253" y="53"/>
                      <a:pt x="254" y="56"/>
                      <a:pt x="255" y="60"/>
                    </a:cubicBezTo>
                    <a:cubicBezTo>
                      <a:pt x="255" y="64"/>
                      <a:pt x="256" y="69"/>
                      <a:pt x="256" y="75"/>
                    </a:cubicBezTo>
                    <a:cubicBezTo>
                      <a:pt x="256" y="117"/>
                      <a:pt x="256" y="117"/>
                      <a:pt x="256" y="117"/>
                    </a:cubicBezTo>
                    <a:cubicBezTo>
                      <a:pt x="267" y="117"/>
                      <a:pt x="267" y="117"/>
                      <a:pt x="267" y="117"/>
                    </a:cubicBezTo>
                    <a:cubicBezTo>
                      <a:pt x="267" y="75"/>
                      <a:pt x="267" y="75"/>
                      <a:pt x="267" y="75"/>
                    </a:cubicBezTo>
                    <a:cubicBezTo>
                      <a:pt x="267" y="69"/>
                      <a:pt x="266" y="64"/>
                      <a:pt x="266" y="59"/>
                    </a:cubicBezTo>
                    <a:cubicBezTo>
                      <a:pt x="265" y="55"/>
                      <a:pt x="264" y="51"/>
                      <a:pt x="262" y="48"/>
                    </a:cubicBezTo>
                    <a:cubicBezTo>
                      <a:pt x="267" y="46"/>
                      <a:pt x="272" y="45"/>
                      <a:pt x="276" y="44"/>
                    </a:cubicBezTo>
                    <a:cubicBezTo>
                      <a:pt x="280" y="43"/>
                      <a:pt x="284" y="43"/>
                      <a:pt x="289" y="43"/>
                    </a:cubicBezTo>
                    <a:cubicBezTo>
                      <a:pt x="293" y="43"/>
                      <a:pt x="297" y="43"/>
                      <a:pt x="300" y="45"/>
                    </a:cubicBezTo>
                    <a:cubicBezTo>
                      <a:pt x="303" y="46"/>
                      <a:pt x="305" y="48"/>
                      <a:pt x="306" y="50"/>
                    </a:cubicBezTo>
                    <a:cubicBezTo>
                      <a:pt x="308" y="53"/>
                      <a:pt x="309" y="56"/>
                      <a:pt x="309" y="60"/>
                    </a:cubicBezTo>
                    <a:cubicBezTo>
                      <a:pt x="310" y="64"/>
                      <a:pt x="310" y="69"/>
                      <a:pt x="310" y="75"/>
                    </a:cubicBezTo>
                    <a:cubicBezTo>
                      <a:pt x="310" y="117"/>
                      <a:pt x="310" y="117"/>
                      <a:pt x="310" y="117"/>
                    </a:cubicBezTo>
                    <a:cubicBezTo>
                      <a:pt x="321" y="117"/>
                      <a:pt x="321" y="117"/>
                      <a:pt x="321" y="117"/>
                    </a:cubicBezTo>
                    <a:cubicBezTo>
                      <a:pt x="321" y="75"/>
                      <a:pt x="321" y="75"/>
                      <a:pt x="321" y="75"/>
                    </a:cubicBezTo>
                    <a:cubicBezTo>
                      <a:pt x="321" y="68"/>
                      <a:pt x="321" y="63"/>
                      <a:pt x="320" y="58"/>
                    </a:cubicBezTo>
                    <a:cubicBezTo>
                      <a:pt x="319" y="53"/>
                      <a:pt x="317" y="48"/>
                      <a:pt x="315" y="45"/>
                    </a:cubicBezTo>
                    <a:cubicBezTo>
                      <a:pt x="312" y="42"/>
                      <a:pt x="309" y="40"/>
                      <a:pt x="305" y="38"/>
                    </a:cubicBezTo>
                    <a:cubicBezTo>
                      <a:pt x="301" y="36"/>
                      <a:pt x="296" y="36"/>
                      <a:pt x="289" y="36"/>
                    </a:cubicBezTo>
                    <a:cubicBezTo>
                      <a:pt x="287" y="36"/>
                      <a:pt x="284" y="36"/>
                      <a:pt x="282" y="36"/>
                    </a:cubicBezTo>
                    <a:cubicBezTo>
                      <a:pt x="279" y="36"/>
                      <a:pt x="277" y="36"/>
                      <a:pt x="274" y="37"/>
                    </a:cubicBezTo>
                    <a:cubicBezTo>
                      <a:pt x="272" y="37"/>
                      <a:pt x="269" y="38"/>
                      <a:pt x="266" y="39"/>
                    </a:cubicBezTo>
                    <a:cubicBezTo>
                      <a:pt x="263" y="40"/>
                      <a:pt x="260" y="41"/>
                      <a:pt x="257" y="42"/>
                    </a:cubicBezTo>
                    <a:cubicBezTo>
                      <a:pt x="252" y="38"/>
                      <a:pt x="245" y="35"/>
                      <a:pt x="235" y="35"/>
                    </a:cubicBezTo>
                    <a:cubicBezTo>
                      <a:pt x="229" y="35"/>
                      <a:pt x="224" y="36"/>
                      <a:pt x="219" y="37"/>
                    </a:cubicBezTo>
                    <a:cubicBezTo>
                      <a:pt x="214" y="38"/>
                      <a:pt x="208" y="40"/>
                      <a:pt x="201" y="42"/>
                    </a:cubicBezTo>
                    <a:lnTo>
                      <a:pt x="201" y="117"/>
                    </a:lnTo>
                    <a:close/>
                    <a:moveTo>
                      <a:pt x="169" y="107"/>
                    </a:moveTo>
                    <a:cubicBezTo>
                      <a:pt x="166" y="108"/>
                      <a:pt x="162" y="108"/>
                      <a:pt x="157" y="109"/>
                    </a:cubicBezTo>
                    <a:cubicBezTo>
                      <a:pt x="152" y="110"/>
                      <a:pt x="147" y="111"/>
                      <a:pt x="142" y="111"/>
                    </a:cubicBezTo>
                    <a:cubicBezTo>
                      <a:pt x="138" y="111"/>
                      <a:pt x="134" y="109"/>
                      <a:pt x="132" y="106"/>
                    </a:cubicBezTo>
                    <a:cubicBezTo>
                      <a:pt x="129" y="103"/>
                      <a:pt x="128" y="99"/>
                      <a:pt x="128" y="94"/>
                    </a:cubicBezTo>
                    <a:cubicBezTo>
                      <a:pt x="128" y="90"/>
                      <a:pt x="129" y="86"/>
                      <a:pt x="132" y="83"/>
                    </a:cubicBezTo>
                    <a:cubicBezTo>
                      <a:pt x="134" y="80"/>
                      <a:pt x="138" y="78"/>
                      <a:pt x="144" y="78"/>
                    </a:cubicBezTo>
                    <a:cubicBezTo>
                      <a:pt x="169" y="76"/>
                      <a:pt x="169" y="76"/>
                      <a:pt x="169" y="76"/>
                    </a:cubicBezTo>
                    <a:lnTo>
                      <a:pt x="169" y="107"/>
                    </a:lnTo>
                    <a:close/>
                    <a:moveTo>
                      <a:pt x="125" y="45"/>
                    </a:moveTo>
                    <a:cubicBezTo>
                      <a:pt x="130" y="45"/>
                      <a:pt x="134" y="44"/>
                      <a:pt x="139" y="44"/>
                    </a:cubicBezTo>
                    <a:cubicBezTo>
                      <a:pt x="144" y="43"/>
                      <a:pt x="148" y="43"/>
                      <a:pt x="152" y="43"/>
                    </a:cubicBezTo>
                    <a:cubicBezTo>
                      <a:pt x="158" y="43"/>
                      <a:pt x="162" y="45"/>
                      <a:pt x="165" y="47"/>
                    </a:cubicBezTo>
                    <a:cubicBezTo>
                      <a:pt x="168" y="50"/>
                      <a:pt x="169" y="54"/>
                      <a:pt x="169" y="61"/>
                    </a:cubicBezTo>
                    <a:cubicBezTo>
                      <a:pt x="169" y="69"/>
                      <a:pt x="169" y="69"/>
                      <a:pt x="169" y="69"/>
                    </a:cubicBezTo>
                    <a:cubicBezTo>
                      <a:pt x="143" y="71"/>
                      <a:pt x="143" y="71"/>
                      <a:pt x="143" y="71"/>
                    </a:cubicBezTo>
                    <a:cubicBezTo>
                      <a:pt x="134" y="72"/>
                      <a:pt x="127" y="74"/>
                      <a:pt x="123" y="78"/>
                    </a:cubicBezTo>
                    <a:cubicBezTo>
                      <a:pt x="119" y="82"/>
                      <a:pt x="117" y="88"/>
                      <a:pt x="117" y="94"/>
                    </a:cubicBezTo>
                    <a:cubicBezTo>
                      <a:pt x="117" y="102"/>
                      <a:pt x="120" y="108"/>
                      <a:pt x="124" y="112"/>
                    </a:cubicBezTo>
                    <a:cubicBezTo>
                      <a:pt x="128" y="116"/>
                      <a:pt x="134" y="118"/>
                      <a:pt x="142" y="118"/>
                    </a:cubicBezTo>
                    <a:cubicBezTo>
                      <a:pt x="150" y="118"/>
                      <a:pt x="157" y="117"/>
                      <a:pt x="163" y="116"/>
                    </a:cubicBezTo>
                    <a:cubicBezTo>
                      <a:pt x="169" y="114"/>
                      <a:pt x="175" y="113"/>
                      <a:pt x="180" y="111"/>
                    </a:cubicBezTo>
                    <a:cubicBezTo>
                      <a:pt x="180" y="61"/>
                      <a:pt x="180" y="61"/>
                      <a:pt x="180" y="61"/>
                    </a:cubicBezTo>
                    <a:cubicBezTo>
                      <a:pt x="180" y="53"/>
                      <a:pt x="177" y="46"/>
                      <a:pt x="173" y="42"/>
                    </a:cubicBezTo>
                    <a:cubicBezTo>
                      <a:pt x="169" y="38"/>
                      <a:pt x="162" y="36"/>
                      <a:pt x="152" y="36"/>
                    </a:cubicBezTo>
                    <a:cubicBezTo>
                      <a:pt x="147" y="36"/>
                      <a:pt x="143" y="36"/>
                      <a:pt x="138" y="36"/>
                    </a:cubicBezTo>
                    <a:cubicBezTo>
                      <a:pt x="133" y="37"/>
                      <a:pt x="128" y="37"/>
                      <a:pt x="123" y="38"/>
                    </a:cubicBezTo>
                    <a:lnTo>
                      <a:pt x="125" y="45"/>
                    </a:lnTo>
                    <a:close/>
                    <a:moveTo>
                      <a:pt x="81" y="34"/>
                    </a:moveTo>
                    <a:cubicBezTo>
                      <a:pt x="91" y="34"/>
                      <a:pt x="91" y="34"/>
                      <a:pt x="91" y="34"/>
                    </a:cubicBezTo>
                    <a:cubicBezTo>
                      <a:pt x="100" y="0"/>
                      <a:pt x="100" y="0"/>
                      <a:pt x="100" y="0"/>
                    </a:cubicBezTo>
                    <a:cubicBezTo>
                      <a:pt x="89" y="0"/>
                      <a:pt x="89" y="0"/>
                      <a:pt x="89" y="0"/>
                    </a:cubicBezTo>
                    <a:lnTo>
                      <a:pt x="81" y="34"/>
                    </a:lnTo>
                    <a:close/>
                    <a:moveTo>
                      <a:pt x="70" y="117"/>
                    </a:moveTo>
                    <a:cubicBezTo>
                      <a:pt x="70" y="109"/>
                      <a:pt x="70" y="109"/>
                      <a:pt x="70" y="109"/>
                    </a:cubicBezTo>
                    <a:cubicBezTo>
                      <a:pt x="11" y="109"/>
                      <a:pt x="11" y="109"/>
                      <a:pt x="11" y="109"/>
                    </a:cubicBezTo>
                    <a:cubicBezTo>
                      <a:pt x="11" y="5"/>
                      <a:pt x="11" y="5"/>
                      <a:pt x="11" y="5"/>
                    </a:cubicBezTo>
                    <a:cubicBezTo>
                      <a:pt x="0" y="5"/>
                      <a:pt x="0" y="5"/>
                      <a:pt x="0" y="5"/>
                    </a:cubicBezTo>
                    <a:cubicBezTo>
                      <a:pt x="0" y="117"/>
                      <a:pt x="0" y="117"/>
                      <a:pt x="0" y="117"/>
                    </a:cubicBezTo>
                    <a:lnTo>
                      <a:pt x="70" y="117"/>
                    </a:lnTo>
                    <a:close/>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17" name="Freeform 22"/>
              <p:cNvSpPr>
                <a:spLocks noEditPoints="1"/>
              </p:cNvSpPr>
              <p:nvPr userDrawn="1"/>
            </p:nvSpPr>
            <p:spPr bwMode="auto">
              <a:xfrm>
                <a:off x="3825875" y="2044700"/>
                <a:ext cx="1347788" cy="114300"/>
              </a:xfrm>
              <a:custGeom>
                <a:avLst/>
                <a:gdLst/>
                <a:ahLst/>
                <a:cxnLst>
                  <a:cxn ang="0">
                    <a:pos x="1726" y="117"/>
                  </a:cxn>
                  <a:cxn ang="0">
                    <a:pos x="1670" y="43"/>
                  </a:cxn>
                  <a:cxn ang="0">
                    <a:pos x="1648" y="17"/>
                  </a:cxn>
                  <a:cxn ang="0">
                    <a:pos x="1557" y="60"/>
                  </a:cxn>
                  <a:cxn ang="0">
                    <a:pos x="1605" y="92"/>
                  </a:cxn>
                  <a:cxn ang="0">
                    <a:pos x="1547" y="57"/>
                  </a:cxn>
                  <a:cxn ang="0">
                    <a:pos x="1615" y="95"/>
                  </a:cxn>
                  <a:cxn ang="0">
                    <a:pos x="1526" y="5"/>
                  </a:cxn>
                  <a:cxn ang="0">
                    <a:pos x="1448" y="114"/>
                  </a:cxn>
                  <a:cxn ang="0">
                    <a:pos x="1430" y="69"/>
                  </a:cxn>
                  <a:cxn ang="0">
                    <a:pos x="1456" y="44"/>
                  </a:cxn>
                  <a:cxn ang="0">
                    <a:pos x="1411" y="46"/>
                  </a:cxn>
                  <a:cxn ang="0">
                    <a:pos x="1435" y="83"/>
                  </a:cxn>
                  <a:cxn ang="0">
                    <a:pos x="1431" y="111"/>
                  </a:cxn>
                  <a:cxn ang="0">
                    <a:pos x="1369" y="110"/>
                  </a:cxn>
                  <a:cxn ang="0">
                    <a:pos x="1332" y="109"/>
                  </a:cxn>
                  <a:cxn ang="0">
                    <a:pos x="1304" y="5"/>
                  </a:cxn>
                  <a:cxn ang="0">
                    <a:pos x="1261" y="63"/>
                  </a:cxn>
                  <a:cxn ang="0">
                    <a:pos x="1218" y="44"/>
                  </a:cxn>
                  <a:cxn ang="0">
                    <a:pos x="1271" y="60"/>
                  </a:cxn>
                  <a:cxn ang="0">
                    <a:pos x="1218" y="114"/>
                  </a:cxn>
                  <a:cxn ang="0">
                    <a:pos x="1155" y="36"/>
                  </a:cxn>
                  <a:cxn ang="0">
                    <a:pos x="1059" y="43"/>
                  </a:cxn>
                  <a:cxn ang="0">
                    <a:pos x="1060" y="111"/>
                  </a:cxn>
                  <a:cxn ang="0">
                    <a:pos x="1059" y="36"/>
                  </a:cxn>
                  <a:cxn ang="0">
                    <a:pos x="1060" y="118"/>
                  </a:cxn>
                  <a:cxn ang="0">
                    <a:pos x="1007" y="5"/>
                  </a:cxn>
                  <a:cxn ang="0">
                    <a:pos x="930" y="107"/>
                  </a:cxn>
                  <a:cxn ang="0">
                    <a:pos x="930" y="107"/>
                  </a:cxn>
                  <a:cxn ang="0">
                    <a:pos x="885" y="78"/>
                  </a:cxn>
                  <a:cxn ang="0">
                    <a:pos x="913" y="36"/>
                  </a:cxn>
                  <a:cxn ang="0">
                    <a:pos x="842" y="34"/>
                  </a:cxn>
                  <a:cxn ang="0">
                    <a:pos x="768" y="61"/>
                  </a:cxn>
                  <a:cxn ang="0">
                    <a:pos x="801" y="37"/>
                  </a:cxn>
                  <a:cxn ang="0">
                    <a:pos x="778" y="116"/>
                  </a:cxn>
                  <a:cxn ang="0">
                    <a:pos x="643" y="117"/>
                  </a:cxn>
                  <a:cxn ang="0">
                    <a:pos x="700" y="75"/>
                  </a:cxn>
                  <a:cxn ang="0">
                    <a:pos x="564" y="109"/>
                  </a:cxn>
                  <a:cxn ang="0">
                    <a:pos x="588" y="45"/>
                  </a:cxn>
                  <a:cxn ang="0">
                    <a:pos x="564" y="109"/>
                  </a:cxn>
                  <a:cxn ang="0">
                    <a:pos x="559" y="116"/>
                  </a:cxn>
                  <a:cxn ang="0">
                    <a:pos x="592" y="38"/>
                  </a:cxn>
                  <a:cxn ang="0">
                    <a:pos x="522" y="17"/>
                  </a:cxn>
                  <a:cxn ang="0">
                    <a:pos x="467" y="45"/>
                  </a:cxn>
                  <a:cxn ang="0">
                    <a:pos x="496" y="110"/>
                  </a:cxn>
                  <a:cxn ang="0">
                    <a:pos x="477" y="45"/>
                  </a:cxn>
                  <a:cxn ang="0">
                    <a:pos x="440" y="37"/>
                  </a:cxn>
                  <a:cxn ang="0">
                    <a:pos x="353" y="47"/>
                  </a:cxn>
                  <a:cxn ang="0">
                    <a:pos x="392" y="102"/>
                  </a:cxn>
                  <a:cxn ang="0">
                    <a:pos x="354" y="118"/>
                  </a:cxn>
                  <a:cxn ang="0">
                    <a:pos x="392" y="38"/>
                  </a:cxn>
                  <a:cxn ang="0">
                    <a:pos x="212" y="47"/>
                  </a:cxn>
                  <a:cxn ang="0">
                    <a:pos x="267" y="117"/>
                  </a:cxn>
                  <a:cxn ang="0">
                    <a:pos x="309" y="60"/>
                  </a:cxn>
                  <a:cxn ang="0">
                    <a:pos x="289" y="36"/>
                  </a:cxn>
                  <a:cxn ang="0">
                    <a:pos x="201" y="117"/>
                  </a:cxn>
                  <a:cxn ang="0">
                    <a:pos x="169" y="76"/>
                  </a:cxn>
                  <a:cxn ang="0">
                    <a:pos x="143" y="71"/>
                  </a:cxn>
                  <a:cxn ang="0">
                    <a:pos x="173" y="42"/>
                  </a:cxn>
                  <a:cxn ang="0">
                    <a:pos x="89" y="0"/>
                  </a:cxn>
                  <a:cxn ang="0">
                    <a:pos x="70" y="117"/>
                  </a:cxn>
                </a:cxnLst>
                <a:rect l="0" t="0" r="r" b="b"/>
                <a:pathLst>
                  <a:path w="1737" h="148">
                    <a:moveTo>
                      <a:pt x="1670" y="117"/>
                    </a:moveTo>
                    <a:cubicBezTo>
                      <a:pt x="1680" y="117"/>
                      <a:pt x="1680" y="117"/>
                      <a:pt x="1680" y="117"/>
                    </a:cubicBezTo>
                    <a:cubicBezTo>
                      <a:pt x="1680" y="47"/>
                      <a:pt x="1680" y="47"/>
                      <a:pt x="1680" y="47"/>
                    </a:cubicBezTo>
                    <a:cubicBezTo>
                      <a:pt x="1683" y="46"/>
                      <a:pt x="1686" y="45"/>
                      <a:pt x="1690" y="44"/>
                    </a:cubicBezTo>
                    <a:cubicBezTo>
                      <a:pt x="1694" y="43"/>
                      <a:pt x="1698" y="43"/>
                      <a:pt x="1703" y="43"/>
                    </a:cubicBezTo>
                    <a:cubicBezTo>
                      <a:pt x="1712" y="43"/>
                      <a:pt x="1718" y="45"/>
                      <a:pt x="1721" y="51"/>
                    </a:cubicBezTo>
                    <a:cubicBezTo>
                      <a:pt x="1725" y="56"/>
                      <a:pt x="1726" y="64"/>
                      <a:pt x="1726" y="75"/>
                    </a:cubicBezTo>
                    <a:cubicBezTo>
                      <a:pt x="1726" y="117"/>
                      <a:pt x="1726" y="117"/>
                      <a:pt x="1726" y="117"/>
                    </a:cubicBezTo>
                    <a:cubicBezTo>
                      <a:pt x="1737" y="117"/>
                      <a:pt x="1737" y="117"/>
                      <a:pt x="1737" y="117"/>
                    </a:cubicBezTo>
                    <a:cubicBezTo>
                      <a:pt x="1737" y="75"/>
                      <a:pt x="1737" y="75"/>
                      <a:pt x="1737" y="75"/>
                    </a:cubicBezTo>
                    <a:cubicBezTo>
                      <a:pt x="1737" y="69"/>
                      <a:pt x="1737" y="63"/>
                      <a:pt x="1736" y="58"/>
                    </a:cubicBezTo>
                    <a:cubicBezTo>
                      <a:pt x="1734" y="53"/>
                      <a:pt x="1732" y="49"/>
                      <a:pt x="1730" y="45"/>
                    </a:cubicBezTo>
                    <a:cubicBezTo>
                      <a:pt x="1727" y="42"/>
                      <a:pt x="1723" y="40"/>
                      <a:pt x="1719" y="38"/>
                    </a:cubicBezTo>
                    <a:cubicBezTo>
                      <a:pt x="1715" y="37"/>
                      <a:pt x="1709" y="36"/>
                      <a:pt x="1703" y="36"/>
                    </a:cubicBezTo>
                    <a:cubicBezTo>
                      <a:pt x="1697" y="36"/>
                      <a:pt x="1692" y="36"/>
                      <a:pt x="1686" y="37"/>
                    </a:cubicBezTo>
                    <a:cubicBezTo>
                      <a:pt x="1681" y="39"/>
                      <a:pt x="1676" y="40"/>
                      <a:pt x="1670" y="43"/>
                    </a:cubicBezTo>
                    <a:lnTo>
                      <a:pt x="1670" y="117"/>
                    </a:lnTo>
                    <a:close/>
                    <a:moveTo>
                      <a:pt x="1637" y="117"/>
                    </a:moveTo>
                    <a:cubicBezTo>
                      <a:pt x="1648" y="117"/>
                      <a:pt x="1648" y="117"/>
                      <a:pt x="1648" y="117"/>
                    </a:cubicBezTo>
                    <a:cubicBezTo>
                      <a:pt x="1648" y="37"/>
                      <a:pt x="1648" y="37"/>
                      <a:pt x="1648" y="37"/>
                    </a:cubicBezTo>
                    <a:cubicBezTo>
                      <a:pt x="1637" y="37"/>
                      <a:pt x="1637" y="37"/>
                      <a:pt x="1637" y="37"/>
                    </a:cubicBezTo>
                    <a:lnTo>
                      <a:pt x="1637" y="117"/>
                    </a:lnTo>
                    <a:close/>
                    <a:moveTo>
                      <a:pt x="1637" y="17"/>
                    </a:moveTo>
                    <a:cubicBezTo>
                      <a:pt x="1648" y="17"/>
                      <a:pt x="1648" y="17"/>
                      <a:pt x="1648" y="17"/>
                    </a:cubicBezTo>
                    <a:cubicBezTo>
                      <a:pt x="1648" y="6"/>
                      <a:pt x="1648" y="6"/>
                      <a:pt x="1648" y="6"/>
                    </a:cubicBezTo>
                    <a:cubicBezTo>
                      <a:pt x="1637" y="6"/>
                      <a:pt x="1637" y="6"/>
                      <a:pt x="1637" y="6"/>
                    </a:cubicBezTo>
                    <a:lnTo>
                      <a:pt x="1637" y="17"/>
                    </a:lnTo>
                    <a:close/>
                    <a:moveTo>
                      <a:pt x="1568" y="109"/>
                    </a:moveTo>
                    <a:cubicBezTo>
                      <a:pt x="1565" y="108"/>
                      <a:pt x="1562" y="106"/>
                      <a:pt x="1560" y="103"/>
                    </a:cubicBezTo>
                    <a:cubicBezTo>
                      <a:pt x="1558" y="100"/>
                      <a:pt x="1557" y="97"/>
                      <a:pt x="1556" y="92"/>
                    </a:cubicBezTo>
                    <a:cubicBezTo>
                      <a:pt x="1556" y="88"/>
                      <a:pt x="1556" y="82"/>
                      <a:pt x="1556" y="76"/>
                    </a:cubicBezTo>
                    <a:cubicBezTo>
                      <a:pt x="1556" y="69"/>
                      <a:pt x="1556" y="64"/>
                      <a:pt x="1557" y="60"/>
                    </a:cubicBezTo>
                    <a:cubicBezTo>
                      <a:pt x="1558" y="56"/>
                      <a:pt x="1559" y="52"/>
                      <a:pt x="1561" y="50"/>
                    </a:cubicBezTo>
                    <a:cubicBezTo>
                      <a:pt x="1563" y="47"/>
                      <a:pt x="1566" y="46"/>
                      <a:pt x="1569" y="45"/>
                    </a:cubicBezTo>
                    <a:cubicBezTo>
                      <a:pt x="1572" y="44"/>
                      <a:pt x="1576" y="43"/>
                      <a:pt x="1581" y="43"/>
                    </a:cubicBezTo>
                    <a:cubicBezTo>
                      <a:pt x="1585" y="43"/>
                      <a:pt x="1588" y="44"/>
                      <a:pt x="1592" y="45"/>
                    </a:cubicBezTo>
                    <a:cubicBezTo>
                      <a:pt x="1595" y="46"/>
                      <a:pt x="1597" y="48"/>
                      <a:pt x="1599" y="50"/>
                    </a:cubicBezTo>
                    <a:cubicBezTo>
                      <a:pt x="1602" y="53"/>
                      <a:pt x="1603" y="56"/>
                      <a:pt x="1604" y="61"/>
                    </a:cubicBezTo>
                    <a:cubicBezTo>
                      <a:pt x="1605" y="65"/>
                      <a:pt x="1606" y="70"/>
                      <a:pt x="1606" y="76"/>
                    </a:cubicBezTo>
                    <a:cubicBezTo>
                      <a:pt x="1606" y="82"/>
                      <a:pt x="1606" y="87"/>
                      <a:pt x="1605" y="92"/>
                    </a:cubicBezTo>
                    <a:cubicBezTo>
                      <a:pt x="1605" y="96"/>
                      <a:pt x="1603" y="100"/>
                      <a:pt x="1602" y="103"/>
                    </a:cubicBezTo>
                    <a:cubicBezTo>
                      <a:pt x="1600" y="106"/>
                      <a:pt x="1597" y="108"/>
                      <a:pt x="1594" y="109"/>
                    </a:cubicBezTo>
                    <a:cubicBezTo>
                      <a:pt x="1591" y="110"/>
                      <a:pt x="1587" y="111"/>
                      <a:pt x="1581" y="111"/>
                    </a:cubicBezTo>
                    <a:cubicBezTo>
                      <a:pt x="1576" y="111"/>
                      <a:pt x="1571" y="111"/>
                      <a:pt x="1568" y="109"/>
                    </a:cubicBezTo>
                    <a:close/>
                    <a:moveTo>
                      <a:pt x="1581" y="36"/>
                    </a:moveTo>
                    <a:cubicBezTo>
                      <a:pt x="1575" y="36"/>
                      <a:pt x="1569" y="36"/>
                      <a:pt x="1565" y="38"/>
                    </a:cubicBezTo>
                    <a:cubicBezTo>
                      <a:pt x="1560" y="39"/>
                      <a:pt x="1557" y="41"/>
                      <a:pt x="1554" y="45"/>
                    </a:cubicBezTo>
                    <a:cubicBezTo>
                      <a:pt x="1551" y="48"/>
                      <a:pt x="1548" y="52"/>
                      <a:pt x="1547" y="57"/>
                    </a:cubicBezTo>
                    <a:cubicBezTo>
                      <a:pt x="1546" y="62"/>
                      <a:pt x="1545" y="68"/>
                      <a:pt x="1545" y="75"/>
                    </a:cubicBezTo>
                    <a:cubicBezTo>
                      <a:pt x="1545" y="83"/>
                      <a:pt x="1545" y="90"/>
                      <a:pt x="1547" y="95"/>
                    </a:cubicBezTo>
                    <a:cubicBezTo>
                      <a:pt x="1548" y="101"/>
                      <a:pt x="1550" y="105"/>
                      <a:pt x="1552" y="109"/>
                    </a:cubicBezTo>
                    <a:cubicBezTo>
                      <a:pt x="1555" y="112"/>
                      <a:pt x="1559" y="114"/>
                      <a:pt x="1563" y="116"/>
                    </a:cubicBezTo>
                    <a:cubicBezTo>
                      <a:pt x="1568" y="118"/>
                      <a:pt x="1574" y="118"/>
                      <a:pt x="1581" y="118"/>
                    </a:cubicBezTo>
                    <a:cubicBezTo>
                      <a:pt x="1588" y="118"/>
                      <a:pt x="1594" y="117"/>
                      <a:pt x="1599" y="116"/>
                    </a:cubicBezTo>
                    <a:cubicBezTo>
                      <a:pt x="1603" y="114"/>
                      <a:pt x="1607" y="111"/>
                      <a:pt x="1610" y="108"/>
                    </a:cubicBezTo>
                    <a:cubicBezTo>
                      <a:pt x="1612" y="104"/>
                      <a:pt x="1614" y="100"/>
                      <a:pt x="1615" y="95"/>
                    </a:cubicBezTo>
                    <a:cubicBezTo>
                      <a:pt x="1616" y="89"/>
                      <a:pt x="1617" y="83"/>
                      <a:pt x="1617" y="76"/>
                    </a:cubicBezTo>
                    <a:cubicBezTo>
                      <a:pt x="1617" y="69"/>
                      <a:pt x="1616" y="63"/>
                      <a:pt x="1614" y="57"/>
                    </a:cubicBezTo>
                    <a:cubicBezTo>
                      <a:pt x="1613" y="52"/>
                      <a:pt x="1610" y="48"/>
                      <a:pt x="1607" y="45"/>
                    </a:cubicBezTo>
                    <a:cubicBezTo>
                      <a:pt x="1604" y="42"/>
                      <a:pt x="1601" y="40"/>
                      <a:pt x="1596" y="38"/>
                    </a:cubicBezTo>
                    <a:cubicBezTo>
                      <a:pt x="1592" y="37"/>
                      <a:pt x="1587" y="36"/>
                      <a:pt x="1581" y="36"/>
                    </a:cubicBezTo>
                    <a:close/>
                    <a:moveTo>
                      <a:pt x="1516" y="117"/>
                    </a:moveTo>
                    <a:cubicBezTo>
                      <a:pt x="1526" y="117"/>
                      <a:pt x="1526" y="117"/>
                      <a:pt x="1526" y="117"/>
                    </a:cubicBezTo>
                    <a:cubicBezTo>
                      <a:pt x="1526" y="5"/>
                      <a:pt x="1526" y="5"/>
                      <a:pt x="1526" y="5"/>
                    </a:cubicBezTo>
                    <a:cubicBezTo>
                      <a:pt x="1516" y="5"/>
                      <a:pt x="1516" y="5"/>
                      <a:pt x="1516" y="5"/>
                    </a:cubicBezTo>
                    <a:lnTo>
                      <a:pt x="1516" y="117"/>
                    </a:lnTo>
                    <a:close/>
                    <a:moveTo>
                      <a:pt x="1408" y="115"/>
                    </a:moveTo>
                    <a:cubicBezTo>
                      <a:pt x="1412" y="116"/>
                      <a:pt x="1415" y="116"/>
                      <a:pt x="1419" y="117"/>
                    </a:cubicBezTo>
                    <a:cubicBezTo>
                      <a:pt x="1422" y="117"/>
                      <a:pt x="1426" y="117"/>
                      <a:pt x="1429" y="117"/>
                    </a:cubicBezTo>
                    <a:cubicBezTo>
                      <a:pt x="1432" y="117"/>
                      <a:pt x="1432" y="117"/>
                      <a:pt x="1432" y="117"/>
                    </a:cubicBezTo>
                    <a:cubicBezTo>
                      <a:pt x="1434" y="117"/>
                      <a:pt x="1437" y="117"/>
                      <a:pt x="1440" y="117"/>
                    </a:cubicBezTo>
                    <a:cubicBezTo>
                      <a:pt x="1443" y="116"/>
                      <a:pt x="1446" y="115"/>
                      <a:pt x="1448" y="114"/>
                    </a:cubicBezTo>
                    <a:cubicBezTo>
                      <a:pt x="1451" y="113"/>
                      <a:pt x="1453" y="111"/>
                      <a:pt x="1455" y="108"/>
                    </a:cubicBezTo>
                    <a:cubicBezTo>
                      <a:pt x="1457" y="106"/>
                      <a:pt x="1457" y="102"/>
                      <a:pt x="1457" y="98"/>
                    </a:cubicBezTo>
                    <a:cubicBezTo>
                      <a:pt x="1457" y="96"/>
                      <a:pt x="1457" y="94"/>
                      <a:pt x="1456" y="91"/>
                    </a:cubicBezTo>
                    <a:cubicBezTo>
                      <a:pt x="1455" y="88"/>
                      <a:pt x="1453" y="85"/>
                      <a:pt x="1450" y="83"/>
                    </a:cubicBezTo>
                    <a:cubicBezTo>
                      <a:pt x="1449" y="82"/>
                      <a:pt x="1448" y="81"/>
                      <a:pt x="1447" y="80"/>
                    </a:cubicBezTo>
                    <a:cubicBezTo>
                      <a:pt x="1445" y="79"/>
                      <a:pt x="1444" y="78"/>
                      <a:pt x="1442" y="77"/>
                    </a:cubicBezTo>
                    <a:cubicBezTo>
                      <a:pt x="1440" y="76"/>
                      <a:pt x="1438" y="74"/>
                      <a:pt x="1436" y="73"/>
                    </a:cubicBezTo>
                    <a:cubicBezTo>
                      <a:pt x="1434" y="72"/>
                      <a:pt x="1432" y="70"/>
                      <a:pt x="1430" y="69"/>
                    </a:cubicBezTo>
                    <a:cubicBezTo>
                      <a:pt x="1426" y="67"/>
                      <a:pt x="1424" y="64"/>
                      <a:pt x="1422" y="62"/>
                    </a:cubicBezTo>
                    <a:cubicBezTo>
                      <a:pt x="1421" y="61"/>
                      <a:pt x="1420" y="58"/>
                      <a:pt x="1420" y="55"/>
                    </a:cubicBezTo>
                    <a:cubicBezTo>
                      <a:pt x="1420" y="53"/>
                      <a:pt x="1420" y="53"/>
                      <a:pt x="1420" y="53"/>
                    </a:cubicBezTo>
                    <a:cubicBezTo>
                      <a:pt x="1420" y="50"/>
                      <a:pt x="1422" y="48"/>
                      <a:pt x="1424" y="46"/>
                    </a:cubicBezTo>
                    <a:cubicBezTo>
                      <a:pt x="1426" y="44"/>
                      <a:pt x="1430" y="43"/>
                      <a:pt x="1435" y="43"/>
                    </a:cubicBezTo>
                    <a:cubicBezTo>
                      <a:pt x="1438" y="43"/>
                      <a:pt x="1438" y="43"/>
                      <a:pt x="1438" y="43"/>
                    </a:cubicBezTo>
                    <a:cubicBezTo>
                      <a:pt x="1441" y="43"/>
                      <a:pt x="1444" y="43"/>
                      <a:pt x="1446" y="43"/>
                    </a:cubicBezTo>
                    <a:cubicBezTo>
                      <a:pt x="1449" y="43"/>
                      <a:pt x="1452" y="44"/>
                      <a:pt x="1456" y="44"/>
                    </a:cubicBezTo>
                    <a:cubicBezTo>
                      <a:pt x="1457" y="37"/>
                      <a:pt x="1457" y="37"/>
                      <a:pt x="1457" y="37"/>
                    </a:cubicBezTo>
                    <a:cubicBezTo>
                      <a:pt x="1455" y="37"/>
                      <a:pt x="1453" y="37"/>
                      <a:pt x="1451" y="37"/>
                    </a:cubicBezTo>
                    <a:cubicBezTo>
                      <a:pt x="1449" y="36"/>
                      <a:pt x="1448" y="36"/>
                      <a:pt x="1446" y="36"/>
                    </a:cubicBezTo>
                    <a:cubicBezTo>
                      <a:pt x="1444" y="36"/>
                      <a:pt x="1443" y="36"/>
                      <a:pt x="1441" y="36"/>
                    </a:cubicBezTo>
                    <a:cubicBezTo>
                      <a:pt x="1439" y="36"/>
                      <a:pt x="1437" y="36"/>
                      <a:pt x="1435" y="36"/>
                    </a:cubicBezTo>
                    <a:cubicBezTo>
                      <a:pt x="1431" y="36"/>
                      <a:pt x="1427" y="36"/>
                      <a:pt x="1424" y="37"/>
                    </a:cubicBezTo>
                    <a:cubicBezTo>
                      <a:pt x="1421" y="38"/>
                      <a:pt x="1418" y="39"/>
                      <a:pt x="1416" y="41"/>
                    </a:cubicBezTo>
                    <a:cubicBezTo>
                      <a:pt x="1414" y="42"/>
                      <a:pt x="1412" y="44"/>
                      <a:pt x="1411" y="46"/>
                    </a:cubicBezTo>
                    <a:cubicBezTo>
                      <a:pt x="1410" y="48"/>
                      <a:pt x="1410" y="50"/>
                      <a:pt x="1410" y="52"/>
                    </a:cubicBezTo>
                    <a:cubicBezTo>
                      <a:pt x="1410" y="55"/>
                      <a:pt x="1410" y="55"/>
                      <a:pt x="1410" y="55"/>
                    </a:cubicBezTo>
                    <a:cubicBezTo>
                      <a:pt x="1410" y="57"/>
                      <a:pt x="1410" y="59"/>
                      <a:pt x="1410" y="61"/>
                    </a:cubicBezTo>
                    <a:cubicBezTo>
                      <a:pt x="1411" y="63"/>
                      <a:pt x="1412" y="65"/>
                      <a:pt x="1413" y="66"/>
                    </a:cubicBezTo>
                    <a:cubicBezTo>
                      <a:pt x="1414" y="68"/>
                      <a:pt x="1416" y="70"/>
                      <a:pt x="1417" y="71"/>
                    </a:cubicBezTo>
                    <a:cubicBezTo>
                      <a:pt x="1419" y="72"/>
                      <a:pt x="1421" y="74"/>
                      <a:pt x="1424" y="75"/>
                    </a:cubicBezTo>
                    <a:cubicBezTo>
                      <a:pt x="1425" y="77"/>
                      <a:pt x="1427" y="78"/>
                      <a:pt x="1429" y="79"/>
                    </a:cubicBezTo>
                    <a:cubicBezTo>
                      <a:pt x="1431" y="80"/>
                      <a:pt x="1433" y="82"/>
                      <a:pt x="1435" y="83"/>
                    </a:cubicBezTo>
                    <a:cubicBezTo>
                      <a:pt x="1436" y="84"/>
                      <a:pt x="1438" y="85"/>
                      <a:pt x="1439" y="86"/>
                    </a:cubicBezTo>
                    <a:cubicBezTo>
                      <a:pt x="1440" y="87"/>
                      <a:pt x="1441" y="88"/>
                      <a:pt x="1442" y="89"/>
                    </a:cubicBezTo>
                    <a:cubicBezTo>
                      <a:pt x="1444" y="90"/>
                      <a:pt x="1445" y="92"/>
                      <a:pt x="1446" y="94"/>
                    </a:cubicBezTo>
                    <a:cubicBezTo>
                      <a:pt x="1446" y="95"/>
                      <a:pt x="1447" y="97"/>
                      <a:pt x="1447" y="99"/>
                    </a:cubicBezTo>
                    <a:cubicBezTo>
                      <a:pt x="1447" y="101"/>
                      <a:pt x="1446" y="103"/>
                      <a:pt x="1446" y="105"/>
                    </a:cubicBezTo>
                    <a:cubicBezTo>
                      <a:pt x="1445" y="107"/>
                      <a:pt x="1444" y="108"/>
                      <a:pt x="1442" y="109"/>
                    </a:cubicBezTo>
                    <a:cubicBezTo>
                      <a:pt x="1441" y="109"/>
                      <a:pt x="1439" y="110"/>
                      <a:pt x="1437" y="110"/>
                    </a:cubicBezTo>
                    <a:cubicBezTo>
                      <a:pt x="1435" y="111"/>
                      <a:pt x="1433" y="111"/>
                      <a:pt x="1431" y="111"/>
                    </a:cubicBezTo>
                    <a:cubicBezTo>
                      <a:pt x="1428" y="111"/>
                      <a:pt x="1428" y="111"/>
                      <a:pt x="1428" y="111"/>
                    </a:cubicBezTo>
                    <a:cubicBezTo>
                      <a:pt x="1426" y="111"/>
                      <a:pt x="1423" y="111"/>
                      <a:pt x="1420" y="110"/>
                    </a:cubicBezTo>
                    <a:cubicBezTo>
                      <a:pt x="1417" y="110"/>
                      <a:pt x="1413" y="109"/>
                      <a:pt x="1409" y="109"/>
                    </a:cubicBezTo>
                    <a:lnTo>
                      <a:pt x="1408" y="115"/>
                    </a:lnTo>
                    <a:close/>
                    <a:moveTo>
                      <a:pt x="1390" y="37"/>
                    </a:moveTo>
                    <a:cubicBezTo>
                      <a:pt x="1379" y="37"/>
                      <a:pt x="1379" y="37"/>
                      <a:pt x="1379" y="37"/>
                    </a:cubicBezTo>
                    <a:cubicBezTo>
                      <a:pt x="1379" y="107"/>
                      <a:pt x="1379" y="107"/>
                      <a:pt x="1379" y="107"/>
                    </a:cubicBezTo>
                    <a:cubicBezTo>
                      <a:pt x="1376" y="108"/>
                      <a:pt x="1373" y="109"/>
                      <a:pt x="1369" y="110"/>
                    </a:cubicBezTo>
                    <a:cubicBezTo>
                      <a:pt x="1366" y="111"/>
                      <a:pt x="1362" y="111"/>
                      <a:pt x="1359" y="111"/>
                    </a:cubicBezTo>
                    <a:cubicBezTo>
                      <a:pt x="1350" y="111"/>
                      <a:pt x="1344" y="109"/>
                      <a:pt x="1340" y="104"/>
                    </a:cubicBezTo>
                    <a:cubicBezTo>
                      <a:pt x="1337" y="99"/>
                      <a:pt x="1335" y="90"/>
                      <a:pt x="1335" y="79"/>
                    </a:cubicBezTo>
                    <a:cubicBezTo>
                      <a:pt x="1335" y="38"/>
                      <a:pt x="1335" y="38"/>
                      <a:pt x="1335" y="38"/>
                    </a:cubicBezTo>
                    <a:cubicBezTo>
                      <a:pt x="1324" y="38"/>
                      <a:pt x="1324" y="38"/>
                      <a:pt x="1324" y="38"/>
                    </a:cubicBezTo>
                    <a:cubicBezTo>
                      <a:pt x="1324" y="79"/>
                      <a:pt x="1324" y="79"/>
                      <a:pt x="1324" y="79"/>
                    </a:cubicBezTo>
                    <a:cubicBezTo>
                      <a:pt x="1324" y="86"/>
                      <a:pt x="1325" y="92"/>
                      <a:pt x="1326" y="97"/>
                    </a:cubicBezTo>
                    <a:cubicBezTo>
                      <a:pt x="1327" y="102"/>
                      <a:pt x="1329" y="106"/>
                      <a:pt x="1332" y="109"/>
                    </a:cubicBezTo>
                    <a:cubicBezTo>
                      <a:pt x="1335" y="112"/>
                      <a:pt x="1338" y="114"/>
                      <a:pt x="1343" y="116"/>
                    </a:cubicBezTo>
                    <a:cubicBezTo>
                      <a:pt x="1347" y="118"/>
                      <a:pt x="1352" y="118"/>
                      <a:pt x="1359" y="118"/>
                    </a:cubicBezTo>
                    <a:cubicBezTo>
                      <a:pt x="1363" y="118"/>
                      <a:pt x="1368" y="118"/>
                      <a:pt x="1373" y="117"/>
                    </a:cubicBezTo>
                    <a:cubicBezTo>
                      <a:pt x="1378" y="116"/>
                      <a:pt x="1384" y="114"/>
                      <a:pt x="1390" y="112"/>
                    </a:cubicBezTo>
                    <a:lnTo>
                      <a:pt x="1390" y="37"/>
                    </a:lnTo>
                    <a:close/>
                    <a:moveTo>
                      <a:pt x="1293" y="117"/>
                    </a:moveTo>
                    <a:cubicBezTo>
                      <a:pt x="1304" y="117"/>
                      <a:pt x="1304" y="117"/>
                      <a:pt x="1304" y="117"/>
                    </a:cubicBezTo>
                    <a:cubicBezTo>
                      <a:pt x="1304" y="5"/>
                      <a:pt x="1304" y="5"/>
                      <a:pt x="1304" y="5"/>
                    </a:cubicBezTo>
                    <a:cubicBezTo>
                      <a:pt x="1293" y="5"/>
                      <a:pt x="1293" y="5"/>
                      <a:pt x="1293" y="5"/>
                    </a:cubicBezTo>
                    <a:lnTo>
                      <a:pt x="1293" y="117"/>
                    </a:lnTo>
                    <a:close/>
                    <a:moveTo>
                      <a:pt x="1218" y="44"/>
                    </a:moveTo>
                    <a:cubicBezTo>
                      <a:pt x="1220" y="43"/>
                      <a:pt x="1222" y="43"/>
                      <a:pt x="1225" y="43"/>
                    </a:cubicBezTo>
                    <a:cubicBezTo>
                      <a:pt x="1228" y="43"/>
                      <a:pt x="1230" y="43"/>
                      <a:pt x="1232" y="43"/>
                    </a:cubicBezTo>
                    <a:cubicBezTo>
                      <a:pt x="1238" y="43"/>
                      <a:pt x="1243" y="44"/>
                      <a:pt x="1247" y="45"/>
                    </a:cubicBezTo>
                    <a:cubicBezTo>
                      <a:pt x="1251" y="47"/>
                      <a:pt x="1254" y="49"/>
                      <a:pt x="1257" y="52"/>
                    </a:cubicBezTo>
                    <a:cubicBezTo>
                      <a:pt x="1259" y="55"/>
                      <a:pt x="1260" y="58"/>
                      <a:pt x="1261" y="63"/>
                    </a:cubicBezTo>
                    <a:cubicBezTo>
                      <a:pt x="1262" y="67"/>
                      <a:pt x="1262" y="72"/>
                      <a:pt x="1262" y="78"/>
                    </a:cubicBezTo>
                    <a:cubicBezTo>
                      <a:pt x="1262" y="84"/>
                      <a:pt x="1262" y="89"/>
                      <a:pt x="1261" y="93"/>
                    </a:cubicBezTo>
                    <a:cubicBezTo>
                      <a:pt x="1260" y="97"/>
                      <a:pt x="1259" y="101"/>
                      <a:pt x="1258" y="103"/>
                    </a:cubicBezTo>
                    <a:cubicBezTo>
                      <a:pt x="1256" y="106"/>
                      <a:pt x="1254" y="108"/>
                      <a:pt x="1251" y="109"/>
                    </a:cubicBezTo>
                    <a:cubicBezTo>
                      <a:pt x="1249" y="110"/>
                      <a:pt x="1245" y="111"/>
                      <a:pt x="1241" y="111"/>
                    </a:cubicBezTo>
                    <a:cubicBezTo>
                      <a:pt x="1236" y="111"/>
                      <a:pt x="1232" y="111"/>
                      <a:pt x="1228" y="110"/>
                    </a:cubicBezTo>
                    <a:cubicBezTo>
                      <a:pt x="1224" y="109"/>
                      <a:pt x="1220" y="108"/>
                      <a:pt x="1218" y="107"/>
                    </a:cubicBezTo>
                    <a:lnTo>
                      <a:pt x="1218" y="44"/>
                    </a:lnTo>
                    <a:close/>
                    <a:moveTo>
                      <a:pt x="1218" y="114"/>
                    </a:moveTo>
                    <a:cubicBezTo>
                      <a:pt x="1220" y="115"/>
                      <a:pt x="1224" y="116"/>
                      <a:pt x="1228" y="117"/>
                    </a:cubicBezTo>
                    <a:cubicBezTo>
                      <a:pt x="1232" y="118"/>
                      <a:pt x="1236" y="118"/>
                      <a:pt x="1241" y="118"/>
                    </a:cubicBezTo>
                    <a:cubicBezTo>
                      <a:pt x="1247" y="118"/>
                      <a:pt x="1252" y="117"/>
                      <a:pt x="1256" y="116"/>
                    </a:cubicBezTo>
                    <a:cubicBezTo>
                      <a:pt x="1260" y="114"/>
                      <a:pt x="1264" y="112"/>
                      <a:pt x="1266" y="108"/>
                    </a:cubicBezTo>
                    <a:cubicBezTo>
                      <a:pt x="1268" y="105"/>
                      <a:pt x="1270" y="101"/>
                      <a:pt x="1271" y="96"/>
                    </a:cubicBezTo>
                    <a:cubicBezTo>
                      <a:pt x="1272" y="91"/>
                      <a:pt x="1273" y="85"/>
                      <a:pt x="1273" y="79"/>
                    </a:cubicBezTo>
                    <a:cubicBezTo>
                      <a:pt x="1273" y="71"/>
                      <a:pt x="1272" y="65"/>
                      <a:pt x="1271" y="60"/>
                    </a:cubicBezTo>
                    <a:cubicBezTo>
                      <a:pt x="1270" y="54"/>
                      <a:pt x="1267" y="50"/>
                      <a:pt x="1264" y="46"/>
                    </a:cubicBezTo>
                    <a:cubicBezTo>
                      <a:pt x="1261" y="43"/>
                      <a:pt x="1257" y="40"/>
                      <a:pt x="1251" y="38"/>
                    </a:cubicBezTo>
                    <a:cubicBezTo>
                      <a:pt x="1246" y="37"/>
                      <a:pt x="1239" y="36"/>
                      <a:pt x="1230" y="36"/>
                    </a:cubicBezTo>
                    <a:cubicBezTo>
                      <a:pt x="1226" y="36"/>
                      <a:pt x="1222" y="36"/>
                      <a:pt x="1219" y="36"/>
                    </a:cubicBezTo>
                    <a:cubicBezTo>
                      <a:pt x="1215" y="36"/>
                      <a:pt x="1211" y="37"/>
                      <a:pt x="1207" y="37"/>
                    </a:cubicBezTo>
                    <a:cubicBezTo>
                      <a:pt x="1207" y="148"/>
                      <a:pt x="1207" y="148"/>
                      <a:pt x="1207" y="148"/>
                    </a:cubicBezTo>
                    <a:cubicBezTo>
                      <a:pt x="1218" y="148"/>
                      <a:pt x="1218" y="148"/>
                      <a:pt x="1218" y="148"/>
                    </a:cubicBezTo>
                    <a:lnTo>
                      <a:pt x="1218" y="114"/>
                    </a:lnTo>
                    <a:close/>
                    <a:moveTo>
                      <a:pt x="1113" y="117"/>
                    </a:moveTo>
                    <a:cubicBezTo>
                      <a:pt x="1124" y="117"/>
                      <a:pt x="1124" y="117"/>
                      <a:pt x="1124" y="117"/>
                    </a:cubicBezTo>
                    <a:cubicBezTo>
                      <a:pt x="1124" y="47"/>
                      <a:pt x="1124" y="47"/>
                      <a:pt x="1124" y="47"/>
                    </a:cubicBezTo>
                    <a:cubicBezTo>
                      <a:pt x="1126" y="46"/>
                      <a:pt x="1130" y="45"/>
                      <a:pt x="1134" y="44"/>
                    </a:cubicBezTo>
                    <a:cubicBezTo>
                      <a:pt x="1138" y="43"/>
                      <a:pt x="1142" y="43"/>
                      <a:pt x="1146" y="43"/>
                    </a:cubicBezTo>
                    <a:cubicBezTo>
                      <a:pt x="1147" y="43"/>
                      <a:pt x="1149" y="43"/>
                      <a:pt x="1150" y="43"/>
                    </a:cubicBezTo>
                    <a:cubicBezTo>
                      <a:pt x="1151" y="43"/>
                      <a:pt x="1152" y="43"/>
                      <a:pt x="1154" y="44"/>
                    </a:cubicBezTo>
                    <a:cubicBezTo>
                      <a:pt x="1155" y="36"/>
                      <a:pt x="1155" y="36"/>
                      <a:pt x="1155" y="36"/>
                    </a:cubicBezTo>
                    <a:cubicBezTo>
                      <a:pt x="1153" y="36"/>
                      <a:pt x="1151" y="36"/>
                      <a:pt x="1150" y="36"/>
                    </a:cubicBezTo>
                    <a:cubicBezTo>
                      <a:pt x="1149" y="36"/>
                      <a:pt x="1148" y="36"/>
                      <a:pt x="1146" y="36"/>
                    </a:cubicBezTo>
                    <a:cubicBezTo>
                      <a:pt x="1141" y="36"/>
                      <a:pt x="1135" y="36"/>
                      <a:pt x="1130" y="38"/>
                    </a:cubicBezTo>
                    <a:cubicBezTo>
                      <a:pt x="1125" y="39"/>
                      <a:pt x="1119" y="40"/>
                      <a:pt x="1113" y="43"/>
                    </a:cubicBezTo>
                    <a:lnTo>
                      <a:pt x="1113" y="117"/>
                    </a:lnTo>
                    <a:close/>
                    <a:moveTo>
                      <a:pt x="1036" y="73"/>
                    </a:moveTo>
                    <a:cubicBezTo>
                      <a:pt x="1036" y="62"/>
                      <a:pt x="1038" y="54"/>
                      <a:pt x="1042" y="50"/>
                    </a:cubicBezTo>
                    <a:cubicBezTo>
                      <a:pt x="1046" y="45"/>
                      <a:pt x="1051" y="43"/>
                      <a:pt x="1059" y="43"/>
                    </a:cubicBezTo>
                    <a:cubicBezTo>
                      <a:pt x="1068" y="43"/>
                      <a:pt x="1074" y="45"/>
                      <a:pt x="1077" y="50"/>
                    </a:cubicBezTo>
                    <a:cubicBezTo>
                      <a:pt x="1081" y="54"/>
                      <a:pt x="1083" y="62"/>
                      <a:pt x="1083" y="73"/>
                    </a:cubicBezTo>
                    <a:lnTo>
                      <a:pt x="1036" y="73"/>
                    </a:lnTo>
                    <a:close/>
                    <a:moveTo>
                      <a:pt x="1090" y="107"/>
                    </a:moveTo>
                    <a:cubicBezTo>
                      <a:pt x="1088" y="107"/>
                      <a:pt x="1086" y="107"/>
                      <a:pt x="1084" y="108"/>
                    </a:cubicBezTo>
                    <a:cubicBezTo>
                      <a:pt x="1081" y="108"/>
                      <a:pt x="1079" y="109"/>
                      <a:pt x="1076" y="109"/>
                    </a:cubicBezTo>
                    <a:cubicBezTo>
                      <a:pt x="1073" y="110"/>
                      <a:pt x="1071" y="110"/>
                      <a:pt x="1068" y="111"/>
                    </a:cubicBezTo>
                    <a:cubicBezTo>
                      <a:pt x="1065" y="111"/>
                      <a:pt x="1063" y="111"/>
                      <a:pt x="1060" y="111"/>
                    </a:cubicBezTo>
                    <a:cubicBezTo>
                      <a:pt x="1056" y="111"/>
                      <a:pt x="1052" y="110"/>
                      <a:pt x="1049" y="109"/>
                    </a:cubicBezTo>
                    <a:cubicBezTo>
                      <a:pt x="1046" y="108"/>
                      <a:pt x="1043" y="106"/>
                      <a:pt x="1041" y="103"/>
                    </a:cubicBezTo>
                    <a:cubicBezTo>
                      <a:pt x="1040" y="101"/>
                      <a:pt x="1038" y="97"/>
                      <a:pt x="1037" y="93"/>
                    </a:cubicBezTo>
                    <a:cubicBezTo>
                      <a:pt x="1037" y="90"/>
                      <a:pt x="1036" y="85"/>
                      <a:pt x="1036" y="80"/>
                    </a:cubicBezTo>
                    <a:cubicBezTo>
                      <a:pt x="1094" y="80"/>
                      <a:pt x="1094" y="80"/>
                      <a:pt x="1094" y="80"/>
                    </a:cubicBezTo>
                    <a:cubicBezTo>
                      <a:pt x="1094" y="74"/>
                      <a:pt x="1094" y="74"/>
                      <a:pt x="1094" y="74"/>
                    </a:cubicBezTo>
                    <a:cubicBezTo>
                      <a:pt x="1094" y="60"/>
                      <a:pt x="1091" y="51"/>
                      <a:pt x="1085" y="45"/>
                    </a:cubicBezTo>
                    <a:cubicBezTo>
                      <a:pt x="1079" y="39"/>
                      <a:pt x="1071" y="36"/>
                      <a:pt x="1059" y="36"/>
                    </a:cubicBezTo>
                    <a:cubicBezTo>
                      <a:pt x="1054" y="36"/>
                      <a:pt x="1049" y="36"/>
                      <a:pt x="1045" y="38"/>
                    </a:cubicBezTo>
                    <a:cubicBezTo>
                      <a:pt x="1041" y="39"/>
                      <a:pt x="1037" y="41"/>
                      <a:pt x="1034" y="45"/>
                    </a:cubicBezTo>
                    <a:cubicBezTo>
                      <a:pt x="1031" y="48"/>
                      <a:pt x="1029" y="52"/>
                      <a:pt x="1028" y="57"/>
                    </a:cubicBezTo>
                    <a:cubicBezTo>
                      <a:pt x="1026" y="63"/>
                      <a:pt x="1025" y="69"/>
                      <a:pt x="1025" y="77"/>
                    </a:cubicBezTo>
                    <a:cubicBezTo>
                      <a:pt x="1025" y="83"/>
                      <a:pt x="1026" y="89"/>
                      <a:pt x="1027" y="94"/>
                    </a:cubicBezTo>
                    <a:cubicBezTo>
                      <a:pt x="1028" y="99"/>
                      <a:pt x="1030" y="104"/>
                      <a:pt x="1032" y="107"/>
                    </a:cubicBezTo>
                    <a:cubicBezTo>
                      <a:pt x="1035" y="111"/>
                      <a:pt x="1039" y="113"/>
                      <a:pt x="1043" y="115"/>
                    </a:cubicBezTo>
                    <a:cubicBezTo>
                      <a:pt x="1048" y="117"/>
                      <a:pt x="1053" y="118"/>
                      <a:pt x="1060" y="118"/>
                    </a:cubicBezTo>
                    <a:cubicBezTo>
                      <a:pt x="1063" y="118"/>
                      <a:pt x="1066" y="118"/>
                      <a:pt x="1068" y="118"/>
                    </a:cubicBezTo>
                    <a:cubicBezTo>
                      <a:pt x="1071" y="117"/>
                      <a:pt x="1074" y="117"/>
                      <a:pt x="1077" y="116"/>
                    </a:cubicBezTo>
                    <a:cubicBezTo>
                      <a:pt x="1080" y="116"/>
                      <a:pt x="1082" y="116"/>
                      <a:pt x="1085" y="115"/>
                    </a:cubicBezTo>
                    <a:cubicBezTo>
                      <a:pt x="1087" y="115"/>
                      <a:pt x="1089" y="114"/>
                      <a:pt x="1091" y="114"/>
                    </a:cubicBezTo>
                    <a:lnTo>
                      <a:pt x="1090" y="107"/>
                    </a:lnTo>
                    <a:close/>
                    <a:moveTo>
                      <a:pt x="996" y="117"/>
                    </a:moveTo>
                    <a:cubicBezTo>
                      <a:pt x="1007" y="117"/>
                      <a:pt x="1007" y="117"/>
                      <a:pt x="1007" y="117"/>
                    </a:cubicBezTo>
                    <a:cubicBezTo>
                      <a:pt x="1007" y="5"/>
                      <a:pt x="1007" y="5"/>
                      <a:pt x="1007" y="5"/>
                    </a:cubicBezTo>
                    <a:cubicBezTo>
                      <a:pt x="996" y="5"/>
                      <a:pt x="996" y="5"/>
                      <a:pt x="996" y="5"/>
                    </a:cubicBezTo>
                    <a:lnTo>
                      <a:pt x="996" y="117"/>
                    </a:lnTo>
                    <a:close/>
                    <a:moveTo>
                      <a:pt x="963" y="117"/>
                    </a:moveTo>
                    <a:cubicBezTo>
                      <a:pt x="974" y="117"/>
                      <a:pt x="974" y="117"/>
                      <a:pt x="974" y="117"/>
                    </a:cubicBezTo>
                    <a:cubicBezTo>
                      <a:pt x="974" y="5"/>
                      <a:pt x="974" y="5"/>
                      <a:pt x="974" y="5"/>
                    </a:cubicBezTo>
                    <a:cubicBezTo>
                      <a:pt x="963" y="5"/>
                      <a:pt x="963" y="5"/>
                      <a:pt x="963" y="5"/>
                    </a:cubicBezTo>
                    <a:lnTo>
                      <a:pt x="963" y="117"/>
                    </a:lnTo>
                    <a:close/>
                    <a:moveTo>
                      <a:pt x="930" y="107"/>
                    </a:moveTo>
                    <a:cubicBezTo>
                      <a:pt x="927" y="108"/>
                      <a:pt x="923" y="108"/>
                      <a:pt x="918" y="109"/>
                    </a:cubicBezTo>
                    <a:cubicBezTo>
                      <a:pt x="913" y="110"/>
                      <a:pt x="908" y="111"/>
                      <a:pt x="903" y="111"/>
                    </a:cubicBezTo>
                    <a:cubicBezTo>
                      <a:pt x="899" y="111"/>
                      <a:pt x="895" y="109"/>
                      <a:pt x="893" y="106"/>
                    </a:cubicBezTo>
                    <a:cubicBezTo>
                      <a:pt x="890" y="103"/>
                      <a:pt x="889" y="99"/>
                      <a:pt x="889" y="94"/>
                    </a:cubicBezTo>
                    <a:cubicBezTo>
                      <a:pt x="889" y="90"/>
                      <a:pt x="890" y="86"/>
                      <a:pt x="893" y="83"/>
                    </a:cubicBezTo>
                    <a:cubicBezTo>
                      <a:pt x="895" y="80"/>
                      <a:pt x="899" y="78"/>
                      <a:pt x="906" y="78"/>
                    </a:cubicBezTo>
                    <a:cubicBezTo>
                      <a:pt x="930" y="76"/>
                      <a:pt x="930" y="76"/>
                      <a:pt x="930" y="76"/>
                    </a:cubicBezTo>
                    <a:lnTo>
                      <a:pt x="930" y="107"/>
                    </a:lnTo>
                    <a:close/>
                    <a:moveTo>
                      <a:pt x="886" y="45"/>
                    </a:moveTo>
                    <a:cubicBezTo>
                      <a:pt x="891" y="45"/>
                      <a:pt x="896" y="44"/>
                      <a:pt x="900" y="44"/>
                    </a:cubicBezTo>
                    <a:cubicBezTo>
                      <a:pt x="905" y="43"/>
                      <a:pt x="909" y="43"/>
                      <a:pt x="913" y="43"/>
                    </a:cubicBezTo>
                    <a:cubicBezTo>
                      <a:pt x="919" y="43"/>
                      <a:pt x="923" y="45"/>
                      <a:pt x="926" y="47"/>
                    </a:cubicBezTo>
                    <a:cubicBezTo>
                      <a:pt x="929" y="50"/>
                      <a:pt x="930" y="54"/>
                      <a:pt x="930" y="61"/>
                    </a:cubicBezTo>
                    <a:cubicBezTo>
                      <a:pt x="930" y="69"/>
                      <a:pt x="930" y="69"/>
                      <a:pt x="930" y="69"/>
                    </a:cubicBezTo>
                    <a:cubicBezTo>
                      <a:pt x="905" y="71"/>
                      <a:pt x="905" y="71"/>
                      <a:pt x="905" y="71"/>
                    </a:cubicBezTo>
                    <a:cubicBezTo>
                      <a:pt x="895" y="72"/>
                      <a:pt x="889" y="74"/>
                      <a:pt x="885" y="78"/>
                    </a:cubicBezTo>
                    <a:cubicBezTo>
                      <a:pt x="881" y="82"/>
                      <a:pt x="879" y="88"/>
                      <a:pt x="879" y="94"/>
                    </a:cubicBezTo>
                    <a:cubicBezTo>
                      <a:pt x="879" y="102"/>
                      <a:pt x="881" y="108"/>
                      <a:pt x="885" y="112"/>
                    </a:cubicBezTo>
                    <a:cubicBezTo>
                      <a:pt x="889" y="116"/>
                      <a:pt x="895" y="118"/>
                      <a:pt x="903" y="118"/>
                    </a:cubicBezTo>
                    <a:cubicBezTo>
                      <a:pt x="911" y="118"/>
                      <a:pt x="918" y="117"/>
                      <a:pt x="924" y="116"/>
                    </a:cubicBezTo>
                    <a:cubicBezTo>
                      <a:pt x="931" y="114"/>
                      <a:pt x="936" y="113"/>
                      <a:pt x="941" y="111"/>
                    </a:cubicBezTo>
                    <a:cubicBezTo>
                      <a:pt x="941" y="61"/>
                      <a:pt x="941" y="61"/>
                      <a:pt x="941" y="61"/>
                    </a:cubicBezTo>
                    <a:cubicBezTo>
                      <a:pt x="941" y="53"/>
                      <a:pt x="939" y="46"/>
                      <a:pt x="934" y="42"/>
                    </a:cubicBezTo>
                    <a:cubicBezTo>
                      <a:pt x="930" y="38"/>
                      <a:pt x="923" y="36"/>
                      <a:pt x="913" y="36"/>
                    </a:cubicBezTo>
                    <a:cubicBezTo>
                      <a:pt x="909" y="36"/>
                      <a:pt x="904" y="36"/>
                      <a:pt x="899" y="36"/>
                    </a:cubicBezTo>
                    <a:cubicBezTo>
                      <a:pt x="894" y="37"/>
                      <a:pt x="889" y="37"/>
                      <a:pt x="884" y="38"/>
                    </a:cubicBezTo>
                    <a:lnTo>
                      <a:pt x="886" y="45"/>
                    </a:lnTo>
                    <a:close/>
                    <a:moveTo>
                      <a:pt x="842" y="34"/>
                    </a:moveTo>
                    <a:cubicBezTo>
                      <a:pt x="852" y="34"/>
                      <a:pt x="852" y="34"/>
                      <a:pt x="852" y="34"/>
                    </a:cubicBezTo>
                    <a:cubicBezTo>
                      <a:pt x="861" y="0"/>
                      <a:pt x="861" y="0"/>
                      <a:pt x="861" y="0"/>
                    </a:cubicBezTo>
                    <a:cubicBezTo>
                      <a:pt x="850" y="0"/>
                      <a:pt x="850" y="0"/>
                      <a:pt x="850" y="0"/>
                    </a:cubicBezTo>
                    <a:lnTo>
                      <a:pt x="842" y="34"/>
                    </a:lnTo>
                    <a:close/>
                    <a:moveTo>
                      <a:pt x="811" y="110"/>
                    </a:moveTo>
                    <a:cubicBezTo>
                      <a:pt x="809" y="110"/>
                      <a:pt x="807" y="111"/>
                      <a:pt x="804" y="111"/>
                    </a:cubicBezTo>
                    <a:cubicBezTo>
                      <a:pt x="802" y="111"/>
                      <a:pt x="799" y="111"/>
                      <a:pt x="798" y="111"/>
                    </a:cubicBezTo>
                    <a:cubicBezTo>
                      <a:pt x="791" y="111"/>
                      <a:pt x="786" y="110"/>
                      <a:pt x="782" y="109"/>
                    </a:cubicBezTo>
                    <a:cubicBezTo>
                      <a:pt x="778" y="107"/>
                      <a:pt x="775" y="105"/>
                      <a:pt x="773" y="102"/>
                    </a:cubicBezTo>
                    <a:cubicBezTo>
                      <a:pt x="771" y="99"/>
                      <a:pt x="769" y="95"/>
                      <a:pt x="768" y="91"/>
                    </a:cubicBezTo>
                    <a:cubicBezTo>
                      <a:pt x="768" y="87"/>
                      <a:pt x="767" y="81"/>
                      <a:pt x="767" y="76"/>
                    </a:cubicBezTo>
                    <a:cubicBezTo>
                      <a:pt x="767" y="70"/>
                      <a:pt x="768" y="65"/>
                      <a:pt x="768" y="61"/>
                    </a:cubicBezTo>
                    <a:cubicBezTo>
                      <a:pt x="769" y="57"/>
                      <a:pt x="770" y="53"/>
                      <a:pt x="771" y="51"/>
                    </a:cubicBezTo>
                    <a:cubicBezTo>
                      <a:pt x="773" y="48"/>
                      <a:pt x="775" y="46"/>
                      <a:pt x="778" y="45"/>
                    </a:cubicBezTo>
                    <a:cubicBezTo>
                      <a:pt x="781" y="44"/>
                      <a:pt x="784" y="43"/>
                      <a:pt x="789" y="43"/>
                    </a:cubicBezTo>
                    <a:cubicBezTo>
                      <a:pt x="793" y="43"/>
                      <a:pt x="797" y="43"/>
                      <a:pt x="801" y="44"/>
                    </a:cubicBezTo>
                    <a:cubicBezTo>
                      <a:pt x="805" y="45"/>
                      <a:pt x="809" y="46"/>
                      <a:pt x="811" y="47"/>
                    </a:cubicBezTo>
                    <a:lnTo>
                      <a:pt x="811" y="110"/>
                    </a:lnTo>
                    <a:close/>
                    <a:moveTo>
                      <a:pt x="811" y="40"/>
                    </a:moveTo>
                    <a:cubicBezTo>
                      <a:pt x="809" y="39"/>
                      <a:pt x="805" y="38"/>
                      <a:pt x="801" y="37"/>
                    </a:cubicBezTo>
                    <a:cubicBezTo>
                      <a:pt x="797" y="36"/>
                      <a:pt x="793" y="36"/>
                      <a:pt x="789" y="36"/>
                    </a:cubicBezTo>
                    <a:cubicBezTo>
                      <a:pt x="782" y="36"/>
                      <a:pt x="777" y="37"/>
                      <a:pt x="773" y="38"/>
                    </a:cubicBezTo>
                    <a:cubicBezTo>
                      <a:pt x="769" y="40"/>
                      <a:pt x="766" y="42"/>
                      <a:pt x="763" y="45"/>
                    </a:cubicBezTo>
                    <a:cubicBezTo>
                      <a:pt x="761" y="49"/>
                      <a:pt x="759" y="53"/>
                      <a:pt x="758" y="58"/>
                    </a:cubicBezTo>
                    <a:cubicBezTo>
                      <a:pt x="757" y="63"/>
                      <a:pt x="757" y="69"/>
                      <a:pt x="757" y="75"/>
                    </a:cubicBezTo>
                    <a:cubicBezTo>
                      <a:pt x="757" y="83"/>
                      <a:pt x="757" y="89"/>
                      <a:pt x="758" y="94"/>
                    </a:cubicBezTo>
                    <a:cubicBezTo>
                      <a:pt x="760" y="100"/>
                      <a:pt x="762" y="104"/>
                      <a:pt x="765" y="108"/>
                    </a:cubicBezTo>
                    <a:cubicBezTo>
                      <a:pt x="768" y="111"/>
                      <a:pt x="772" y="114"/>
                      <a:pt x="778" y="116"/>
                    </a:cubicBezTo>
                    <a:cubicBezTo>
                      <a:pt x="783" y="117"/>
                      <a:pt x="790" y="118"/>
                      <a:pt x="799" y="118"/>
                    </a:cubicBezTo>
                    <a:cubicBezTo>
                      <a:pt x="803" y="118"/>
                      <a:pt x="807" y="118"/>
                      <a:pt x="811" y="118"/>
                    </a:cubicBezTo>
                    <a:cubicBezTo>
                      <a:pt x="814" y="117"/>
                      <a:pt x="818" y="117"/>
                      <a:pt x="822" y="117"/>
                    </a:cubicBezTo>
                    <a:cubicBezTo>
                      <a:pt x="822" y="5"/>
                      <a:pt x="822" y="5"/>
                      <a:pt x="822" y="5"/>
                    </a:cubicBezTo>
                    <a:cubicBezTo>
                      <a:pt x="811" y="5"/>
                      <a:pt x="811" y="5"/>
                      <a:pt x="811" y="5"/>
                    </a:cubicBezTo>
                    <a:lnTo>
                      <a:pt x="811" y="40"/>
                    </a:lnTo>
                    <a:close/>
                    <a:moveTo>
                      <a:pt x="633" y="117"/>
                    </a:moveTo>
                    <a:cubicBezTo>
                      <a:pt x="643" y="117"/>
                      <a:pt x="643" y="117"/>
                      <a:pt x="643" y="117"/>
                    </a:cubicBezTo>
                    <a:cubicBezTo>
                      <a:pt x="643" y="47"/>
                      <a:pt x="643" y="47"/>
                      <a:pt x="643" y="47"/>
                    </a:cubicBezTo>
                    <a:cubicBezTo>
                      <a:pt x="646" y="46"/>
                      <a:pt x="649" y="45"/>
                      <a:pt x="653" y="44"/>
                    </a:cubicBezTo>
                    <a:cubicBezTo>
                      <a:pt x="657" y="43"/>
                      <a:pt x="661" y="43"/>
                      <a:pt x="666" y="43"/>
                    </a:cubicBezTo>
                    <a:cubicBezTo>
                      <a:pt x="675" y="43"/>
                      <a:pt x="681" y="45"/>
                      <a:pt x="684" y="51"/>
                    </a:cubicBezTo>
                    <a:cubicBezTo>
                      <a:pt x="688" y="56"/>
                      <a:pt x="689" y="64"/>
                      <a:pt x="689" y="75"/>
                    </a:cubicBezTo>
                    <a:cubicBezTo>
                      <a:pt x="689" y="117"/>
                      <a:pt x="689" y="117"/>
                      <a:pt x="689" y="117"/>
                    </a:cubicBezTo>
                    <a:cubicBezTo>
                      <a:pt x="700" y="117"/>
                      <a:pt x="700" y="117"/>
                      <a:pt x="700" y="117"/>
                    </a:cubicBezTo>
                    <a:cubicBezTo>
                      <a:pt x="700" y="75"/>
                      <a:pt x="700" y="75"/>
                      <a:pt x="700" y="75"/>
                    </a:cubicBezTo>
                    <a:cubicBezTo>
                      <a:pt x="700" y="69"/>
                      <a:pt x="700" y="63"/>
                      <a:pt x="698" y="58"/>
                    </a:cubicBezTo>
                    <a:cubicBezTo>
                      <a:pt x="697" y="53"/>
                      <a:pt x="695" y="49"/>
                      <a:pt x="693" y="45"/>
                    </a:cubicBezTo>
                    <a:cubicBezTo>
                      <a:pt x="690" y="42"/>
                      <a:pt x="686" y="40"/>
                      <a:pt x="682" y="38"/>
                    </a:cubicBezTo>
                    <a:cubicBezTo>
                      <a:pt x="677" y="37"/>
                      <a:pt x="672" y="36"/>
                      <a:pt x="666" y="36"/>
                    </a:cubicBezTo>
                    <a:cubicBezTo>
                      <a:pt x="660" y="36"/>
                      <a:pt x="654" y="36"/>
                      <a:pt x="649" y="37"/>
                    </a:cubicBezTo>
                    <a:cubicBezTo>
                      <a:pt x="644" y="39"/>
                      <a:pt x="639" y="40"/>
                      <a:pt x="632" y="43"/>
                    </a:cubicBezTo>
                    <a:lnTo>
                      <a:pt x="633" y="117"/>
                    </a:lnTo>
                    <a:close/>
                    <a:moveTo>
                      <a:pt x="564" y="109"/>
                    </a:moveTo>
                    <a:cubicBezTo>
                      <a:pt x="561" y="108"/>
                      <a:pt x="558" y="106"/>
                      <a:pt x="556" y="103"/>
                    </a:cubicBezTo>
                    <a:cubicBezTo>
                      <a:pt x="554" y="100"/>
                      <a:pt x="553" y="97"/>
                      <a:pt x="552" y="92"/>
                    </a:cubicBezTo>
                    <a:cubicBezTo>
                      <a:pt x="552" y="88"/>
                      <a:pt x="551" y="82"/>
                      <a:pt x="551" y="76"/>
                    </a:cubicBezTo>
                    <a:cubicBezTo>
                      <a:pt x="551" y="69"/>
                      <a:pt x="552" y="64"/>
                      <a:pt x="553" y="60"/>
                    </a:cubicBezTo>
                    <a:cubicBezTo>
                      <a:pt x="554" y="56"/>
                      <a:pt x="555" y="52"/>
                      <a:pt x="557" y="50"/>
                    </a:cubicBezTo>
                    <a:cubicBezTo>
                      <a:pt x="559" y="47"/>
                      <a:pt x="562" y="46"/>
                      <a:pt x="565" y="45"/>
                    </a:cubicBezTo>
                    <a:cubicBezTo>
                      <a:pt x="568" y="44"/>
                      <a:pt x="572" y="43"/>
                      <a:pt x="577" y="43"/>
                    </a:cubicBezTo>
                    <a:cubicBezTo>
                      <a:pt x="581" y="43"/>
                      <a:pt x="584" y="44"/>
                      <a:pt x="588" y="45"/>
                    </a:cubicBezTo>
                    <a:cubicBezTo>
                      <a:pt x="591" y="46"/>
                      <a:pt x="593" y="48"/>
                      <a:pt x="595" y="50"/>
                    </a:cubicBezTo>
                    <a:cubicBezTo>
                      <a:pt x="597" y="53"/>
                      <a:pt x="599" y="56"/>
                      <a:pt x="600" y="61"/>
                    </a:cubicBezTo>
                    <a:cubicBezTo>
                      <a:pt x="601" y="65"/>
                      <a:pt x="602" y="70"/>
                      <a:pt x="602" y="76"/>
                    </a:cubicBezTo>
                    <a:cubicBezTo>
                      <a:pt x="602" y="82"/>
                      <a:pt x="602" y="87"/>
                      <a:pt x="601" y="92"/>
                    </a:cubicBezTo>
                    <a:cubicBezTo>
                      <a:pt x="601" y="96"/>
                      <a:pt x="599" y="100"/>
                      <a:pt x="598" y="103"/>
                    </a:cubicBezTo>
                    <a:cubicBezTo>
                      <a:pt x="596" y="106"/>
                      <a:pt x="593" y="108"/>
                      <a:pt x="590" y="109"/>
                    </a:cubicBezTo>
                    <a:cubicBezTo>
                      <a:pt x="587" y="110"/>
                      <a:pt x="582" y="111"/>
                      <a:pt x="577" y="111"/>
                    </a:cubicBezTo>
                    <a:cubicBezTo>
                      <a:pt x="572" y="111"/>
                      <a:pt x="567" y="111"/>
                      <a:pt x="564" y="109"/>
                    </a:cubicBezTo>
                    <a:close/>
                    <a:moveTo>
                      <a:pt x="577" y="36"/>
                    </a:moveTo>
                    <a:cubicBezTo>
                      <a:pt x="571" y="36"/>
                      <a:pt x="565" y="36"/>
                      <a:pt x="561" y="38"/>
                    </a:cubicBezTo>
                    <a:cubicBezTo>
                      <a:pt x="556" y="39"/>
                      <a:pt x="553" y="41"/>
                      <a:pt x="550" y="45"/>
                    </a:cubicBezTo>
                    <a:cubicBezTo>
                      <a:pt x="547" y="48"/>
                      <a:pt x="544" y="52"/>
                      <a:pt x="543" y="57"/>
                    </a:cubicBezTo>
                    <a:cubicBezTo>
                      <a:pt x="542" y="62"/>
                      <a:pt x="541" y="68"/>
                      <a:pt x="541" y="75"/>
                    </a:cubicBezTo>
                    <a:cubicBezTo>
                      <a:pt x="541" y="83"/>
                      <a:pt x="541" y="90"/>
                      <a:pt x="542" y="95"/>
                    </a:cubicBezTo>
                    <a:cubicBezTo>
                      <a:pt x="544" y="101"/>
                      <a:pt x="546" y="105"/>
                      <a:pt x="548" y="109"/>
                    </a:cubicBezTo>
                    <a:cubicBezTo>
                      <a:pt x="551" y="112"/>
                      <a:pt x="555" y="114"/>
                      <a:pt x="559" y="116"/>
                    </a:cubicBezTo>
                    <a:cubicBezTo>
                      <a:pt x="564" y="118"/>
                      <a:pt x="570" y="118"/>
                      <a:pt x="577" y="118"/>
                    </a:cubicBezTo>
                    <a:cubicBezTo>
                      <a:pt x="584" y="118"/>
                      <a:pt x="590" y="117"/>
                      <a:pt x="595" y="116"/>
                    </a:cubicBezTo>
                    <a:cubicBezTo>
                      <a:pt x="599" y="114"/>
                      <a:pt x="603" y="111"/>
                      <a:pt x="605" y="108"/>
                    </a:cubicBezTo>
                    <a:cubicBezTo>
                      <a:pt x="608" y="104"/>
                      <a:pt x="610" y="100"/>
                      <a:pt x="611" y="95"/>
                    </a:cubicBezTo>
                    <a:cubicBezTo>
                      <a:pt x="612" y="89"/>
                      <a:pt x="613" y="83"/>
                      <a:pt x="613" y="76"/>
                    </a:cubicBezTo>
                    <a:cubicBezTo>
                      <a:pt x="613" y="69"/>
                      <a:pt x="612" y="63"/>
                      <a:pt x="610" y="57"/>
                    </a:cubicBezTo>
                    <a:cubicBezTo>
                      <a:pt x="609" y="52"/>
                      <a:pt x="606" y="48"/>
                      <a:pt x="603" y="45"/>
                    </a:cubicBezTo>
                    <a:cubicBezTo>
                      <a:pt x="600" y="42"/>
                      <a:pt x="597" y="40"/>
                      <a:pt x="592" y="38"/>
                    </a:cubicBezTo>
                    <a:cubicBezTo>
                      <a:pt x="588" y="37"/>
                      <a:pt x="583" y="36"/>
                      <a:pt x="577" y="36"/>
                    </a:cubicBezTo>
                    <a:close/>
                    <a:moveTo>
                      <a:pt x="512" y="117"/>
                    </a:moveTo>
                    <a:cubicBezTo>
                      <a:pt x="522" y="117"/>
                      <a:pt x="522" y="117"/>
                      <a:pt x="522" y="117"/>
                    </a:cubicBezTo>
                    <a:cubicBezTo>
                      <a:pt x="522" y="37"/>
                      <a:pt x="522" y="37"/>
                      <a:pt x="522" y="37"/>
                    </a:cubicBezTo>
                    <a:cubicBezTo>
                      <a:pt x="512" y="37"/>
                      <a:pt x="512" y="37"/>
                      <a:pt x="512" y="37"/>
                    </a:cubicBezTo>
                    <a:lnTo>
                      <a:pt x="512" y="117"/>
                    </a:lnTo>
                    <a:close/>
                    <a:moveTo>
                      <a:pt x="512" y="17"/>
                    </a:moveTo>
                    <a:cubicBezTo>
                      <a:pt x="522" y="17"/>
                      <a:pt x="522" y="17"/>
                      <a:pt x="522" y="17"/>
                    </a:cubicBezTo>
                    <a:cubicBezTo>
                      <a:pt x="522" y="6"/>
                      <a:pt x="522" y="6"/>
                      <a:pt x="522" y="6"/>
                    </a:cubicBezTo>
                    <a:cubicBezTo>
                      <a:pt x="512" y="6"/>
                      <a:pt x="512" y="6"/>
                      <a:pt x="512" y="6"/>
                    </a:cubicBezTo>
                    <a:lnTo>
                      <a:pt x="512" y="17"/>
                    </a:lnTo>
                    <a:close/>
                    <a:moveTo>
                      <a:pt x="467" y="17"/>
                    </a:moveTo>
                    <a:cubicBezTo>
                      <a:pt x="467" y="37"/>
                      <a:pt x="467" y="37"/>
                      <a:pt x="467" y="37"/>
                    </a:cubicBezTo>
                    <a:cubicBezTo>
                      <a:pt x="450" y="37"/>
                      <a:pt x="450" y="37"/>
                      <a:pt x="450" y="37"/>
                    </a:cubicBezTo>
                    <a:cubicBezTo>
                      <a:pt x="450" y="45"/>
                      <a:pt x="450" y="45"/>
                      <a:pt x="450" y="45"/>
                    </a:cubicBezTo>
                    <a:cubicBezTo>
                      <a:pt x="467" y="45"/>
                      <a:pt x="467" y="45"/>
                      <a:pt x="467" y="45"/>
                    </a:cubicBezTo>
                    <a:cubicBezTo>
                      <a:pt x="467" y="92"/>
                      <a:pt x="467" y="92"/>
                      <a:pt x="467" y="92"/>
                    </a:cubicBezTo>
                    <a:cubicBezTo>
                      <a:pt x="467" y="96"/>
                      <a:pt x="467" y="101"/>
                      <a:pt x="468" y="104"/>
                    </a:cubicBezTo>
                    <a:cubicBezTo>
                      <a:pt x="468" y="107"/>
                      <a:pt x="469" y="110"/>
                      <a:pt x="470" y="112"/>
                    </a:cubicBezTo>
                    <a:cubicBezTo>
                      <a:pt x="471" y="114"/>
                      <a:pt x="473" y="116"/>
                      <a:pt x="475" y="117"/>
                    </a:cubicBezTo>
                    <a:cubicBezTo>
                      <a:pt x="478" y="118"/>
                      <a:pt x="481" y="118"/>
                      <a:pt x="484" y="118"/>
                    </a:cubicBezTo>
                    <a:cubicBezTo>
                      <a:pt x="486" y="118"/>
                      <a:pt x="487" y="118"/>
                      <a:pt x="488" y="118"/>
                    </a:cubicBezTo>
                    <a:cubicBezTo>
                      <a:pt x="490" y="118"/>
                      <a:pt x="492" y="117"/>
                      <a:pt x="495" y="117"/>
                    </a:cubicBezTo>
                    <a:cubicBezTo>
                      <a:pt x="496" y="110"/>
                      <a:pt x="496" y="110"/>
                      <a:pt x="496" y="110"/>
                    </a:cubicBezTo>
                    <a:cubicBezTo>
                      <a:pt x="494" y="110"/>
                      <a:pt x="492" y="110"/>
                      <a:pt x="490" y="111"/>
                    </a:cubicBezTo>
                    <a:cubicBezTo>
                      <a:pt x="489" y="111"/>
                      <a:pt x="487" y="111"/>
                      <a:pt x="486" y="111"/>
                    </a:cubicBezTo>
                    <a:cubicBezTo>
                      <a:pt x="485" y="111"/>
                      <a:pt x="485" y="111"/>
                      <a:pt x="485" y="111"/>
                    </a:cubicBezTo>
                    <a:cubicBezTo>
                      <a:pt x="484" y="111"/>
                      <a:pt x="482" y="111"/>
                      <a:pt x="481" y="110"/>
                    </a:cubicBezTo>
                    <a:cubicBezTo>
                      <a:pt x="480" y="110"/>
                      <a:pt x="479" y="109"/>
                      <a:pt x="479" y="107"/>
                    </a:cubicBezTo>
                    <a:cubicBezTo>
                      <a:pt x="478" y="106"/>
                      <a:pt x="478" y="104"/>
                      <a:pt x="478" y="101"/>
                    </a:cubicBezTo>
                    <a:cubicBezTo>
                      <a:pt x="477" y="99"/>
                      <a:pt x="477" y="96"/>
                      <a:pt x="477" y="92"/>
                    </a:cubicBezTo>
                    <a:cubicBezTo>
                      <a:pt x="477" y="45"/>
                      <a:pt x="477" y="45"/>
                      <a:pt x="477" y="45"/>
                    </a:cubicBezTo>
                    <a:cubicBezTo>
                      <a:pt x="496" y="45"/>
                      <a:pt x="496" y="45"/>
                      <a:pt x="496" y="45"/>
                    </a:cubicBezTo>
                    <a:cubicBezTo>
                      <a:pt x="496" y="37"/>
                      <a:pt x="496" y="37"/>
                      <a:pt x="496" y="37"/>
                    </a:cubicBezTo>
                    <a:cubicBezTo>
                      <a:pt x="477" y="37"/>
                      <a:pt x="477" y="37"/>
                      <a:pt x="477" y="37"/>
                    </a:cubicBezTo>
                    <a:cubicBezTo>
                      <a:pt x="477" y="17"/>
                      <a:pt x="477" y="17"/>
                      <a:pt x="477" y="17"/>
                    </a:cubicBezTo>
                    <a:lnTo>
                      <a:pt x="467" y="17"/>
                    </a:lnTo>
                    <a:close/>
                    <a:moveTo>
                      <a:pt x="429" y="117"/>
                    </a:moveTo>
                    <a:cubicBezTo>
                      <a:pt x="440" y="117"/>
                      <a:pt x="440" y="117"/>
                      <a:pt x="440" y="117"/>
                    </a:cubicBezTo>
                    <a:cubicBezTo>
                      <a:pt x="440" y="37"/>
                      <a:pt x="440" y="37"/>
                      <a:pt x="440" y="37"/>
                    </a:cubicBezTo>
                    <a:cubicBezTo>
                      <a:pt x="429" y="37"/>
                      <a:pt x="429" y="37"/>
                      <a:pt x="429" y="37"/>
                    </a:cubicBezTo>
                    <a:lnTo>
                      <a:pt x="429" y="117"/>
                    </a:lnTo>
                    <a:close/>
                    <a:moveTo>
                      <a:pt x="429" y="17"/>
                    </a:moveTo>
                    <a:cubicBezTo>
                      <a:pt x="440" y="17"/>
                      <a:pt x="440" y="17"/>
                      <a:pt x="440" y="17"/>
                    </a:cubicBezTo>
                    <a:cubicBezTo>
                      <a:pt x="440" y="6"/>
                      <a:pt x="440" y="6"/>
                      <a:pt x="440" y="6"/>
                    </a:cubicBezTo>
                    <a:cubicBezTo>
                      <a:pt x="429" y="6"/>
                      <a:pt x="429" y="6"/>
                      <a:pt x="429" y="6"/>
                    </a:cubicBezTo>
                    <a:lnTo>
                      <a:pt x="429" y="17"/>
                    </a:lnTo>
                    <a:close/>
                    <a:moveTo>
                      <a:pt x="353" y="47"/>
                    </a:moveTo>
                    <a:cubicBezTo>
                      <a:pt x="356" y="46"/>
                      <a:pt x="359" y="45"/>
                      <a:pt x="363" y="44"/>
                    </a:cubicBezTo>
                    <a:cubicBezTo>
                      <a:pt x="367" y="43"/>
                      <a:pt x="372" y="43"/>
                      <a:pt x="376" y="43"/>
                    </a:cubicBezTo>
                    <a:cubicBezTo>
                      <a:pt x="380" y="43"/>
                      <a:pt x="384" y="43"/>
                      <a:pt x="387" y="45"/>
                    </a:cubicBezTo>
                    <a:cubicBezTo>
                      <a:pt x="390" y="46"/>
                      <a:pt x="392" y="48"/>
                      <a:pt x="393" y="50"/>
                    </a:cubicBezTo>
                    <a:cubicBezTo>
                      <a:pt x="395" y="53"/>
                      <a:pt x="396" y="56"/>
                      <a:pt x="396" y="61"/>
                    </a:cubicBezTo>
                    <a:cubicBezTo>
                      <a:pt x="397" y="65"/>
                      <a:pt x="397" y="70"/>
                      <a:pt x="397" y="75"/>
                    </a:cubicBezTo>
                    <a:cubicBezTo>
                      <a:pt x="397" y="81"/>
                      <a:pt x="397" y="86"/>
                      <a:pt x="396" y="91"/>
                    </a:cubicBezTo>
                    <a:cubicBezTo>
                      <a:pt x="396" y="95"/>
                      <a:pt x="394" y="99"/>
                      <a:pt x="392" y="102"/>
                    </a:cubicBezTo>
                    <a:cubicBezTo>
                      <a:pt x="390" y="105"/>
                      <a:pt x="387" y="107"/>
                      <a:pt x="383" y="108"/>
                    </a:cubicBezTo>
                    <a:cubicBezTo>
                      <a:pt x="379" y="110"/>
                      <a:pt x="374" y="111"/>
                      <a:pt x="367" y="111"/>
                    </a:cubicBezTo>
                    <a:cubicBezTo>
                      <a:pt x="365" y="111"/>
                      <a:pt x="363" y="111"/>
                      <a:pt x="361" y="111"/>
                    </a:cubicBezTo>
                    <a:cubicBezTo>
                      <a:pt x="358" y="110"/>
                      <a:pt x="356" y="110"/>
                      <a:pt x="353" y="110"/>
                    </a:cubicBezTo>
                    <a:lnTo>
                      <a:pt x="353" y="47"/>
                    </a:lnTo>
                    <a:close/>
                    <a:moveTo>
                      <a:pt x="343" y="5"/>
                    </a:moveTo>
                    <a:cubicBezTo>
                      <a:pt x="343" y="117"/>
                      <a:pt x="343" y="117"/>
                      <a:pt x="343" y="117"/>
                    </a:cubicBezTo>
                    <a:cubicBezTo>
                      <a:pt x="346" y="117"/>
                      <a:pt x="350" y="117"/>
                      <a:pt x="354" y="118"/>
                    </a:cubicBezTo>
                    <a:cubicBezTo>
                      <a:pt x="358" y="118"/>
                      <a:pt x="362" y="118"/>
                      <a:pt x="366" y="118"/>
                    </a:cubicBezTo>
                    <a:cubicBezTo>
                      <a:pt x="374" y="118"/>
                      <a:pt x="381" y="117"/>
                      <a:pt x="387" y="116"/>
                    </a:cubicBezTo>
                    <a:cubicBezTo>
                      <a:pt x="392" y="114"/>
                      <a:pt x="397" y="111"/>
                      <a:pt x="400" y="108"/>
                    </a:cubicBezTo>
                    <a:cubicBezTo>
                      <a:pt x="403" y="104"/>
                      <a:pt x="405" y="100"/>
                      <a:pt x="406" y="94"/>
                    </a:cubicBezTo>
                    <a:cubicBezTo>
                      <a:pt x="407" y="89"/>
                      <a:pt x="408" y="83"/>
                      <a:pt x="408" y="75"/>
                    </a:cubicBezTo>
                    <a:cubicBezTo>
                      <a:pt x="408" y="69"/>
                      <a:pt x="407" y="63"/>
                      <a:pt x="406" y="58"/>
                    </a:cubicBezTo>
                    <a:cubicBezTo>
                      <a:pt x="405" y="53"/>
                      <a:pt x="404" y="49"/>
                      <a:pt x="401" y="45"/>
                    </a:cubicBezTo>
                    <a:cubicBezTo>
                      <a:pt x="399" y="42"/>
                      <a:pt x="396" y="40"/>
                      <a:pt x="392" y="38"/>
                    </a:cubicBezTo>
                    <a:cubicBezTo>
                      <a:pt x="388" y="37"/>
                      <a:pt x="382" y="36"/>
                      <a:pt x="376" y="36"/>
                    </a:cubicBezTo>
                    <a:cubicBezTo>
                      <a:pt x="372" y="36"/>
                      <a:pt x="367" y="36"/>
                      <a:pt x="363" y="37"/>
                    </a:cubicBezTo>
                    <a:cubicBezTo>
                      <a:pt x="359" y="38"/>
                      <a:pt x="356" y="39"/>
                      <a:pt x="353" y="40"/>
                    </a:cubicBezTo>
                    <a:cubicBezTo>
                      <a:pt x="353" y="5"/>
                      <a:pt x="353" y="5"/>
                      <a:pt x="353" y="5"/>
                    </a:cubicBezTo>
                    <a:lnTo>
                      <a:pt x="343" y="5"/>
                    </a:lnTo>
                    <a:close/>
                    <a:moveTo>
                      <a:pt x="201" y="117"/>
                    </a:moveTo>
                    <a:cubicBezTo>
                      <a:pt x="212" y="117"/>
                      <a:pt x="212" y="117"/>
                      <a:pt x="212" y="117"/>
                    </a:cubicBezTo>
                    <a:cubicBezTo>
                      <a:pt x="212" y="47"/>
                      <a:pt x="212" y="47"/>
                      <a:pt x="212" y="47"/>
                    </a:cubicBezTo>
                    <a:cubicBezTo>
                      <a:pt x="215" y="46"/>
                      <a:pt x="218" y="45"/>
                      <a:pt x="222" y="44"/>
                    </a:cubicBezTo>
                    <a:cubicBezTo>
                      <a:pt x="226" y="43"/>
                      <a:pt x="230" y="43"/>
                      <a:pt x="235" y="43"/>
                    </a:cubicBezTo>
                    <a:cubicBezTo>
                      <a:pt x="239" y="43"/>
                      <a:pt x="242" y="43"/>
                      <a:pt x="245" y="45"/>
                    </a:cubicBezTo>
                    <a:cubicBezTo>
                      <a:pt x="248" y="46"/>
                      <a:pt x="250" y="48"/>
                      <a:pt x="252" y="50"/>
                    </a:cubicBezTo>
                    <a:cubicBezTo>
                      <a:pt x="253" y="53"/>
                      <a:pt x="254" y="56"/>
                      <a:pt x="255" y="60"/>
                    </a:cubicBezTo>
                    <a:cubicBezTo>
                      <a:pt x="255" y="64"/>
                      <a:pt x="256" y="69"/>
                      <a:pt x="256" y="75"/>
                    </a:cubicBezTo>
                    <a:cubicBezTo>
                      <a:pt x="256" y="117"/>
                      <a:pt x="256" y="117"/>
                      <a:pt x="256" y="117"/>
                    </a:cubicBezTo>
                    <a:cubicBezTo>
                      <a:pt x="267" y="117"/>
                      <a:pt x="267" y="117"/>
                      <a:pt x="267" y="117"/>
                    </a:cubicBezTo>
                    <a:cubicBezTo>
                      <a:pt x="267" y="75"/>
                      <a:pt x="267" y="75"/>
                      <a:pt x="267" y="75"/>
                    </a:cubicBezTo>
                    <a:cubicBezTo>
                      <a:pt x="267" y="69"/>
                      <a:pt x="266" y="64"/>
                      <a:pt x="266" y="59"/>
                    </a:cubicBezTo>
                    <a:cubicBezTo>
                      <a:pt x="265" y="55"/>
                      <a:pt x="264" y="51"/>
                      <a:pt x="262" y="48"/>
                    </a:cubicBezTo>
                    <a:cubicBezTo>
                      <a:pt x="267" y="46"/>
                      <a:pt x="272" y="45"/>
                      <a:pt x="276" y="44"/>
                    </a:cubicBezTo>
                    <a:cubicBezTo>
                      <a:pt x="280" y="43"/>
                      <a:pt x="284" y="43"/>
                      <a:pt x="289" y="43"/>
                    </a:cubicBezTo>
                    <a:cubicBezTo>
                      <a:pt x="293" y="43"/>
                      <a:pt x="297" y="43"/>
                      <a:pt x="300" y="45"/>
                    </a:cubicBezTo>
                    <a:cubicBezTo>
                      <a:pt x="303" y="46"/>
                      <a:pt x="305" y="48"/>
                      <a:pt x="306" y="50"/>
                    </a:cubicBezTo>
                    <a:cubicBezTo>
                      <a:pt x="308" y="53"/>
                      <a:pt x="309" y="56"/>
                      <a:pt x="309" y="60"/>
                    </a:cubicBezTo>
                    <a:cubicBezTo>
                      <a:pt x="310" y="64"/>
                      <a:pt x="310" y="69"/>
                      <a:pt x="310" y="75"/>
                    </a:cubicBezTo>
                    <a:cubicBezTo>
                      <a:pt x="310" y="117"/>
                      <a:pt x="310" y="117"/>
                      <a:pt x="310" y="117"/>
                    </a:cubicBezTo>
                    <a:cubicBezTo>
                      <a:pt x="321" y="117"/>
                      <a:pt x="321" y="117"/>
                      <a:pt x="321" y="117"/>
                    </a:cubicBezTo>
                    <a:cubicBezTo>
                      <a:pt x="321" y="75"/>
                      <a:pt x="321" y="75"/>
                      <a:pt x="321" y="75"/>
                    </a:cubicBezTo>
                    <a:cubicBezTo>
                      <a:pt x="321" y="68"/>
                      <a:pt x="321" y="63"/>
                      <a:pt x="320" y="58"/>
                    </a:cubicBezTo>
                    <a:cubicBezTo>
                      <a:pt x="319" y="53"/>
                      <a:pt x="317" y="48"/>
                      <a:pt x="315" y="45"/>
                    </a:cubicBezTo>
                    <a:cubicBezTo>
                      <a:pt x="312" y="42"/>
                      <a:pt x="309" y="40"/>
                      <a:pt x="305" y="38"/>
                    </a:cubicBezTo>
                    <a:cubicBezTo>
                      <a:pt x="301" y="36"/>
                      <a:pt x="296" y="36"/>
                      <a:pt x="289" y="36"/>
                    </a:cubicBezTo>
                    <a:cubicBezTo>
                      <a:pt x="287" y="36"/>
                      <a:pt x="284" y="36"/>
                      <a:pt x="282" y="36"/>
                    </a:cubicBezTo>
                    <a:cubicBezTo>
                      <a:pt x="279" y="36"/>
                      <a:pt x="277" y="36"/>
                      <a:pt x="274" y="37"/>
                    </a:cubicBezTo>
                    <a:cubicBezTo>
                      <a:pt x="272" y="37"/>
                      <a:pt x="269" y="38"/>
                      <a:pt x="266" y="39"/>
                    </a:cubicBezTo>
                    <a:cubicBezTo>
                      <a:pt x="263" y="40"/>
                      <a:pt x="260" y="41"/>
                      <a:pt x="257" y="42"/>
                    </a:cubicBezTo>
                    <a:cubicBezTo>
                      <a:pt x="252" y="38"/>
                      <a:pt x="245" y="35"/>
                      <a:pt x="235" y="35"/>
                    </a:cubicBezTo>
                    <a:cubicBezTo>
                      <a:pt x="229" y="35"/>
                      <a:pt x="224" y="36"/>
                      <a:pt x="219" y="37"/>
                    </a:cubicBezTo>
                    <a:cubicBezTo>
                      <a:pt x="214" y="38"/>
                      <a:pt x="208" y="40"/>
                      <a:pt x="201" y="42"/>
                    </a:cubicBezTo>
                    <a:lnTo>
                      <a:pt x="201" y="117"/>
                    </a:lnTo>
                    <a:close/>
                    <a:moveTo>
                      <a:pt x="169" y="107"/>
                    </a:moveTo>
                    <a:cubicBezTo>
                      <a:pt x="166" y="108"/>
                      <a:pt x="162" y="108"/>
                      <a:pt x="157" y="109"/>
                    </a:cubicBezTo>
                    <a:cubicBezTo>
                      <a:pt x="152" y="110"/>
                      <a:pt x="147" y="111"/>
                      <a:pt x="142" y="111"/>
                    </a:cubicBezTo>
                    <a:cubicBezTo>
                      <a:pt x="138" y="111"/>
                      <a:pt x="134" y="109"/>
                      <a:pt x="132" y="106"/>
                    </a:cubicBezTo>
                    <a:cubicBezTo>
                      <a:pt x="129" y="103"/>
                      <a:pt x="128" y="99"/>
                      <a:pt x="128" y="94"/>
                    </a:cubicBezTo>
                    <a:cubicBezTo>
                      <a:pt x="128" y="90"/>
                      <a:pt x="129" y="86"/>
                      <a:pt x="132" y="83"/>
                    </a:cubicBezTo>
                    <a:cubicBezTo>
                      <a:pt x="134" y="80"/>
                      <a:pt x="138" y="78"/>
                      <a:pt x="144" y="78"/>
                    </a:cubicBezTo>
                    <a:cubicBezTo>
                      <a:pt x="169" y="76"/>
                      <a:pt x="169" y="76"/>
                      <a:pt x="169" y="76"/>
                    </a:cubicBezTo>
                    <a:lnTo>
                      <a:pt x="169" y="107"/>
                    </a:lnTo>
                    <a:close/>
                    <a:moveTo>
                      <a:pt x="125" y="45"/>
                    </a:moveTo>
                    <a:cubicBezTo>
                      <a:pt x="130" y="45"/>
                      <a:pt x="134" y="44"/>
                      <a:pt x="139" y="44"/>
                    </a:cubicBezTo>
                    <a:cubicBezTo>
                      <a:pt x="144" y="43"/>
                      <a:pt x="148" y="43"/>
                      <a:pt x="152" y="43"/>
                    </a:cubicBezTo>
                    <a:cubicBezTo>
                      <a:pt x="158" y="43"/>
                      <a:pt x="162" y="45"/>
                      <a:pt x="165" y="47"/>
                    </a:cubicBezTo>
                    <a:cubicBezTo>
                      <a:pt x="168" y="50"/>
                      <a:pt x="169" y="54"/>
                      <a:pt x="169" y="61"/>
                    </a:cubicBezTo>
                    <a:cubicBezTo>
                      <a:pt x="169" y="69"/>
                      <a:pt x="169" y="69"/>
                      <a:pt x="169" y="69"/>
                    </a:cubicBezTo>
                    <a:cubicBezTo>
                      <a:pt x="143" y="71"/>
                      <a:pt x="143" y="71"/>
                      <a:pt x="143" y="71"/>
                    </a:cubicBezTo>
                    <a:cubicBezTo>
                      <a:pt x="134" y="72"/>
                      <a:pt x="127" y="74"/>
                      <a:pt x="123" y="78"/>
                    </a:cubicBezTo>
                    <a:cubicBezTo>
                      <a:pt x="119" y="82"/>
                      <a:pt x="117" y="88"/>
                      <a:pt x="117" y="94"/>
                    </a:cubicBezTo>
                    <a:cubicBezTo>
                      <a:pt x="117" y="102"/>
                      <a:pt x="120" y="108"/>
                      <a:pt x="124" y="112"/>
                    </a:cubicBezTo>
                    <a:cubicBezTo>
                      <a:pt x="128" y="116"/>
                      <a:pt x="134" y="118"/>
                      <a:pt x="142" y="118"/>
                    </a:cubicBezTo>
                    <a:cubicBezTo>
                      <a:pt x="150" y="118"/>
                      <a:pt x="157" y="117"/>
                      <a:pt x="163" y="116"/>
                    </a:cubicBezTo>
                    <a:cubicBezTo>
                      <a:pt x="169" y="114"/>
                      <a:pt x="175" y="113"/>
                      <a:pt x="180" y="111"/>
                    </a:cubicBezTo>
                    <a:cubicBezTo>
                      <a:pt x="180" y="61"/>
                      <a:pt x="180" y="61"/>
                      <a:pt x="180" y="61"/>
                    </a:cubicBezTo>
                    <a:cubicBezTo>
                      <a:pt x="180" y="53"/>
                      <a:pt x="177" y="46"/>
                      <a:pt x="173" y="42"/>
                    </a:cubicBezTo>
                    <a:cubicBezTo>
                      <a:pt x="169" y="38"/>
                      <a:pt x="162" y="36"/>
                      <a:pt x="152" y="36"/>
                    </a:cubicBezTo>
                    <a:cubicBezTo>
                      <a:pt x="147" y="36"/>
                      <a:pt x="143" y="36"/>
                      <a:pt x="138" y="36"/>
                    </a:cubicBezTo>
                    <a:cubicBezTo>
                      <a:pt x="133" y="37"/>
                      <a:pt x="128" y="37"/>
                      <a:pt x="123" y="38"/>
                    </a:cubicBezTo>
                    <a:lnTo>
                      <a:pt x="125" y="45"/>
                    </a:lnTo>
                    <a:close/>
                    <a:moveTo>
                      <a:pt x="81" y="34"/>
                    </a:moveTo>
                    <a:cubicBezTo>
                      <a:pt x="91" y="34"/>
                      <a:pt x="91" y="34"/>
                      <a:pt x="91" y="34"/>
                    </a:cubicBezTo>
                    <a:cubicBezTo>
                      <a:pt x="100" y="0"/>
                      <a:pt x="100" y="0"/>
                      <a:pt x="100" y="0"/>
                    </a:cubicBezTo>
                    <a:cubicBezTo>
                      <a:pt x="89" y="0"/>
                      <a:pt x="89" y="0"/>
                      <a:pt x="89" y="0"/>
                    </a:cubicBezTo>
                    <a:lnTo>
                      <a:pt x="81" y="34"/>
                    </a:lnTo>
                    <a:close/>
                    <a:moveTo>
                      <a:pt x="70" y="117"/>
                    </a:moveTo>
                    <a:cubicBezTo>
                      <a:pt x="70" y="109"/>
                      <a:pt x="70" y="109"/>
                      <a:pt x="70" y="109"/>
                    </a:cubicBezTo>
                    <a:cubicBezTo>
                      <a:pt x="11" y="109"/>
                      <a:pt x="11" y="109"/>
                      <a:pt x="11" y="109"/>
                    </a:cubicBezTo>
                    <a:cubicBezTo>
                      <a:pt x="11" y="5"/>
                      <a:pt x="11" y="5"/>
                      <a:pt x="11" y="5"/>
                    </a:cubicBezTo>
                    <a:cubicBezTo>
                      <a:pt x="0" y="5"/>
                      <a:pt x="0" y="5"/>
                      <a:pt x="0" y="5"/>
                    </a:cubicBezTo>
                    <a:cubicBezTo>
                      <a:pt x="0" y="117"/>
                      <a:pt x="0" y="117"/>
                      <a:pt x="0" y="117"/>
                    </a:cubicBezTo>
                    <a:lnTo>
                      <a:pt x="70" y="117"/>
                    </a:lnTo>
                    <a:close/>
                  </a:path>
                </a:pathLst>
              </a:custGeom>
              <a:noFill/>
              <a:ln w="0" cap="flat">
                <a:solidFill>
                  <a:srgbClr val="225696"/>
                </a:solidFill>
                <a:prstDash val="solid"/>
                <a:miter lim="800000"/>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grpSp>
      <p:cxnSp>
        <p:nvCxnSpPr>
          <p:cNvPr id="33" name="Connecteur droit 39"/>
          <p:cNvCxnSpPr/>
          <p:nvPr userDrawn="1"/>
        </p:nvCxnSpPr>
        <p:spPr>
          <a:xfrm>
            <a:off x="8412516" y="297692"/>
            <a:ext cx="0" cy="324000"/>
          </a:xfrm>
          <a:prstGeom prst="line">
            <a:avLst/>
          </a:prstGeom>
          <a:ln w="12700">
            <a:solidFill>
              <a:schemeClr val="accent3"/>
            </a:solidFill>
          </a:ln>
        </p:spPr>
        <p:style>
          <a:lnRef idx="1">
            <a:schemeClr val="accent6"/>
          </a:lnRef>
          <a:fillRef idx="0">
            <a:schemeClr val="accent6"/>
          </a:fillRef>
          <a:effectRef idx="0">
            <a:schemeClr val="accent6"/>
          </a:effectRef>
          <a:fontRef idx="minor">
            <a:schemeClr val="tx1"/>
          </a:fontRef>
        </p:style>
      </p:cxnSp>
      <p:sp>
        <p:nvSpPr>
          <p:cNvPr id="34" name="Text Placeholder 21"/>
          <p:cNvSpPr>
            <a:spLocks noGrp="1"/>
          </p:cNvSpPr>
          <p:nvPr>
            <p:ph type="body" sz="quarter" idx="12" hasCustomPrompt="1"/>
          </p:nvPr>
        </p:nvSpPr>
        <p:spPr>
          <a:xfrm>
            <a:off x="7317226" y="321194"/>
            <a:ext cx="1046440" cy="276999"/>
          </a:xfrm>
        </p:spPr>
        <p:txBody>
          <a:bodyPr>
            <a:noAutofit/>
          </a:bodyPr>
          <a:lstStyle>
            <a:lvl1pPr algn="r">
              <a:defRPr sz="1200" b="0"/>
            </a:lvl1pPr>
          </a:lstStyle>
          <a:p>
            <a:pPr lvl="0"/>
            <a:r>
              <a:rPr lang="fr-FR" noProof="0"/>
              <a:t>Rappel partie</a:t>
            </a:r>
          </a:p>
        </p:txBody>
      </p:sp>
    </p:spTree>
    <p:extLst>
      <p:ext uri="{BB962C8B-B14F-4D97-AF65-F5344CB8AC3E}">
        <p14:creationId xmlns:p14="http://schemas.microsoft.com/office/powerpoint/2010/main" val="387260031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lide Fin">
    <p:bg>
      <p:bgPr>
        <a:blipFill dpi="0" rotWithShape="1">
          <a:blip r:embed="rId3" cstate="print">
            <a:lum/>
          </a:blip>
          <a:srcRect/>
          <a:stretch>
            <a:fillRect/>
          </a:stretch>
        </a:blipFill>
        <a:effectLst/>
      </p:bgPr>
    </p:b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6" y="158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 name="ZoneTexte 8"/>
          <p:cNvSpPr txBox="1"/>
          <p:nvPr userDrawn="1"/>
        </p:nvSpPr>
        <p:spPr>
          <a:xfrm>
            <a:off x="3145135" y="4985656"/>
            <a:ext cx="2853732" cy="1754326"/>
          </a:xfrm>
          <a:prstGeom prst="rect">
            <a:avLst/>
          </a:prstGeom>
          <a:noFill/>
        </p:spPr>
        <p:txBody>
          <a:bodyPr wrap="square" rtlCol="0">
            <a:spAutoFit/>
          </a:bodyPr>
          <a:lstStyle/>
          <a:p>
            <a:pPr algn="ctr">
              <a:defRPr/>
            </a:pPr>
            <a:r>
              <a:rPr lang="fr-FR" kern="0">
                <a:solidFill>
                  <a:sysClr val="windowText" lastClr="000000"/>
                </a:solidFill>
              </a:rPr>
              <a:t>Conseil en Management</a:t>
            </a:r>
          </a:p>
          <a:p>
            <a:pPr algn="ctr">
              <a:defRPr/>
            </a:pPr>
            <a:r>
              <a:rPr lang="fr-FR" kern="0">
                <a:solidFill>
                  <a:sysClr val="windowText" lastClr="000000"/>
                </a:solidFill>
              </a:rPr>
              <a:t>141, rue Jules Guesde</a:t>
            </a:r>
          </a:p>
          <a:p>
            <a:pPr algn="ctr">
              <a:defRPr/>
            </a:pPr>
            <a:r>
              <a:rPr lang="fr-FR" kern="0">
                <a:solidFill>
                  <a:sysClr val="windowText" lastClr="000000"/>
                </a:solidFill>
              </a:rPr>
              <a:t>92 300 Levallois Perret</a:t>
            </a:r>
          </a:p>
          <a:p>
            <a:pPr algn="ctr">
              <a:defRPr/>
            </a:pPr>
            <a:r>
              <a:rPr lang="fr-FR" kern="0">
                <a:solidFill>
                  <a:sysClr val="windowText" lastClr="000000"/>
                </a:solidFill>
                <a:hlinkClick r:id="rId6"/>
              </a:rPr>
              <a:t>www.axys-consultants.fr</a:t>
            </a:r>
            <a:endParaRPr lang="fr-FR" kern="0">
              <a:solidFill>
                <a:sysClr val="windowText" lastClr="000000"/>
              </a:solidFill>
            </a:endParaRPr>
          </a:p>
          <a:p>
            <a:pPr algn="ctr">
              <a:defRPr/>
            </a:pPr>
            <a:r>
              <a:rPr lang="fr-FR" kern="0">
                <a:solidFill>
                  <a:sysClr val="windowText" lastClr="000000"/>
                </a:solidFill>
              </a:rPr>
              <a:t>  </a:t>
            </a:r>
          </a:p>
          <a:p>
            <a:pPr algn="ctr">
              <a:defRPr/>
            </a:pPr>
            <a:endParaRPr lang="fr-FR" kern="0">
              <a:solidFill>
                <a:sysClr val="windowText" lastClr="000000"/>
              </a:solidFill>
            </a:endParaRPr>
          </a:p>
        </p:txBody>
      </p:sp>
      <p:pic>
        <p:nvPicPr>
          <p:cNvPr id="29" name="Picture 4" descr="See full size image">
            <a:hlinkClick r:id="rId7"/>
          </p:cNvPr>
          <p:cNvPicPr>
            <a:picLocks noChangeAspect="1" noChangeArrowheads="1"/>
          </p:cNvPicPr>
          <p:nvPr userDrawn="1"/>
        </p:nvPicPr>
        <p:blipFill>
          <a:blip r:embed="rId8" cstate="print"/>
          <a:srcRect/>
          <a:stretch>
            <a:fillRect/>
          </a:stretch>
        </p:blipFill>
        <p:spPr bwMode="auto">
          <a:xfrm>
            <a:off x="4966832" y="6195167"/>
            <a:ext cx="660260" cy="200279"/>
          </a:xfrm>
          <a:prstGeom prst="rect">
            <a:avLst/>
          </a:prstGeom>
          <a:noFill/>
        </p:spPr>
      </p:pic>
      <p:sp>
        <p:nvSpPr>
          <p:cNvPr id="30" name="ZoneTexte 10"/>
          <p:cNvSpPr txBox="1"/>
          <p:nvPr userDrawn="1"/>
        </p:nvSpPr>
        <p:spPr>
          <a:xfrm>
            <a:off x="3486775" y="6172196"/>
            <a:ext cx="1648208" cy="246221"/>
          </a:xfrm>
          <a:prstGeom prst="rect">
            <a:avLst/>
          </a:prstGeom>
          <a:noFill/>
        </p:spPr>
        <p:txBody>
          <a:bodyPr wrap="none" rtlCol="0">
            <a:spAutoFit/>
          </a:bodyPr>
          <a:lstStyle/>
          <a:p>
            <a:pPr>
              <a:defRPr/>
            </a:pPr>
            <a:r>
              <a:rPr lang="fr-FR" sz="1000" kern="0">
                <a:solidFill>
                  <a:sysClr val="windowText" lastClr="000000"/>
                </a:solidFill>
              </a:rPr>
              <a:t>Retrouvez nos actualités sur</a:t>
            </a:r>
          </a:p>
        </p:txBody>
      </p:sp>
      <p:grpSp>
        <p:nvGrpSpPr>
          <p:cNvPr id="6" name="Group 5"/>
          <p:cNvGrpSpPr/>
          <p:nvPr userDrawn="1"/>
        </p:nvGrpSpPr>
        <p:grpSpPr>
          <a:xfrm>
            <a:off x="3143461" y="1423937"/>
            <a:ext cx="2846358" cy="1631206"/>
            <a:chOff x="3813175" y="1435101"/>
            <a:chExt cx="1368425" cy="723899"/>
          </a:xfrm>
        </p:grpSpPr>
        <p:grpSp>
          <p:nvGrpSpPr>
            <p:cNvPr id="7" name="Group 32"/>
            <p:cNvGrpSpPr/>
            <p:nvPr userDrawn="1"/>
          </p:nvGrpSpPr>
          <p:grpSpPr>
            <a:xfrm>
              <a:off x="3813175" y="1801813"/>
              <a:ext cx="1358900" cy="138112"/>
              <a:chOff x="3813175" y="1801813"/>
              <a:chExt cx="1358900" cy="138112"/>
            </a:xfrm>
          </p:grpSpPr>
          <p:sp>
            <p:nvSpPr>
              <p:cNvPr id="18" name="Freeform 5"/>
              <p:cNvSpPr>
                <a:spLocks/>
              </p:cNvSpPr>
              <p:nvPr userDrawn="1"/>
            </p:nvSpPr>
            <p:spPr bwMode="auto">
              <a:xfrm>
                <a:off x="3813175" y="1801813"/>
                <a:ext cx="103188" cy="138112"/>
              </a:xfrm>
              <a:custGeom>
                <a:avLst/>
                <a:gdLst/>
                <a:ahLst/>
                <a:cxnLst>
                  <a:cxn ang="0">
                    <a:pos x="74" y="20"/>
                  </a:cxn>
                  <a:cxn ang="0">
                    <a:pos x="34" y="79"/>
                  </a:cxn>
                  <a:cxn ang="0">
                    <a:pos x="86" y="152"/>
                  </a:cxn>
                  <a:cxn ang="0">
                    <a:pos x="115" y="142"/>
                  </a:cxn>
                  <a:cxn ang="0">
                    <a:pos x="123" y="138"/>
                  </a:cxn>
                  <a:cxn ang="0">
                    <a:pos x="131" y="146"/>
                  </a:cxn>
                  <a:cxn ang="0">
                    <a:pos x="78" y="177"/>
                  </a:cxn>
                  <a:cxn ang="0">
                    <a:pos x="0" y="87"/>
                  </a:cxn>
                  <a:cxn ang="0">
                    <a:pos x="77" y="0"/>
                  </a:cxn>
                  <a:cxn ang="0">
                    <a:pos x="133" y="35"/>
                  </a:cxn>
                  <a:cxn ang="0">
                    <a:pos x="119" y="49"/>
                  </a:cxn>
                  <a:cxn ang="0">
                    <a:pos x="106" y="42"/>
                  </a:cxn>
                  <a:cxn ang="0">
                    <a:pos x="74" y="20"/>
                  </a:cxn>
                </a:cxnLst>
                <a:rect l="0" t="0" r="r" b="b"/>
                <a:pathLst>
                  <a:path w="133" h="177">
                    <a:moveTo>
                      <a:pt x="74" y="20"/>
                    </a:moveTo>
                    <a:cubicBezTo>
                      <a:pt x="52" y="20"/>
                      <a:pt x="34" y="41"/>
                      <a:pt x="34" y="79"/>
                    </a:cubicBezTo>
                    <a:cubicBezTo>
                      <a:pt x="34" y="126"/>
                      <a:pt x="58" y="152"/>
                      <a:pt x="86" y="152"/>
                    </a:cubicBezTo>
                    <a:cubicBezTo>
                      <a:pt x="101" y="152"/>
                      <a:pt x="111" y="145"/>
                      <a:pt x="115" y="142"/>
                    </a:cubicBezTo>
                    <a:cubicBezTo>
                      <a:pt x="119" y="139"/>
                      <a:pt x="121" y="138"/>
                      <a:pt x="123" y="138"/>
                    </a:cubicBezTo>
                    <a:cubicBezTo>
                      <a:pt x="128" y="138"/>
                      <a:pt x="131" y="141"/>
                      <a:pt x="131" y="146"/>
                    </a:cubicBezTo>
                    <a:cubicBezTo>
                      <a:pt x="131" y="156"/>
                      <a:pt x="112" y="177"/>
                      <a:pt x="78" y="177"/>
                    </a:cubicBezTo>
                    <a:cubicBezTo>
                      <a:pt x="24" y="177"/>
                      <a:pt x="0" y="133"/>
                      <a:pt x="0" y="87"/>
                    </a:cubicBezTo>
                    <a:cubicBezTo>
                      <a:pt x="0" y="39"/>
                      <a:pt x="28" y="0"/>
                      <a:pt x="77" y="0"/>
                    </a:cubicBezTo>
                    <a:cubicBezTo>
                      <a:pt x="112" y="0"/>
                      <a:pt x="133" y="21"/>
                      <a:pt x="133" y="35"/>
                    </a:cubicBezTo>
                    <a:cubicBezTo>
                      <a:pt x="133" y="43"/>
                      <a:pt x="127" y="49"/>
                      <a:pt x="119" y="49"/>
                    </a:cubicBezTo>
                    <a:cubicBezTo>
                      <a:pt x="113" y="49"/>
                      <a:pt x="109" y="46"/>
                      <a:pt x="106" y="42"/>
                    </a:cubicBezTo>
                    <a:cubicBezTo>
                      <a:pt x="99" y="31"/>
                      <a:pt x="92" y="20"/>
                      <a:pt x="74" y="20"/>
                    </a:cubicBezTo>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19" name="Freeform 6"/>
              <p:cNvSpPr>
                <a:spLocks noEditPoints="1"/>
              </p:cNvSpPr>
              <p:nvPr userDrawn="1"/>
            </p:nvSpPr>
            <p:spPr bwMode="auto">
              <a:xfrm>
                <a:off x="3948113" y="1801813"/>
                <a:ext cx="119063" cy="138112"/>
              </a:xfrm>
              <a:custGeom>
                <a:avLst/>
                <a:gdLst/>
                <a:ahLst/>
                <a:cxnLst>
                  <a:cxn ang="0">
                    <a:pos x="108" y="39"/>
                  </a:cxn>
                  <a:cxn ang="0">
                    <a:pos x="76" y="20"/>
                  </a:cxn>
                  <a:cxn ang="0">
                    <a:pos x="58" y="25"/>
                  </a:cxn>
                  <a:cxn ang="0">
                    <a:pos x="34" y="86"/>
                  </a:cxn>
                  <a:cxn ang="0">
                    <a:pos x="36" y="110"/>
                  </a:cxn>
                  <a:cxn ang="0">
                    <a:pos x="77" y="154"/>
                  </a:cxn>
                  <a:cxn ang="0">
                    <a:pos x="110" y="133"/>
                  </a:cxn>
                  <a:cxn ang="0">
                    <a:pos x="119" y="84"/>
                  </a:cxn>
                  <a:cxn ang="0">
                    <a:pos x="108" y="39"/>
                  </a:cxn>
                  <a:cxn ang="0">
                    <a:pos x="77" y="177"/>
                  </a:cxn>
                  <a:cxn ang="0">
                    <a:pos x="0" y="89"/>
                  </a:cxn>
                  <a:cxn ang="0">
                    <a:pos x="77" y="0"/>
                  </a:cxn>
                  <a:cxn ang="0">
                    <a:pos x="153" y="84"/>
                  </a:cxn>
                  <a:cxn ang="0">
                    <a:pos x="77" y="177"/>
                  </a:cxn>
                </a:cxnLst>
                <a:rect l="0" t="0" r="r" b="b"/>
                <a:pathLst>
                  <a:path w="155" h="177">
                    <a:moveTo>
                      <a:pt x="108" y="39"/>
                    </a:moveTo>
                    <a:cubicBezTo>
                      <a:pt x="96" y="21"/>
                      <a:pt x="81" y="20"/>
                      <a:pt x="76" y="20"/>
                    </a:cubicBezTo>
                    <a:cubicBezTo>
                      <a:pt x="70" y="20"/>
                      <a:pt x="64" y="22"/>
                      <a:pt x="58" y="25"/>
                    </a:cubicBezTo>
                    <a:cubicBezTo>
                      <a:pt x="35" y="39"/>
                      <a:pt x="34" y="73"/>
                      <a:pt x="34" y="86"/>
                    </a:cubicBezTo>
                    <a:cubicBezTo>
                      <a:pt x="34" y="96"/>
                      <a:pt x="35" y="103"/>
                      <a:pt x="36" y="110"/>
                    </a:cubicBezTo>
                    <a:cubicBezTo>
                      <a:pt x="43" y="149"/>
                      <a:pt x="67" y="154"/>
                      <a:pt x="77" y="154"/>
                    </a:cubicBezTo>
                    <a:cubicBezTo>
                      <a:pt x="88" y="154"/>
                      <a:pt x="101" y="149"/>
                      <a:pt x="110" y="133"/>
                    </a:cubicBezTo>
                    <a:cubicBezTo>
                      <a:pt x="117" y="119"/>
                      <a:pt x="119" y="101"/>
                      <a:pt x="119" y="84"/>
                    </a:cubicBezTo>
                    <a:cubicBezTo>
                      <a:pt x="119" y="72"/>
                      <a:pt x="117" y="54"/>
                      <a:pt x="108" y="39"/>
                    </a:cubicBezTo>
                    <a:moveTo>
                      <a:pt x="77" y="177"/>
                    </a:moveTo>
                    <a:cubicBezTo>
                      <a:pt x="36" y="177"/>
                      <a:pt x="0" y="147"/>
                      <a:pt x="0" y="89"/>
                    </a:cubicBezTo>
                    <a:cubicBezTo>
                      <a:pt x="0" y="39"/>
                      <a:pt x="28" y="0"/>
                      <a:pt x="77" y="0"/>
                    </a:cubicBezTo>
                    <a:cubicBezTo>
                      <a:pt x="125" y="0"/>
                      <a:pt x="151" y="39"/>
                      <a:pt x="153" y="84"/>
                    </a:cubicBezTo>
                    <a:cubicBezTo>
                      <a:pt x="155" y="138"/>
                      <a:pt x="123" y="177"/>
                      <a:pt x="77" y="177"/>
                    </a:cubicBezTo>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0" name="Freeform 7"/>
              <p:cNvSpPr>
                <a:spLocks/>
              </p:cNvSpPr>
              <p:nvPr userDrawn="1"/>
            </p:nvSpPr>
            <p:spPr bwMode="auto">
              <a:xfrm>
                <a:off x="4108450" y="1804988"/>
                <a:ext cx="103188" cy="131762"/>
              </a:xfrm>
              <a:custGeom>
                <a:avLst/>
                <a:gdLst/>
                <a:ahLst/>
                <a:cxnLst>
                  <a:cxn ang="0">
                    <a:pos x="108" y="111"/>
                  </a:cxn>
                  <a:cxn ang="0">
                    <a:pos x="108" y="5"/>
                  </a:cxn>
                  <a:cxn ang="0">
                    <a:pos x="113" y="0"/>
                  </a:cxn>
                  <a:cxn ang="0">
                    <a:pos x="128" y="0"/>
                  </a:cxn>
                  <a:cxn ang="0">
                    <a:pos x="133" y="5"/>
                  </a:cxn>
                  <a:cxn ang="0">
                    <a:pos x="133" y="164"/>
                  </a:cxn>
                  <a:cxn ang="0">
                    <a:pos x="128" y="169"/>
                  </a:cxn>
                  <a:cxn ang="0">
                    <a:pos x="114" y="169"/>
                  </a:cxn>
                  <a:cxn ang="0">
                    <a:pos x="108" y="164"/>
                  </a:cxn>
                  <a:cxn ang="0">
                    <a:pos x="26" y="48"/>
                  </a:cxn>
                  <a:cxn ang="0">
                    <a:pos x="26" y="164"/>
                  </a:cxn>
                  <a:cxn ang="0">
                    <a:pos x="21" y="169"/>
                  </a:cxn>
                  <a:cxn ang="0">
                    <a:pos x="6" y="169"/>
                  </a:cxn>
                  <a:cxn ang="0">
                    <a:pos x="0" y="164"/>
                  </a:cxn>
                  <a:cxn ang="0">
                    <a:pos x="0" y="5"/>
                  </a:cxn>
                  <a:cxn ang="0">
                    <a:pos x="6" y="0"/>
                  </a:cxn>
                  <a:cxn ang="0">
                    <a:pos x="24" y="0"/>
                  </a:cxn>
                  <a:cxn ang="0">
                    <a:pos x="32" y="4"/>
                  </a:cxn>
                  <a:cxn ang="0">
                    <a:pos x="108" y="111"/>
                  </a:cxn>
                </a:cxnLst>
                <a:rect l="0" t="0" r="r" b="b"/>
                <a:pathLst>
                  <a:path w="133" h="169">
                    <a:moveTo>
                      <a:pt x="108" y="111"/>
                    </a:moveTo>
                    <a:cubicBezTo>
                      <a:pt x="108" y="5"/>
                      <a:pt x="108" y="5"/>
                      <a:pt x="108" y="5"/>
                    </a:cubicBezTo>
                    <a:cubicBezTo>
                      <a:pt x="108" y="1"/>
                      <a:pt x="109" y="0"/>
                      <a:pt x="113" y="0"/>
                    </a:cubicBezTo>
                    <a:cubicBezTo>
                      <a:pt x="128" y="0"/>
                      <a:pt x="128" y="0"/>
                      <a:pt x="128" y="0"/>
                    </a:cubicBezTo>
                    <a:cubicBezTo>
                      <a:pt x="132" y="0"/>
                      <a:pt x="133" y="1"/>
                      <a:pt x="133" y="5"/>
                    </a:cubicBezTo>
                    <a:cubicBezTo>
                      <a:pt x="133" y="164"/>
                      <a:pt x="133" y="164"/>
                      <a:pt x="133" y="164"/>
                    </a:cubicBezTo>
                    <a:cubicBezTo>
                      <a:pt x="133" y="168"/>
                      <a:pt x="131" y="169"/>
                      <a:pt x="128" y="169"/>
                    </a:cubicBezTo>
                    <a:cubicBezTo>
                      <a:pt x="114" y="169"/>
                      <a:pt x="114" y="169"/>
                      <a:pt x="114" y="169"/>
                    </a:cubicBezTo>
                    <a:cubicBezTo>
                      <a:pt x="111" y="169"/>
                      <a:pt x="111" y="168"/>
                      <a:pt x="108" y="164"/>
                    </a:cubicBezTo>
                    <a:cubicBezTo>
                      <a:pt x="26" y="48"/>
                      <a:pt x="26" y="48"/>
                      <a:pt x="26" y="48"/>
                    </a:cubicBezTo>
                    <a:cubicBezTo>
                      <a:pt x="26" y="164"/>
                      <a:pt x="26" y="164"/>
                      <a:pt x="26" y="164"/>
                    </a:cubicBezTo>
                    <a:cubicBezTo>
                      <a:pt x="26" y="168"/>
                      <a:pt x="25" y="169"/>
                      <a:pt x="21" y="169"/>
                    </a:cubicBezTo>
                    <a:cubicBezTo>
                      <a:pt x="6" y="169"/>
                      <a:pt x="6" y="169"/>
                      <a:pt x="6" y="169"/>
                    </a:cubicBezTo>
                    <a:cubicBezTo>
                      <a:pt x="2" y="169"/>
                      <a:pt x="0" y="169"/>
                      <a:pt x="0" y="164"/>
                    </a:cubicBezTo>
                    <a:cubicBezTo>
                      <a:pt x="0" y="5"/>
                      <a:pt x="0" y="5"/>
                      <a:pt x="0" y="5"/>
                    </a:cubicBezTo>
                    <a:cubicBezTo>
                      <a:pt x="0" y="0"/>
                      <a:pt x="2" y="0"/>
                      <a:pt x="6" y="0"/>
                    </a:cubicBezTo>
                    <a:cubicBezTo>
                      <a:pt x="24" y="0"/>
                      <a:pt x="24" y="0"/>
                      <a:pt x="24" y="0"/>
                    </a:cubicBezTo>
                    <a:cubicBezTo>
                      <a:pt x="28" y="0"/>
                      <a:pt x="29" y="0"/>
                      <a:pt x="32" y="4"/>
                    </a:cubicBezTo>
                    <a:lnTo>
                      <a:pt x="108" y="11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1" name="Freeform 8"/>
              <p:cNvSpPr>
                <a:spLocks/>
              </p:cNvSpPr>
              <p:nvPr userDrawn="1"/>
            </p:nvSpPr>
            <p:spPr bwMode="auto">
              <a:xfrm>
                <a:off x="4254500" y="1801813"/>
                <a:ext cx="85725" cy="138112"/>
              </a:xfrm>
              <a:custGeom>
                <a:avLst/>
                <a:gdLst/>
                <a:ahLst/>
                <a:cxnLst>
                  <a:cxn ang="0">
                    <a:pos x="71" y="75"/>
                  </a:cxn>
                  <a:cxn ang="0">
                    <a:pos x="110" y="127"/>
                  </a:cxn>
                  <a:cxn ang="0">
                    <a:pos x="55" y="177"/>
                  </a:cxn>
                  <a:cxn ang="0">
                    <a:pos x="0" y="138"/>
                  </a:cxn>
                  <a:cxn ang="0">
                    <a:pos x="14" y="123"/>
                  </a:cxn>
                  <a:cxn ang="0">
                    <a:pos x="31" y="137"/>
                  </a:cxn>
                  <a:cxn ang="0">
                    <a:pos x="57" y="156"/>
                  </a:cxn>
                  <a:cxn ang="0">
                    <a:pos x="80" y="134"/>
                  </a:cxn>
                  <a:cxn ang="0">
                    <a:pos x="48" y="100"/>
                  </a:cxn>
                  <a:cxn ang="0">
                    <a:pos x="35" y="93"/>
                  </a:cxn>
                  <a:cxn ang="0">
                    <a:pos x="2" y="47"/>
                  </a:cxn>
                  <a:cxn ang="0">
                    <a:pos x="54" y="0"/>
                  </a:cxn>
                  <a:cxn ang="0">
                    <a:pos x="104" y="32"/>
                  </a:cxn>
                  <a:cxn ang="0">
                    <a:pos x="90" y="46"/>
                  </a:cxn>
                  <a:cxn ang="0">
                    <a:pos x="76" y="35"/>
                  </a:cxn>
                  <a:cxn ang="0">
                    <a:pos x="53" y="19"/>
                  </a:cxn>
                  <a:cxn ang="0">
                    <a:pos x="32" y="40"/>
                  </a:cxn>
                  <a:cxn ang="0">
                    <a:pos x="60" y="70"/>
                  </a:cxn>
                  <a:cxn ang="0">
                    <a:pos x="71" y="75"/>
                  </a:cxn>
                </a:cxnLst>
                <a:rect l="0" t="0" r="r" b="b"/>
                <a:pathLst>
                  <a:path w="110" h="177">
                    <a:moveTo>
                      <a:pt x="71" y="75"/>
                    </a:moveTo>
                    <a:cubicBezTo>
                      <a:pt x="87" y="83"/>
                      <a:pt x="110" y="96"/>
                      <a:pt x="110" y="127"/>
                    </a:cubicBezTo>
                    <a:cubicBezTo>
                      <a:pt x="110" y="159"/>
                      <a:pt x="86" y="177"/>
                      <a:pt x="55" y="177"/>
                    </a:cubicBezTo>
                    <a:cubicBezTo>
                      <a:pt x="16" y="177"/>
                      <a:pt x="0" y="151"/>
                      <a:pt x="0" y="138"/>
                    </a:cubicBezTo>
                    <a:cubicBezTo>
                      <a:pt x="0" y="127"/>
                      <a:pt x="8" y="123"/>
                      <a:pt x="14" y="123"/>
                    </a:cubicBezTo>
                    <a:cubicBezTo>
                      <a:pt x="24" y="123"/>
                      <a:pt x="28" y="130"/>
                      <a:pt x="31" y="137"/>
                    </a:cubicBezTo>
                    <a:cubicBezTo>
                      <a:pt x="34" y="143"/>
                      <a:pt x="41" y="156"/>
                      <a:pt x="57" y="156"/>
                    </a:cubicBezTo>
                    <a:cubicBezTo>
                      <a:pt x="70" y="156"/>
                      <a:pt x="80" y="147"/>
                      <a:pt x="80" y="134"/>
                    </a:cubicBezTo>
                    <a:cubicBezTo>
                      <a:pt x="80" y="117"/>
                      <a:pt x="67" y="110"/>
                      <a:pt x="48" y="100"/>
                    </a:cubicBezTo>
                    <a:cubicBezTo>
                      <a:pt x="35" y="93"/>
                      <a:pt x="35" y="93"/>
                      <a:pt x="35" y="93"/>
                    </a:cubicBezTo>
                    <a:cubicBezTo>
                      <a:pt x="26" y="88"/>
                      <a:pt x="2" y="76"/>
                      <a:pt x="2" y="47"/>
                    </a:cubicBezTo>
                    <a:cubicBezTo>
                      <a:pt x="2" y="18"/>
                      <a:pt x="24" y="0"/>
                      <a:pt x="54" y="0"/>
                    </a:cubicBezTo>
                    <a:cubicBezTo>
                      <a:pt x="85" y="0"/>
                      <a:pt x="104" y="18"/>
                      <a:pt x="104" y="32"/>
                    </a:cubicBezTo>
                    <a:cubicBezTo>
                      <a:pt x="104" y="40"/>
                      <a:pt x="98" y="46"/>
                      <a:pt x="90" y="46"/>
                    </a:cubicBezTo>
                    <a:cubicBezTo>
                      <a:pt x="82" y="46"/>
                      <a:pt x="79" y="40"/>
                      <a:pt x="76" y="35"/>
                    </a:cubicBezTo>
                    <a:cubicBezTo>
                      <a:pt x="72" y="29"/>
                      <a:pt x="65" y="19"/>
                      <a:pt x="53" y="19"/>
                    </a:cubicBezTo>
                    <a:cubicBezTo>
                      <a:pt x="40" y="19"/>
                      <a:pt x="32" y="28"/>
                      <a:pt x="32" y="40"/>
                    </a:cubicBezTo>
                    <a:cubicBezTo>
                      <a:pt x="32" y="56"/>
                      <a:pt x="44" y="62"/>
                      <a:pt x="60" y="70"/>
                    </a:cubicBezTo>
                    <a:lnTo>
                      <a:pt x="71" y="75"/>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2" name="Freeform 9"/>
              <p:cNvSpPr>
                <a:spLocks/>
              </p:cNvSpPr>
              <p:nvPr userDrawn="1"/>
            </p:nvSpPr>
            <p:spPr bwMode="auto">
              <a:xfrm>
                <a:off x="4383088" y="1804988"/>
                <a:ext cx="88900" cy="134937"/>
              </a:xfrm>
              <a:custGeom>
                <a:avLst/>
                <a:gdLst/>
                <a:ahLst/>
                <a:cxnLst>
                  <a:cxn ang="0">
                    <a:pos x="116" y="119"/>
                  </a:cxn>
                  <a:cxn ang="0">
                    <a:pos x="111" y="146"/>
                  </a:cxn>
                  <a:cxn ang="0">
                    <a:pos x="58" y="173"/>
                  </a:cxn>
                  <a:cxn ang="0">
                    <a:pos x="5" y="146"/>
                  </a:cxn>
                  <a:cxn ang="0">
                    <a:pos x="0" y="117"/>
                  </a:cxn>
                  <a:cxn ang="0">
                    <a:pos x="0" y="4"/>
                  </a:cxn>
                  <a:cxn ang="0">
                    <a:pos x="4" y="0"/>
                  </a:cxn>
                  <a:cxn ang="0">
                    <a:pos x="28" y="0"/>
                  </a:cxn>
                  <a:cxn ang="0">
                    <a:pos x="33" y="4"/>
                  </a:cxn>
                  <a:cxn ang="0">
                    <a:pos x="33" y="114"/>
                  </a:cxn>
                  <a:cxn ang="0">
                    <a:pos x="62" y="148"/>
                  </a:cxn>
                  <a:cxn ang="0">
                    <a:pos x="90" y="116"/>
                  </a:cxn>
                  <a:cxn ang="0">
                    <a:pos x="90" y="5"/>
                  </a:cxn>
                  <a:cxn ang="0">
                    <a:pos x="95" y="0"/>
                  </a:cxn>
                  <a:cxn ang="0">
                    <a:pos x="111" y="0"/>
                  </a:cxn>
                  <a:cxn ang="0">
                    <a:pos x="116" y="4"/>
                  </a:cxn>
                  <a:cxn ang="0">
                    <a:pos x="116" y="119"/>
                  </a:cxn>
                </a:cxnLst>
                <a:rect l="0" t="0" r="r" b="b"/>
                <a:pathLst>
                  <a:path w="116" h="173">
                    <a:moveTo>
                      <a:pt x="116" y="119"/>
                    </a:moveTo>
                    <a:cubicBezTo>
                      <a:pt x="115" y="127"/>
                      <a:pt x="115" y="136"/>
                      <a:pt x="111" y="146"/>
                    </a:cubicBezTo>
                    <a:cubicBezTo>
                      <a:pt x="109" y="151"/>
                      <a:pt x="98" y="173"/>
                      <a:pt x="58" y="173"/>
                    </a:cubicBezTo>
                    <a:cubicBezTo>
                      <a:pt x="36" y="173"/>
                      <a:pt x="14" y="166"/>
                      <a:pt x="5" y="146"/>
                    </a:cubicBezTo>
                    <a:cubicBezTo>
                      <a:pt x="1" y="137"/>
                      <a:pt x="0" y="127"/>
                      <a:pt x="0" y="117"/>
                    </a:cubicBezTo>
                    <a:cubicBezTo>
                      <a:pt x="0" y="4"/>
                      <a:pt x="0" y="4"/>
                      <a:pt x="0" y="4"/>
                    </a:cubicBezTo>
                    <a:cubicBezTo>
                      <a:pt x="0" y="0"/>
                      <a:pt x="1" y="0"/>
                      <a:pt x="4" y="0"/>
                    </a:cubicBezTo>
                    <a:cubicBezTo>
                      <a:pt x="28" y="0"/>
                      <a:pt x="28" y="0"/>
                      <a:pt x="28" y="0"/>
                    </a:cubicBezTo>
                    <a:cubicBezTo>
                      <a:pt x="32" y="0"/>
                      <a:pt x="33" y="0"/>
                      <a:pt x="33" y="4"/>
                    </a:cubicBezTo>
                    <a:cubicBezTo>
                      <a:pt x="33" y="114"/>
                      <a:pt x="33" y="114"/>
                      <a:pt x="33" y="114"/>
                    </a:cubicBezTo>
                    <a:cubicBezTo>
                      <a:pt x="33" y="124"/>
                      <a:pt x="34" y="148"/>
                      <a:pt x="62" y="148"/>
                    </a:cubicBezTo>
                    <a:cubicBezTo>
                      <a:pt x="90" y="148"/>
                      <a:pt x="90" y="123"/>
                      <a:pt x="90" y="116"/>
                    </a:cubicBezTo>
                    <a:cubicBezTo>
                      <a:pt x="90" y="5"/>
                      <a:pt x="90" y="5"/>
                      <a:pt x="90" y="5"/>
                    </a:cubicBezTo>
                    <a:cubicBezTo>
                      <a:pt x="90" y="1"/>
                      <a:pt x="91" y="0"/>
                      <a:pt x="95" y="0"/>
                    </a:cubicBezTo>
                    <a:cubicBezTo>
                      <a:pt x="111" y="0"/>
                      <a:pt x="111" y="0"/>
                      <a:pt x="111" y="0"/>
                    </a:cubicBezTo>
                    <a:cubicBezTo>
                      <a:pt x="114" y="0"/>
                      <a:pt x="116" y="0"/>
                      <a:pt x="116" y="4"/>
                    </a:cubicBezTo>
                    <a:lnTo>
                      <a:pt x="116" y="119"/>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3" name="Freeform 10"/>
              <p:cNvSpPr>
                <a:spLocks/>
              </p:cNvSpPr>
              <p:nvPr userDrawn="1"/>
            </p:nvSpPr>
            <p:spPr bwMode="auto">
              <a:xfrm>
                <a:off x="4521200" y="1804988"/>
                <a:ext cx="71438" cy="131762"/>
              </a:xfrm>
              <a:custGeom>
                <a:avLst/>
                <a:gdLst/>
                <a:ahLst/>
                <a:cxnLst>
                  <a:cxn ang="0">
                    <a:pos x="32" y="147"/>
                  </a:cxn>
                  <a:cxn ang="0">
                    <a:pos x="87" y="147"/>
                  </a:cxn>
                  <a:cxn ang="0">
                    <a:pos x="92" y="152"/>
                  </a:cxn>
                  <a:cxn ang="0">
                    <a:pos x="92" y="164"/>
                  </a:cxn>
                  <a:cxn ang="0">
                    <a:pos x="87" y="169"/>
                  </a:cxn>
                  <a:cxn ang="0">
                    <a:pos x="5" y="169"/>
                  </a:cxn>
                  <a:cxn ang="0">
                    <a:pos x="0" y="164"/>
                  </a:cxn>
                  <a:cxn ang="0">
                    <a:pos x="0" y="5"/>
                  </a:cxn>
                  <a:cxn ang="0">
                    <a:pos x="5" y="0"/>
                  </a:cxn>
                  <a:cxn ang="0">
                    <a:pos x="27" y="0"/>
                  </a:cxn>
                  <a:cxn ang="0">
                    <a:pos x="32" y="5"/>
                  </a:cxn>
                  <a:cxn ang="0">
                    <a:pos x="32" y="147"/>
                  </a:cxn>
                </a:cxnLst>
                <a:rect l="0" t="0" r="r" b="b"/>
                <a:pathLst>
                  <a:path w="92" h="169">
                    <a:moveTo>
                      <a:pt x="32" y="147"/>
                    </a:moveTo>
                    <a:cubicBezTo>
                      <a:pt x="87" y="147"/>
                      <a:pt x="87" y="147"/>
                      <a:pt x="87" y="147"/>
                    </a:cubicBezTo>
                    <a:cubicBezTo>
                      <a:pt x="91" y="147"/>
                      <a:pt x="92" y="148"/>
                      <a:pt x="92" y="152"/>
                    </a:cubicBezTo>
                    <a:cubicBezTo>
                      <a:pt x="92" y="164"/>
                      <a:pt x="92" y="164"/>
                      <a:pt x="92" y="164"/>
                    </a:cubicBezTo>
                    <a:cubicBezTo>
                      <a:pt x="92" y="168"/>
                      <a:pt x="91" y="169"/>
                      <a:pt x="87" y="169"/>
                    </a:cubicBezTo>
                    <a:cubicBezTo>
                      <a:pt x="5" y="169"/>
                      <a:pt x="5" y="169"/>
                      <a:pt x="5" y="169"/>
                    </a:cubicBezTo>
                    <a:cubicBezTo>
                      <a:pt x="2" y="169"/>
                      <a:pt x="0" y="169"/>
                      <a:pt x="0" y="164"/>
                    </a:cubicBezTo>
                    <a:cubicBezTo>
                      <a:pt x="0" y="5"/>
                      <a:pt x="0" y="5"/>
                      <a:pt x="0" y="5"/>
                    </a:cubicBezTo>
                    <a:cubicBezTo>
                      <a:pt x="0" y="1"/>
                      <a:pt x="1" y="0"/>
                      <a:pt x="5" y="0"/>
                    </a:cubicBezTo>
                    <a:cubicBezTo>
                      <a:pt x="27" y="0"/>
                      <a:pt x="27" y="0"/>
                      <a:pt x="27" y="0"/>
                    </a:cubicBezTo>
                    <a:cubicBezTo>
                      <a:pt x="31" y="0"/>
                      <a:pt x="32" y="1"/>
                      <a:pt x="32" y="5"/>
                    </a:cubicBezTo>
                    <a:lnTo>
                      <a:pt x="32" y="147"/>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4" name="Freeform 11"/>
              <p:cNvSpPr>
                <a:spLocks/>
              </p:cNvSpPr>
              <p:nvPr userDrawn="1"/>
            </p:nvSpPr>
            <p:spPr bwMode="auto">
              <a:xfrm>
                <a:off x="4595813" y="1804988"/>
                <a:ext cx="90488" cy="131762"/>
              </a:xfrm>
              <a:custGeom>
                <a:avLst/>
                <a:gdLst/>
                <a:ahLst/>
                <a:cxnLst>
                  <a:cxn ang="0">
                    <a:pos x="74" y="21"/>
                  </a:cxn>
                  <a:cxn ang="0">
                    <a:pos x="74" y="163"/>
                  </a:cxn>
                  <a:cxn ang="0">
                    <a:pos x="69" y="169"/>
                  </a:cxn>
                  <a:cxn ang="0">
                    <a:pos x="47" y="169"/>
                  </a:cxn>
                  <a:cxn ang="0">
                    <a:pos x="41" y="163"/>
                  </a:cxn>
                  <a:cxn ang="0">
                    <a:pos x="41" y="21"/>
                  </a:cxn>
                  <a:cxn ang="0">
                    <a:pos x="5" y="21"/>
                  </a:cxn>
                  <a:cxn ang="0">
                    <a:pos x="0" y="16"/>
                  </a:cxn>
                  <a:cxn ang="0">
                    <a:pos x="0" y="5"/>
                  </a:cxn>
                  <a:cxn ang="0">
                    <a:pos x="5" y="0"/>
                  </a:cxn>
                  <a:cxn ang="0">
                    <a:pos x="110" y="0"/>
                  </a:cxn>
                  <a:cxn ang="0">
                    <a:pos x="116" y="4"/>
                  </a:cxn>
                  <a:cxn ang="0">
                    <a:pos x="116" y="16"/>
                  </a:cxn>
                  <a:cxn ang="0">
                    <a:pos x="110" y="21"/>
                  </a:cxn>
                  <a:cxn ang="0">
                    <a:pos x="74" y="21"/>
                  </a:cxn>
                </a:cxnLst>
                <a:rect l="0" t="0" r="r" b="b"/>
                <a:pathLst>
                  <a:path w="116" h="169">
                    <a:moveTo>
                      <a:pt x="74" y="21"/>
                    </a:moveTo>
                    <a:cubicBezTo>
                      <a:pt x="74" y="163"/>
                      <a:pt x="74" y="163"/>
                      <a:pt x="74" y="163"/>
                    </a:cubicBezTo>
                    <a:cubicBezTo>
                      <a:pt x="74" y="167"/>
                      <a:pt x="73" y="169"/>
                      <a:pt x="69" y="169"/>
                    </a:cubicBezTo>
                    <a:cubicBezTo>
                      <a:pt x="47" y="169"/>
                      <a:pt x="47" y="169"/>
                      <a:pt x="47" y="169"/>
                    </a:cubicBezTo>
                    <a:cubicBezTo>
                      <a:pt x="43" y="169"/>
                      <a:pt x="41" y="168"/>
                      <a:pt x="41" y="163"/>
                    </a:cubicBezTo>
                    <a:cubicBezTo>
                      <a:pt x="41" y="21"/>
                      <a:pt x="41" y="21"/>
                      <a:pt x="41" y="21"/>
                    </a:cubicBezTo>
                    <a:cubicBezTo>
                      <a:pt x="5" y="21"/>
                      <a:pt x="5" y="21"/>
                      <a:pt x="5" y="21"/>
                    </a:cubicBezTo>
                    <a:cubicBezTo>
                      <a:pt x="1" y="21"/>
                      <a:pt x="0" y="20"/>
                      <a:pt x="0" y="16"/>
                    </a:cubicBezTo>
                    <a:cubicBezTo>
                      <a:pt x="0" y="5"/>
                      <a:pt x="0" y="5"/>
                      <a:pt x="0" y="5"/>
                    </a:cubicBezTo>
                    <a:cubicBezTo>
                      <a:pt x="0" y="0"/>
                      <a:pt x="2" y="0"/>
                      <a:pt x="5" y="0"/>
                    </a:cubicBezTo>
                    <a:cubicBezTo>
                      <a:pt x="110" y="0"/>
                      <a:pt x="110" y="0"/>
                      <a:pt x="110" y="0"/>
                    </a:cubicBezTo>
                    <a:cubicBezTo>
                      <a:pt x="114" y="0"/>
                      <a:pt x="116" y="0"/>
                      <a:pt x="116" y="4"/>
                    </a:cubicBezTo>
                    <a:cubicBezTo>
                      <a:pt x="116" y="16"/>
                      <a:pt x="116" y="16"/>
                      <a:pt x="116" y="16"/>
                    </a:cubicBezTo>
                    <a:cubicBezTo>
                      <a:pt x="116" y="20"/>
                      <a:pt x="115" y="21"/>
                      <a:pt x="110" y="21"/>
                    </a:cubicBezTo>
                    <a:lnTo>
                      <a:pt x="74" y="2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5" name="Freeform 12"/>
              <p:cNvSpPr>
                <a:spLocks noEditPoints="1"/>
              </p:cNvSpPr>
              <p:nvPr userDrawn="1"/>
            </p:nvSpPr>
            <p:spPr bwMode="auto">
              <a:xfrm>
                <a:off x="4689475" y="1804988"/>
                <a:ext cx="112713" cy="131762"/>
              </a:xfrm>
              <a:custGeom>
                <a:avLst/>
                <a:gdLst/>
                <a:ahLst/>
                <a:cxnLst>
                  <a:cxn ang="0">
                    <a:pos x="87" y="98"/>
                  </a:cxn>
                  <a:cxn ang="0">
                    <a:pos x="68" y="43"/>
                  </a:cxn>
                  <a:cxn ang="0">
                    <a:pos x="50" y="98"/>
                  </a:cxn>
                  <a:cxn ang="0">
                    <a:pos x="87" y="98"/>
                  </a:cxn>
                  <a:cxn ang="0">
                    <a:pos x="93" y="116"/>
                  </a:cxn>
                  <a:cxn ang="0">
                    <a:pos x="44" y="116"/>
                  </a:cxn>
                  <a:cxn ang="0">
                    <a:pos x="27" y="164"/>
                  </a:cxn>
                  <a:cxn ang="0">
                    <a:pos x="21" y="169"/>
                  </a:cxn>
                  <a:cxn ang="0">
                    <a:pos x="5" y="169"/>
                  </a:cxn>
                  <a:cxn ang="0">
                    <a:pos x="0" y="166"/>
                  </a:cxn>
                  <a:cxn ang="0">
                    <a:pos x="2" y="161"/>
                  </a:cxn>
                  <a:cxn ang="0">
                    <a:pos x="60" y="4"/>
                  </a:cxn>
                  <a:cxn ang="0">
                    <a:pos x="66" y="0"/>
                  </a:cxn>
                  <a:cxn ang="0">
                    <a:pos x="80" y="0"/>
                  </a:cxn>
                  <a:cxn ang="0">
                    <a:pos x="86" y="3"/>
                  </a:cxn>
                  <a:cxn ang="0">
                    <a:pos x="144" y="163"/>
                  </a:cxn>
                  <a:cxn ang="0">
                    <a:pos x="145" y="166"/>
                  </a:cxn>
                  <a:cxn ang="0">
                    <a:pos x="141" y="169"/>
                  </a:cxn>
                  <a:cxn ang="0">
                    <a:pos x="117" y="169"/>
                  </a:cxn>
                  <a:cxn ang="0">
                    <a:pos x="110" y="165"/>
                  </a:cxn>
                  <a:cxn ang="0">
                    <a:pos x="93" y="116"/>
                  </a:cxn>
                </a:cxnLst>
                <a:rect l="0" t="0" r="r" b="b"/>
                <a:pathLst>
                  <a:path w="145" h="169">
                    <a:moveTo>
                      <a:pt x="87" y="98"/>
                    </a:moveTo>
                    <a:cubicBezTo>
                      <a:pt x="68" y="43"/>
                      <a:pt x="68" y="43"/>
                      <a:pt x="68" y="43"/>
                    </a:cubicBezTo>
                    <a:cubicBezTo>
                      <a:pt x="50" y="98"/>
                      <a:pt x="50" y="98"/>
                      <a:pt x="50" y="98"/>
                    </a:cubicBezTo>
                    <a:lnTo>
                      <a:pt x="87" y="98"/>
                    </a:lnTo>
                    <a:close/>
                    <a:moveTo>
                      <a:pt x="93" y="116"/>
                    </a:moveTo>
                    <a:cubicBezTo>
                      <a:pt x="44" y="116"/>
                      <a:pt x="44" y="116"/>
                      <a:pt x="44" y="116"/>
                    </a:cubicBezTo>
                    <a:cubicBezTo>
                      <a:pt x="27" y="164"/>
                      <a:pt x="27" y="164"/>
                      <a:pt x="27" y="164"/>
                    </a:cubicBezTo>
                    <a:cubicBezTo>
                      <a:pt x="26" y="168"/>
                      <a:pt x="25" y="169"/>
                      <a:pt x="21" y="169"/>
                    </a:cubicBezTo>
                    <a:cubicBezTo>
                      <a:pt x="5" y="169"/>
                      <a:pt x="5" y="169"/>
                      <a:pt x="5" y="169"/>
                    </a:cubicBezTo>
                    <a:cubicBezTo>
                      <a:pt x="3" y="169"/>
                      <a:pt x="0" y="169"/>
                      <a:pt x="0" y="166"/>
                    </a:cubicBezTo>
                    <a:cubicBezTo>
                      <a:pt x="0" y="165"/>
                      <a:pt x="2" y="162"/>
                      <a:pt x="2" y="161"/>
                    </a:cubicBezTo>
                    <a:cubicBezTo>
                      <a:pt x="60" y="4"/>
                      <a:pt x="60" y="4"/>
                      <a:pt x="60" y="4"/>
                    </a:cubicBezTo>
                    <a:cubicBezTo>
                      <a:pt x="62" y="1"/>
                      <a:pt x="62" y="0"/>
                      <a:pt x="66" y="0"/>
                    </a:cubicBezTo>
                    <a:cubicBezTo>
                      <a:pt x="80" y="0"/>
                      <a:pt x="80" y="0"/>
                      <a:pt x="80" y="0"/>
                    </a:cubicBezTo>
                    <a:cubicBezTo>
                      <a:pt x="84" y="0"/>
                      <a:pt x="84" y="0"/>
                      <a:pt x="86" y="3"/>
                    </a:cubicBezTo>
                    <a:cubicBezTo>
                      <a:pt x="144" y="163"/>
                      <a:pt x="144" y="163"/>
                      <a:pt x="144" y="163"/>
                    </a:cubicBezTo>
                    <a:cubicBezTo>
                      <a:pt x="145" y="164"/>
                      <a:pt x="145" y="165"/>
                      <a:pt x="145" y="166"/>
                    </a:cubicBezTo>
                    <a:cubicBezTo>
                      <a:pt x="145" y="169"/>
                      <a:pt x="143" y="169"/>
                      <a:pt x="141" y="169"/>
                    </a:cubicBezTo>
                    <a:cubicBezTo>
                      <a:pt x="117" y="169"/>
                      <a:pt x="117" y="169"/>
                      <a:pt x="117" y="169"/>
                    </a:cubicBezTo>
                    <a:cubicBezTo>
                      <a:pt x="113" y="169"/>
                      <a:pt x="112" y="169"/>
                      <a:pt x="110" y="165"/>
                    </a:cubicBezTo>
                    <a:lnTo>
                      <a:pt x="93" y="116"/>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6" name="Freeform 13"/>
              <p:cNvSpPr>
                <a:spLocks/>
              </p:cNvSpPr>
              <p:nvPr userDrawn="1"/>
            </p:nvSpPr>
            <p:spPr bwMode="auto">
              <a:xfrm>
                <a:off x="4833938" y="1804988"/>
                <a:ext cx="103188" cy="131762"/>
              </a:xfrm>
              <a:custGeom>
                <a:avLst/>
                <a:gdLst/>
                <a:ahLst/>
                <a:cxnLst>
                  <a:cxn ang="0">
                    <a:pos x="108" y="111"/>
                  </a:cxn>
                  <a:cxn ang="0">
                    <a:pos x="108" y="5"/>
                  </a:cxn>
                  <a:cxn ang="0">
                    <a:pos x="113" y="0"/>
                  </a:cxn>
                  <a:cxn ang="0">
                    <a:pos x="128" y="0"/>
                  </a:cxn>
                  <a:cxn ang="0">
                    <a:pos x="133" y="5"/>
                  </a:cxn>
                  <a:cxn ang="0">
                    <a:pos x="133" y="164"/>
                  </a:cxn>
                  <a:cxn ang="0">
                    <a:pos x="128" y="169"/>
                  </a:cxn>
                  <a:cxn ang="0">
                    <a:pos x="114" y="169"/>
                  </a:cxn>
                  <a:cxn ang="0">
                    <a:pos x="108" y="164"/>
                  </a:cxn>
                  <a:cxn ang="0">
                    <a:pos x="26" y="48"/>
                  </a:cxn>
                  <a:cxn ang="0">
                    <a:pos x="26" y="164"/>
                  </a:cxn>
                  <a:cxn ang="0">
                    <a:pos x="21" y="169"/>
                  </a:cxn>
                  <a:cxn ang="0">
                    <a:pos x="6" y="169"/>
                  </a:cxn>
                  <a:cxn ang="0">
                    <a:pos x="0" y="164"/>
                  </a:cxn>
                  <a:cxn ang="0">
                    <a:pos x="0" y="5"/>
                  </a:cxn>
                  <a:cxn ang="0">
                    <a:pos x="6" y="0"/>
                  </a:cxn>
                  <a:cxn ang="0">
                    <a:pos x="24" y="0"/>
                  </a:cxn>
                  <a:cxn ang="0">
                    <a:pos x="32" y="4"/>
                  </a:cxn>
                  <a:cxn ang="0">
                    <a:pos x="108" y="111"/>
                  </a:cxn>
                </a:cxnLst>
                <a:rect l="0" t="0" r="r" b="b"/>
                <a:pathLst>
                  <a:path w="133" h="169">
                    <a:moveTo>
                      <a:pt x="108" y="111"/>
                    </a:moveTo>
                    <a:cubicBezTo>
                      <a:pt x="108" y="5"/>
                      <a:pt x="108" y="5"/>
                      <a:pt x="108" y="5"/>
                    </a:cubicBezTo>
                    <a:cubicBezTo>
                      <a:pt x="108" y="1"/>
                      <a:pt x="109" y="0"/>
                      <a:pt x="113" y="0"/>
                    </a:cubicBezTo>
                    <a:cubicBezTo>
                      <a:pt x="128" y="0"/>
                      <a:pt x="128" y="0"/>
                      <a:pt x="128" y="0"/>
                    </a:cubicBezTo>
                    <a:cubicBezTo>
                      <a:pt x="132" y="0"/>
                      <a:pt x="133" y="1"/>
                      <a:pt x="133" y="5"/>
                    </a:cubicBezTo>
                    <a:cubicBezTo>
                      <a:pt x="133" y="164"/>
                      <a:pt x="133" y="164"/>
                      <a:pt x="133" y="164"/>
                    </a:cubicBezTo>
                    <a:cubicBezTo>
                      <a:pt x="133" y="168"/>
                      <a:pt x="131" y="169"/>
                      <a:pt x="128" y="169"/>
                    </a:cubicBezTo>
                    <a:cubicBezTo>
                      <a:pt x="114" y="169"/>
                      <a:pt x="114" y="169"/>
                      <a:pt x="114" y="169"/>
                    </a:cubicBezTo>
                    <a:cubicBezTo>
                      <a:pt x="111" y="169"/>
                      <a:pt x="111" y="168"/>
                      <a:pt x="108" y="164"/>
                    </a:cubicBezTo>
                    <a:cubicBezTo>
                      <a:pt x="26" y="48"/>
                      <a:pt x="26" y="48"/>
                      <a:pt x="26" y="48"/>
                    </a:cubicBezTo>
                    <a:cubicBezTo>
                      <a:pt x="26" y="164"/>
                      <a:pt x="26" y="164"/>
                      <a:pt x="26" y="164"/>
                    </a:cubicBezTo>
                    <a:cubicBezTo>
                      <a:pt x="26" y="168"/>
                      <a:pt x="25" y="169"/>
                      <a:pt x="21" y="169"/>
                    </a:cubicBezTo>
                    <a:cubicBezTo>
                      <a:pt x="6" y="169"/>
                      <a:pt x="6" y="169"/>
                      <a:pt x="6" y="169"/>
                    </a:cubicBezTo>
                    <a:cubicBezTo>
                      <a:pt x="2" y="169"/>
                      <a:pt x="0" y="169"/>
                      <a:pt x="0" y="164"/>
                    </a:cubicBezTo>
                    <a:cubicBezTo>
                      <a:pt x="0" y="5"/>
                      <a:pt x="0" y="5"/>
                      <a:pt x="0" y="5"/>
                    </a:cubicBezTo>
                    <a:cubicBezTo>
                      <a:pt x="0" y="0"/>
                      <a:pt x="2" y="0"/>
                      <a:pt x="6" y="0"/>
                    </a:cubicBezTo>
                    <a:cubicBezTo>
                      <a:pt x="24" y="0"/>
                      <a:pt x="24" y="0"/>
                      <a:pt x="24" y="0"/>
                    </a:cubicBezTo>
                    <a:cubicBezTo>
                      <a:pt x="28" y="0"/>
                      <a:pt x="29" y="0"/>
                      <a:pt x="32" y="4"/>
                    </a:cubicBezTo>
                    <a:lnTo>
                      <a:pt x="108" y="11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27" name="Freeform 14"/>
              <p:cNvSpPr>
                <a:spLocks/>
              </p:cNvSpPr>
              <p:nvPr userDrawn="1"/>
            </p:nvSpPr>
            <p:spPr bwMode="auto">
              <a:xfrm>
                <a:off x="4970463" y="1804988"/>
                <a:ext cx="88900" cy="131762"/>
              </a:xfrm>
              <a:custGeom>
                <a:avLst/>
                <a:gdLst/>
                <a:ahLst/>
                <a:cxnLst>
                  <a:cxn ang="0">
                    <a:pos x="74" y="21"/>
                  </a:cxn>
                  <a:cxn ang="0">
                    <a:pos x="74" y="163"/>
                  </a:cxn>
                  <a:cxn ang="0">
                    <a:pos x="69" y="169"/>
                  </a:cxn>
                  <a:cxn ang="0">
                    <a:pos x="48" y="169"/>
                  </a:cxn>
                  <a:cxn ang="0">
                    <a:pos x="42" y="163"/>
                  </a:cxn>
                  <a:cxn ang="0">
                    <a:pos x="42" y="21"/>
                  </a:cxn>
                  <a:cxn ang="0">
                    <a:pos x="6" y="21"/>
                  </a:cxn>
                  <a:cxn ang="0">
                    <a:pos x="0" y="16"/>
                  </a:cxn>
                  <a:cxn ang="0">
                    <a:pos x="0" y="5"/>
                  </a:cxn>
                  <a:cxn ang="0">
                    <a:pos x="6" y="0"/>
                  </a:cxn>
                  <a:cxn ang="0">
                    <a:pos x="111" y="0"/>
                  </a:cxn>
                  <a:cxn ang="0">
                    <a:pos x="116" y="4"/>
                  </a:cxn>
                  <a:cxn ang="0">
                    <a:pos x="116" y="16"/>
                  </a:cxn>
                  <a:cxn ang="0">
                    <a:pos x="111" y="21"/>
                  </a:cxn>
                  <a:cxn ang="0">
                    <a:pos x="74" y="21"/>
                  </a:cxn>
                </a:cxnLst>
                <a:rect l="0" t="0" r="r" b="b"/>
                <a:pathLst>
                  <a:path w="116" h="169">
                    <a:moveTo>
                      <a:pt x="74" y="21"/>
                    </a:moveTo>
                    <a:cubicBezTo>
                      <a:pt x="74" y="163"/>
                      <a:pt x="74" y="163"/>
                      <a:pt x="74" y="163"/>
                    </a:cubicBezTo>
                    <a:cubicBezTo>
                      <a:pt x="74" y="167"/>
                      <a:pt x="74" y="169"/>
                      <a:pt x="69" y="169"/>
                    </a:cubicBezTo>
                    <a:cubicBezTo>
                      <a:pt x="48" y="169"/>
                      <a:pt x="48" y="169"/>
                      <a:pt x="48" y="169"/>
                    </a:cubicBezTo>
                    <a:cubicBezTo>
                      <a:pt x="43" y="169"/>
                      <a:pt x="42" y="168"/>
                      <a:pt x="42" y="163"/>
                    </a:cubicBezTo>
                    <a:cubicBezTo>
                      <a:pt x="42" y="21"/>
                      <a:pt x="42" y="21"/>
                      <a:pt x="42" y="21"/>
                    </a:cubicBezTo>
                    <a:cubicBezTo>
                      <a:pt x="6" y="21"/>
                      <a:pt x="6" y="21"/>
                      <a:pt x="6" y="21"/>
                    </a:cubicBezTo>
                    <a:cubicBezTo>
                      <a:pt x="1" y="21"/>
                      <a:pt x="0" y="20"/>
                      <a:pt x="0" y="16"/>
                    </a:cubicBezTo>
                    <a:cubicBezTo>
                      <a:pt x="0" y="5"/>
                      <a:pt x="0" y="5"/>
                      <a:pt x="0" y="5"/>
                    </a:cubicBezTo>
                    <a:cubicBezTo>
                      <a:pt x="0" y="0"/>
                      <a:pt x="2" y="0"/>
                      <a:pt x="6" y="0"/>
                    </a:cubicBezTo>
                    <a:cubicBezTo>
                      <a:pt x="111" y="0"/>
                      <a:pt x="111" y="0"/>
                      <a:pt x="111" y="0"/>
                    </a:cubicBezTo>
                    <a:cubicBezTo>
                      <a:pt x="114" y="0"/>
                      <a:pt x="116" y="0"/>
                      <a:pt x="116" y="4"/>
                    </a:cubicBezTo>
                    <a:cubicBezTo>
                      <a:pt x="116" y="16"/>
                      <a:pt x="116" y="16"/>
                      <a:pt x="116" y="16"/>
                    </a:cubicBezTo>
                    <a:cubicBezTo>
                      <a:pt x="116" y="20"/>
                      <a:pt x="115" y="21"/>
                      <a:pt x="111" y="21"/>
                    </a:cubicBezTo>
                    <a:lnTo>
                      <a:pt x="74" y="21"/>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31" name="Freeform 15"/>
              <p:cNvSpPr>
                <a:spLocks/>
              </p:cNvSpPr>
              <p:nvPr userDrawn="1"/>
            </p:nvSpPr>
            <p:spPr bwMode="auto">
              <a:xfrm>
                <a:off x="5086350" y="1801813"/>
                <a:ext cx="85725" cy="138112"/>
              </a:xfrm>
              <a:custGeom>
                <a:avLst/>
                <a:gdLst/>
                <a:ahLst/>
                <a:cxnLst>
                  <a:cxn ang="0">
                    <a:pos x="71" y="75"/>
                  </a:cxn>
                  <a:cxn ang="0">
                    <a:pos x="110" y="127"/>
                  </a:cxn>
                  <a:cxn ang="0">
                    <a:pos x="55" y="177"/>
                  </a:cxn>
                  <a:cxn ang="0">
                    <a:pos x="0" y="138"/>
                  </a:cxn>
                  <a:cxn ang="0">
                    <a:pos x="14" y="123"/>
                  </a:cxn>
                  <a:cxn ang="0">
                    <a:pos x="31" y="137"/>
                  </a:cxn>
                  <a:cxn ang="0">
                    <a:pos x="57" y="156"/>
                  </a:cxn>
                  <a:cxn ang="0">
                    <a:pos x="79" y="134"/>
                  </a:cxn>
                  <a:cxn ang="0">
                    <a:pos x="48" y="100"/>
                  </a:cxn>
                  <a:cxn ang="0">
                    <a:pos x="34" y="93"/>
                  </a:cxn>
                  <a:cxn ang="0">
                    <a:pos x="2" y="47"/>
                  </a:cxn>
                  <a:cxn ang="0">
                    <a:pos x="53" y="0"/>
                  </a:cxn>
                  <a:cxn ang="0">
                    <a:pos x="104" y="32"/>
                  </a:cxn>
                  <a:cxn ang="0">
                    <a:pos x="90" y="46"/>
                  </a:cxn>
                  <a:cxn ang="0">
                    <a:pos x="75" y="35"/>
                  </a:cxn>
                  <a:cxn ang="0">
                    <a:pos x="52" y="19"/>
                  </a:cxn>
                  <a:cxn ang="0">
                    <a:pos x="31" y="40"/>
                  </a:cxn>
                  <a:cxn ang="0">
                    <a:pos x="60" y="70"/>
                  </a:cxn>
                  <a:cxn ang="0">
                    <a:pos x="71" y="75"/>
                  </a:cxn>
                </a:cxnLst>
                <a:rect l="0" t="0" r="r" b="b"/>
                <a:pathLst>
                  <a:path w="110" h="177">
                    <a:moveTo>
                      <a:pt x="71" y="75"/>
                    </a:moveTo>
                    <a:cubicBezTo>
                      <a:pt x="86" y="83"/>
                      <a:pt x="110" y="96"/>
                      <a:pt x="110" y="127"/>
                    </a:cubicBezTo>
                    <a:cubicBezTo>
                      <a:pt x="110" y="159"/>
                      <a:pt x="86" y="177"/>
                      <a:pt x="55" y="177"/>
                    </a:cubicBezTo>
                    <a:cubicBezTo>
                      <a:pt x="16" y="177"/>
                      <a:pt x="0" y="151"/>
                      <a:pt x="0" y="138"/>
                    </a:cubicBezTo>
                    <a:cubicBezTo>
                      <a:pt x="0" y="127"/>
                      <a:pt x="8" y="123"/>
                      <a:pt x="14" y="123"/>
                    </a:cubicBezTo>
                    <a:cubicBezTo>
                      <a:pt x="23" y="123"/>
                      <a:pt x="27" y="130"/>
                      <a:pt x="31" y="137"/>
                    </a:cubicBezTo>
                    <a:cubicBezTo>
                      <a:pt x="34" y="143"/>
                      <a:pt x="41" y="156"/>
                      <a:pt x="57" y="156"/>
                    </a:cubicBezTo>
                    <a:cubicBezTo>
                      <a:pt x="70" y="156"/>
                      <a:pt x="79" y="147"/>
                      <a:pt x="79" y="134"/>
                    </a:cubicBezTo>
                    <a:cubicBezTo>
                      <a:pt x="79" y="117"/>
                      <a:pt x="67" y="110"/>
                      <a:pt x="48" y="100"/>
                    </a:cubicBezTo>
                    <a:cubicBezTo>
                      <a:pt x="34" y="93"/>
                      <a:pt x="34" y="93"/>
                      <a:pt x="34" y="93"/>
                    </a:cubicBezTo>
                    <a:cubicBezTo>
                      <a:pt x="25" y="88"/>
                      <a:pt x="2" y="76"/>
                      <a:pt x="2" y="47"/>
                    </a:cubicBezTo>
                    <a:cubicBezTo>
                      <a:pt x="2" y="18"/>
                      <a:pt x="23" y="0"/>
                      <a:pt x="53" y="0"/>
                    </a:cubicBezTo>
                    <a:cubicBezTo>
                      <a:pt x="85" y="0"/>
                      <a:pt x="104" y="18"/>
                      <a:pt x="104" y="32"/>
                    </a:cubicBezTo>
                    <a:cubicBezTo>
                      <a:pt x="104" y="40"/>
                      <a:pt x="98" y="46"/>
                      <a:pt x="90" y="46"/>
                    </a:cubicBezTo>
                    <a:cubicBezTo>
                      <a:pt x="82" y="46"/>
                      <a:pt x="79" y="40"/>
                      <a:pt x="75" y="35"/>
                    </a:cubicBezTo>
                    <a:cubicBezTo>
                      <a:pt x="71" y="29"/>
                      <a:pt x="65" y="19"/>
                      <a:pt x="52" y="19"/>
                    </a:cubicBezTo>
                    <a:cubicBezTo>
                      <a:pt x="40" y="19"/>
                      <a:pt x="31" y="28"/>
                      <a:pt x="31" y="40"/>
                    </a:cubicBezTo>
                    <a:cubicBezTo>
                      <a:pt x="31" y="56"/>
                      <a:pt x="44" y="62"/>
                      <a:pt x="60" y="70"/>
                    </a:cubicBezTo>
                    <a:lnTo>
                      <a:pt x="71" y="75"/>
                    </a:lnTo>
                    <a:close/>
                  </a:path>
                </a:pathLst>
              </a:custGeom>
              <a:solidFill>
                <a:srgbClr val="88888E"/>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sp>
          <p:nvSpPr>
            <p:cNvPr id="8" name="Rectangle 16"/>
            <p:cNvSpPr>
              <a:spLocks noChangeArrowheads="1"/>
            </p:cNvSpPr>
            <p:nvPr userDrawn="1"/>
          </p:nvSpPr>
          <p:spPr bwMode="auto">
            <a:xfrm>
              <a:off x="3813175" y="1984375"/>
              <a:ext cx="1368425" cy="9525"/>
            </a:xfrm>
            <a:prstGeom prst="rect">
              <a:avLst/>
            </a:prstGeom>
            <a:solidFill>
              <a:srgbClr val="225696"/>
            </a:solidFill>
            <a:ln w="9525">
              <a:noFill/>
              <a:miter lim="800000"/>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nvGrpSpPr>
            <p:cNvPr id="9" name="Group 31"/>
            <p:cNvGrpSpPr/>
            <p:nvPr userDrawn="1"/>
          </p:nvGrpSpPr>
          <p:grpSpPr>
            <a:xfrm>
              <a:off x="3813175" y="1435101"/>
              <a:ext cx="1358901" cy="317499"/>
              <a:chOff x="3813175" y="1435101"/>
              <a:chExt cx="1358901" cy="317499"/>
            </a:xfrm>
          </p:grpSpPr>
          <p:sp>
            <p:nvSpPr>
              <p:cNvPr id="13" name="Freeform 12"/>
              <p:cNvSpPr>
                <a:spLocks/>
              </p:cNvSpPr>
              <p:nvPr userDrawn="1"/>
            </p:nvSpPr>
            <p:spPr bwMode="auto">
              <a:xfrm>
                <a:off x="4551363" y="1452563"/>
                <a:ext cx="285750" cy="300037"/>
              </a:xfrm>
              <a:custGeom>
                <a:avLst/>
                <a:gdLst/>
                <a:ahLst/>
                <a:cxnLst>
                  <a:cxn ang="0">
                    <a:pos x="54" y="0"/>
                  </a:cxn>
                  <a:cxn ang="0">
                    <a:pos x="201" y="207"/>
                  </a:cxn>
                  <a:cxn ang="0">
                    <a:pos x="330" y="0"/>
                  </a:cxn>
                  <a:cxn ang="0">
                    <a:pos x="368" y="38"/>
                  </a:cxn>
                  <a:cxn ang="0">
                    <a:pos x="228" y="314"/>
                  </a:cxn>
                  <a:cxn ang="0">
                    <a:pos x="51" y="387"/>
                  </a:cxn>
                  <a:cxn ang="0">
                    <a:pos x="0" y="357"/>
                  </a:cxn>
                  <a:cxn ang="0">
                    <a:pos x="55" y="325"/>
                  </a:cxn>
                  <a:cxn ang="0">
                    <a:pos x="170" y="272"/>
                  </a:cxn>
                  <a:cxn ang="0">
                    <a:pos x="20" y="50"/>
                  </a:cxn>
                  <a:cxn ang="0">
                    <a:pos x="54" y="0"/>
                  </a:cxn>
                </a:cxnLst>
                <a:rect l="0" t="0" r="r" b="b"/>
                <a:pathLst>
                  <a:path w="368" h="387">
                    <a:moveTo>
                      <a:pt x="54" y="0"/>
                    </a:moveTo>
                    <a:cubicBezTo>
                      <a:pt x="99" y="0"/>
                      <a:pt x="96" y="207"/>
                      <a:pt x="201" y="207"/>
                    </a:cubicBezTo>
                    <a:cubicBezTo>
                      <a:pt x="296" y="207"/>
                      <a:pt x="280" y="0"/>
                      <a:pt x="330" y="0"/>
                    </a:cubicBezTo>
                    <a:cubicBezTo>
                      <a:pt x="368" y="0"/>
                      <a:pt x="368" y="28"/>
                      <a:pt x="368" y="38"/>
                    </a:cubicBezTo>
                    <a:cubicBezTo>
                      <a:pt x="368" y="48"/>
                      <a:pt x="332" y="235"/>
                      <a:pt x="228" y="314"/>
                    </a:cubicBezTo>
                    <a:cubicBezTo>
                      <a:pt x="147" y="376"/>
                      <a:pt x="81" y="387"/>
                      <a:pt x="51" y="387"/>
                    </a:cubicBezTo>
                    <a:cubicBezTo>
                      <a:pt x="21" y="387"/>
                      <a:pt x="0" y="376"/>
                      <a:pt x="0" y="357"/>
                    </a:cubicBezTo>
                    <a:cubicBezTo>
                      <a:pt x="0" y="339"/>
                      <a:pt x="21" y="328"/>
                      <a:pt x="55" y="325"/>
                    </a:cubicBezTo>
                    <a:cubicBezTo>
                      <a:pt x="95" y="322"/>
                      <a:pt x="170" y="287"/>
                      <a:pt x="170" y="272"/>
                    </a:cubicBezTo>
                    <a:cubicBezTo>
                      <a:pt x="74" y="272"/>
                      <a:pt x="22" y="64"/>
                      <a:pt x="20" y="50"/>
                    </a:cubicBezTo>
                    <a:cubicBezTo>
                      <a:pt x="16" y="11"/>
                      <a:pt x="32" y="0"/>
                      <a:pt x="54" y="0"/>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14" name="Freeform 13"/>
              <p:cNvSpPr>
                <a:spLocks/>
              </p:cNvSpPr>
              <p:nvPr userDrawn="1"/>
            </p:nvSpPr>
            <p:spPr bwMode="auto">
              <a:xfrm>
                <a:off x="4189413" y="1444625"/>
                <a:ext cx="309563" cy="233362"/>
              </a:xfrm>
              <a:custGeom>
                <a:avLst/>
                <a:gdLst/>
                <a:ahLst/>
                <a:cxnLst>
                  <a:cxn ang="0">
                    <a:pos x="371" y="251"/>
                  </a:cxn>
                  <a:cxn ang="0">
                    <a:pos x="258" y="158"/>
                  </a:cxn>
                  <a:cxn ang="0">
                    <a:pos x="361" y="48"/>
                  </a:cxn>
                  <a:cxn ang="0">
                    <a:pos x="384" y="19"/>
                  </a:cxn>
                  <a:cxn ang="0">
                    <a:pos x="349" y="2"/>
                  </a:cxn>
                  <a:cxn ang="0">
                    <a:pos x="200" y="91"/>
                  </a:cxn>
                  <a:cxn ang="0">
                    <a:pos x="51" y="2"/>
                  </a:cxn>
                  <a:cxn ang="0">
                    <a:pos x="16" y="19"/>
                  </a:cxn>
                  <a:cxn ang="0">
                    <a:pos x="39" y="48"/>
                  </a:cxn>
                  <a:cxn ang="0">
                    <a:pos x="142" y="158"/>
                  </a:cxn>
                  <a:cxn ang="0">
                    <a:pos x="29" y="251"/>
                  </a:cxn>
                  <a:cxn ang="0">
                    <a:pos x="4" y="280"/>
                  </a:cxn>
                  <a:cxn ang="0">
                    <a:pos x="41" y="298"/>
                  </a:cxn>
                  <a:cxn ang="0">
                    <a:pos x="200" y="218"/>
                  </a:cxn>
                  <a:cxn ang="0">
                    <a:pos x="359" y="298"/>
                  </a:cxn>
                  <a:cxn ang="0">
                    <a:pos x="396" y="280"/>
                  </a:cxn>
                  <a:cxn ang="0">
                    <a:pos x="371" y="251"/>
                  </a:cxn>
                </a:cxnLst>
                <a:rect l="0" t="0" r="r" b="b"/>
                <a:pathLst>
                  <a:path w="399" h="300">
                    <a:moveTo>
                      <a:pt x="371" y="251"/>
                    </a:moveTo>
                    <a:cubicBezTo>
                      <a:pt x="370" y="251"/>
                      <a:pt x="258" y="225"/>
                      <a:pt x="258" y="158"/>
                    </a:cubicBezTo>
                    <a:cubicBezTo>
                      <a:pt x="258" y="79"/>
                      <a:pt x="360" y="48"/>
                      <a:pt x="361" y="48"/>
                    </a:cubicBezTo>
                    <a:cubicBezTo>
                      <a:pt x="373" y="44"/>
                      <a:pt x="387" y="31"/>
                      <a:pt x="384" y="19"/>
                    </a:cubicBezTo>
                    <a:cubicBezTo>
                      <a:pt x="379" y="2"/>
                      <a:pt x="365" y="0"/>
                      <a:pt x="349" y="2"/>
                    </a:cubicBezTo>
                    <a:cubicBezTo>
                      <a:pt x="345" y="2"/>
                      <a:pt x="247" y="26"/>
                      <a:pt x="200" y="91"/>
                    </a:cubicBezTo>
                    <a:cubicBezTo>
                      <a:pt x="152" y="26"/>
                      <a:pt x="55" y="3"/>
                      <a:pt x="51" y="2"/>
                    </a:cubicBezTo>
                    <a:cubicBezTo>
                      <a:pt x="39" y="0"/>
                      <a:pt x="19" y="6"/>
                      <a:pt x="16" y="19"/>
                    </a:cubicBezTo>
                    <a:cubicBezTo>
                      <a:pt x="12" y="31"/>
                      <a:pt x="27" y="44"/>
                      <a:pt x="39" y="48"/>
                    </a:cubicBezTo>
                    <a:cubicBezTo>
                      <a:pt x="40" y="48"/>
                      <a:pt x="142" y="79"/>
                      <a:pt x="142" y="158"/>
                    </a:cubicBezTo>
                    <a:cubicBezTo>
                      <a:pt x="142" y="225"/>
                      <a:pt x="30" y="251"/>
                      <a:pt x="29" y="251"/>
                    </a:cubicBezTo>
                    <a:cubicBezTo>
                      <a:pt x="16" y="254"/>
                      <a:pt x="0" y="267"/>
                      <a:pt x="4" y="280"/>
                    </a:cubicBezTo>
                    <a:cubicBezTo>
                      <a:pt x="7" y="293"/>
                      <a:pt x="26" y="300"/>
                      <a:pt x="41" y="298"/>
                    </a:cubicBezTo>
                    <a:cubicBezTo>
                      <a:pt x="45" y="297"/>
                      <a:pt x="152" y="277"/>
                      <a:pt x="200" y="218"/>
                    </a:cubicBezTo>
                    <a:cubicBezTo>
                      <a:pt x="248" y="277"/>
                      <a:pt x="355" y="297"/>
                      <a:pt x="359" y="298"/>
                    </a:cubicBezTo>
                    <a:cubicBezTo>
                      <a:pt x="374" y="300"/>
                      <a:pt x="392" y="297"/>
                      <a:pt x="396" y="280"/>
                    </a:cubicBezTo>
                    <a:cubicBezTo>
                      <a:pt x="399" y="267"/>
                      <a:pt x="384" y="254"/>
                      <a:pt x="371" y="251"/>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15" name="Freeform 14"/>
              <p:cNvSpPr>
                <a:spLocks/>
              </p:cNvSpPr>
              <p:nvPr userDrawn="1"/>
            </p:nvSpPr>
            <p:spPr bwMode="auto">
              <a:xfrm>
                <a:off x="4887913" y="1435101"/>
                <a:ext cx="284163" cy="265112"/>
              </a:xfrm>
              <a:custGeom>
                <a:avLst/>
                <a:gdLst/>
                <a:ahLst/>
                <a:cxnLst>
                  <a:cxn ang="0">
                    <a:pos x="208" y="143"/>
                  </a:cxn>
                  <a:cxn ang="0">
                    <a:pos x="200" y="142"/>
                  </a:cxn>
                  <a:cxn ang="0">
                    <a:pos x="105" y="105"/>
                  </a:cxn>
                  <a:cxn ang="0">
                    <a:pos x="115" y="84"/>
                  </a:cxn>
                  <a:cxn ang="0">
                    <a:pos x="295" y="87"/>
                  </a:cxn>
                  <a:cxn ang="0">
                    <a:pos x="333" y="70"/>
                  </a:cxn>
                  <a:cxn ang="0">
                    <a:pos x="305" y="35"/>
                  </a:cxn>
                  <a:cxn ang="0">
                    <a:pos x="62" y="46"/>
                  </a:cxn>
                  <a:cxn ang="0">
                    <a:pos x="34" y="104"/>
                  </a:cxn>
                  <a:cxn ang="0">
                    <a:pos x="170" y="194"/>
                  </a:cxn>
                  <a:cxn ang="0">
                    <a:pos x="296" y="231"/>
                  </a:cxn>
                  <a:cxn ang="0">
                    <a:pos x="285" y="249"/>
                  </a:cxn>
                  <a:cxn ang="0">
                    <a:pos x="45" y="236"/>
                  </a:cxn>
                  <a:cxn ang="0">
                    <a:pos x="2" y="248"/>
                  </a:cxn>
                  <a:cxn ang="0">
                    <a:pos x="2" y="265"/>
                  </a:cxn>
                  <a:cxn ang="0">
                    <a:pos x="23" y="287"/>
                  </a:cxn>
                  <a:cxn ang="0">
                    <a:pos x="331" y="294"/>
                  </a:cxn>
                  <a:cxn ang="0">
                    <a:pos x="367" y="231"/>
                  </a:cxn>
                  <a:cxn ang="0">
                    <a:pos x="208" y="143"/>
                  </a:cxn>
                </a:cxnLst>
                <a:rect l="0" t="0" r="r" b="b"/>
                <a:pathLst>
                  <a:path w="367" h="342">
                    <a:moveTo>
                      <a:pt x="208" y="143"/>
                    </a:moveTo>
                    <a:cubicBezTo>
                      <a:pt x="200" y="142"/>
                      <a:pt x="200" y="142"/>
                      <a:pt x="200" y="142"/>
                    </a:cubicBezTo>
                    <a:cubicBezTo>
                      <a:pt x="177" y="139"/>
                      <a:pt x="105" y="130"/>
                      <a:pt x="105" y="105"/>
                    </a:cubicBezTo>
                    <a:cubicBezTo>
                      <a:pt x="105" y="96"/>
                      <a:pt x="108" y="89"/>
                      <a:pt x="115" y="84"/>
                    </a:cubicBezTo>
                    <a:cubicBezTo>
                      <a:pt x="148" y="57"/>
                      <a:pt x="252" y="77"/>
                      <a:pt x="295" y="87"/>
                    </a:cubicBezTo>
                    <a:cubicBezTo>
                      <a:pt x="311" y="90"/>
                      <a:pt x="330" y="86"/>
                      <a:pt x="333" y="70"/>
                    </a:cubicBezTo>
                    <a:cubicBezTo>
                      <a:pt x="337" y="54"/>
                      <a:pt x="320" y="39"/>
                      <a:pt x="305" y="35"/>
                    </a:cubicBezTo>
                    <a:cubicBezTo>
                      <a:pt x="258" y="23"/>
                      <a:pt x="121" y="0"/>
                      <a:pt x="62" y="46"/>
                    </a:cubicBezTo>
                    <a:cubicBezTo>
                      <a:pt x="43" y="60"/>
                      <a:pt x="34" y="79"/>
                      <a:pt x="34" y="104"/>
                    </a:cubicBezTo>
                    <a:cubicBezTo>
                      <a:pt x="34" y="162"/>
                      <a:pt x="88" y="182"/>
                      <a:pt x="170" y="194"/>
                    </a:cubicBezTo>
                    <a:cubicBezTo>
                      <a:pt x="237" y="204"/>
                      <a:pt x="296" y="212"/>
                      <a:pt x="296" y="231"/>
                    </a:cubicBezTo>
                    <a:cubicBezTo>
                      <a:pt x="296" y="238"/>
                      <a:pt x="292" y="244"/>
                      <a:pt x="285" y="249"/>
                    </a:cubicBezTo>
                    <a:cubicBezTo>
                      <a:pt x="241" y="277"/>
                      <a:pt x="94" y="257"/>
                      <a:pt x="45" y="236"/>
                    </a:cubicBezTo>
                    <a:cubicBezTo>
                      <a:pt x="30" y="230"/>
                      <a:pt x="9" y="233"/>
                      <a:pt x="2" y="248"/>
                    </a:cubicBezTo>
                    <a:cubicBezTo>
                      <a:pt x="0" y="253"/>
                      <a:pt x="0" y="259"/>
                      <a:pt x="2" y="265"/>
                    </a:cubicBezTo>
                    <a:cubicBezTo>
                      <a:pt x="5" y="274"/>
                      <a:pt x="14" y="283"/>
                      <a:pt x="23" y="287"/>
                    </a:cubicBezTo>
                    <a:cubicBezTo>
                      <a:pt x="78" y="313"/>
                      <a:pt x="256" y="342"/>
                      <a:pt x="331" y="294"/>
                    </a:cubicBezTo>
                    <a:cubicBezTo>
                      <a:pt x="355" y="279"/>
                      <a:pt x="367" y="258"/>
                      <a:pt x="367" y="231"/>
                    </a:cubicBezTo>
                    <a:cubicBezTo>
                      <a:pt x="367" y="162"/>
                      <a:pt x="293" y="153"/>
                      <a:pt x="208" y="143"/>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16" name="Freeform 15"/>
              <p:cNvSpPr>
                <a:spLocks noEditPoints="1"/>
              </p:cNvSpPr>
              <p:nvPr userDrawn="1"/>
            </p:nvSpPr>
            <p:spPr bwMode="auto">
              <a:xfrm>
                <a:off x="3813175" y="1441451"/>
                <a:ext cx="341313" cy="234950"/>
              </a:xfrm>
              <a:custGeom>
                <a:avLst/>
                <a:gdLst/>
                <a:ahLst/>
                <a:cxnLst>
                  <a:cxn ang="0">
                    <a:pos x="286" y="219"/>
                  </a:cxn>
                  <a:cxn ang="0">
                    <a:pos x="222" y="258"/>
                  </a:cxn>
                  <a:cxn ang="0">
                    <a:pos x="103" y="208"/>
                  </a:cxn>
                  <a:cxn ang="0">
                    <a:pos x="163" y="165"/>
                  </a:cxn>
                  <a:cxn ang="0">
                    <a:pos x="163" y="165"/>
                  </a:cxn>
                  <a:cxn ang="0">
                    <a:pos x="287" y="155"/>
                  </a:cxn>
                  <a:cxn ang="0">
                    <a:pos x="286" y="219"/>
                  </a:cxn>
                  <a:cxn ang="0">
                    <a:pos x="282" y="112"/>
                  </a:cxn>
                  <a:cxn ang="0">
                    <a:pos x="143" y="117"/>
                  </a:cxn>
                  <a:cxn ang="0">
                    <a:pos x="0" y="211"/>
                  </a:cxn>
                  <a:cxn ang="0">
                    <a:pos x="35" y="270"/>
                  </a:cxn>
                  <a:cxn ang="0">
                    <a:pos x="186" y="304"/>
                  </a:cxn>
                  <a:cxn ang="0">
                    <a:pos x="287" y="290"/>
                  </a:cxn>
                  <a:cxn ang="0">
                    <a:pos x="335" y="275"/>
                  </a:cxn>
                  <a:cxn ang="0">
                    <a:pos x="398" y="304"/>
                  </a:cxn>
                  <a:cxn ang="0">
                    <a:pos x="395" y="246"/>
                  </a:cxn>
                  <a:cxn ang="0">
                    <a:pos x="388" y="157"/>
                  </a:cxn>
                  <a:cxn ang="0">
                    <a:pos x="312" y="21"/>
                  </a:cxn>
                  <a:cxn ang="0">
                    <a:pos x="186" y="1"/>
                  </a:cxn>
                  <a:cxn ang="0">
                    <a:pos x="34" y="42"/>
                  </a:cxn>
                  <a:cxn ang="0">
                    <a:pos x="55" y="79"/>
                  </a:cxn>
                  <a:cxn ang="0">
                    <a:pos x="195" y="47"/>
                  </a:cxn>
                  <a:cxn ang="0">
                    <a:pos x="282" y="112"/>
                  </a:cxn>
                </a:cxnLst>
                <a:rect l="0" t="0" r="r" b="b"/>
                <a:pathLst>
                  <a:path w="440" h="304">
                    <a:moveTo>
                      <a:pt x="286" y="219"/>
                    </a:moveTo>
                    <a:cubicBezTo>
                      <a:pt x="279" y="241"/>
                      <a:pt x="260" y="258"/>
                      <a:pt x="222" y="258"/>
                    </a:cubicBezTo>
                    <a:cubicBezTo>
                      <a:pt x="164" y="258"/>
                      <a:pt x="103" y="236"/>
                      <a:pt x="103" y="208"/>
                    </a:cubicBezTo>
                    <a:cubicBezTo>
                      <a:pt x="103" y="190"/>
                      <a:pt x="129" y="174"/>
                      <a:pt x="163" y="165"/>
                    </a:cubicBezTo>
                    <a:cubicBezTo>
                      <a:pt x="163" y="165"/>
                      <a:pt x="163" y="165"/>
                      <a:pt x="163" y="165"/>
                    </a:cubicBezTo>
                    <a:cubicBezTo>
                      <a:pt x="163" y="165"/>
                      <a:pt x="221" y="150"/>
                      <a:pt x="287" y="155"/>
                    </a:cubicBezTo>
                    <a:cubicBezTo>
                      <a:pt x="291" y="169"/>
                      <a:pt x="292" y="200"/>
                      <a:pt x="286" y="219"/>
                    </a:cubicBezTo>
                    <a:moveTo>
                      <a:pt x="282" y="112"/>
                    </a:moveTo>
                    <a:cubicBezTo>
                      <a:pt x="265" y="111"/>
                      <a:pt x="189" y="111"/>
                      <a:pt x="143" y="117"/>
                    </a:cubicBezTo>
                    <a:cubicBezTo>
                      <a:pt x="35" y="133"/>
                      <a:pt x="0" y="175"/>
                      <a:pt x="0" y="211"/>
                    </a:cubicBezTo>
                    <a:cubicBezTo>
                      <a:pt x="0" y="233"/>
                      <a:pt x="11" y="256"/>
                      <a:pt x="35" y="270"/>
                    </a:cubicBezTo>
                    <a:cubicBezTo>
                      <a:pt x="67" y="290"/>
                      <a:pt x="120" y="304"/>
                      <a:pt x="186" y="304"/>
                    </a:cubicBezTo>
                    <a:cubicBezTo>
                      <a:pt x="222" y="304"/>
                      <a:pt x="257" y="300"/>
                      <a:pt x="287" y="290"/>
                    </a:cubicBezTo>
                    <a:cubicBezTo>
                      <a:pt x="287" y="290"/>
                      <a:pt x="327" y="275"/>
                      <a:pt x="335" y="275"/>
                    </a:cubicBezTo>
                    <a:cubicBezTo>
                      <a:pt x="360" y="275"/>
                      <a:pt x="354" y="304"/>
                      <a:pt x="398" y="304"/>
                    </a:cubicBezTo>
                    <a:cubicBezTo>
                      <a:pt x="440" y="304"/>
                      <a:pt x="402" y="272"/>
                      <a:pt x="395" y="246"/>
                    </a:cubicBezTo>
                    <a:cubicBezTo>
                      <a:pt x="388" y="218"/>
                      <a:pt x="389" y="173"/>
                      <a:pt x="388" y="157"/>
                    </a:cubicBezTo>
                    <a:cubicBezTo>
                      <a:pt x="385" y="98"/>
                      <a:pt x="366" y="48"/>
                      <a:pt x="312" y="21"/>
                    </a:cubicBezTo>
                    <a:cubicBezTo>
                      <a:pt x="279" y="5"/>
                      <a:pt x="244" y="0"/>
                      <a:pt x="186" y="1"/>
                    </a:cubicBezTo>
                    <a:cubicBezTo>
                      <a:pt x="139" y="2"/>
                      <a:pt x="67" y="22"/>
                      <a:pt x="34" y="42"/>
                    </a:cubicBezTo>
                    <a:cubicBezTo>
                      <a:pt x="6" y="60"/>
                      <a:pt x="26" y="91"/>
                      <a:pt x="55" y="79"/>
                    </a:cubicBezTo>
                    <a:cubicBezTo>
                      <a:pt x="108" y="56"/>
                      <a:pt x="141" y="46"/>
                      <a:pt x="195" y="47"/>
                    </a:cubicBezTo>
                    <a:cubicBezTo>
                      <a:pt x="234" y="48"/>
                      <a:pt x="273" y="57"/>
                      <a:pt x="282" y="112"/>
                    </a:cubicBezTo>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grpSp>
          <p:nvGrpSpPr>
            <p:cNvPr id="10" name="Group 33"/>
            <p:cNvGrpSpPr/>
            <p:nvPr userDrawn="1"/>
          </p:nvGrpSpPr>
          <p:grpSpPr>
            <a:xfrm>
              <a:off x="3825875" y="2044700"/>
              <a:ext cx="1347788" cy="114300"/>
              <a:chOff x="3825875" y="2044700"/>
              <a:chExt cx="1347788" cy="114300"/>
            </a:xfrm>
          </p:grpSpPr>
          <p:sp>
            <p:nvSpPr>
              <p:cNvPr id="11" name="Freeform 21"/>
              <p:cNvSpPr>
                <a:spLocks noEditPoints="1"/>
              </p:cNvSpPr>
              <p:nvPr userDrawn="1"/>
            </p:nvSpPr>
            <p:spPr bwMode="auto">
              <a:xfrm>
                <a:off x="3825875" y="2044700"/>
                <a:ext cx="1347788" cy="114300"/>
              </a:xfrm>
              <a:custGeom>
                <a:avLst/>
                <a:gdLst/>
                <a:ahLst/>
                <a:cxnLst>
                  <a:cxn ang="0">
                    <a:pos x="1726" y="117"/>
                  </a:cxn>
                  <a:cxn ang="0">
                    <a:pos x="1670" y="43"/>
                  </a:cxn>
                  <a:cxn ang="0">
                    <a:pos x="1648" y="17"/>
                  </a:cxn>
                  <a:cxn ang="0">
                    <a:pos x="1557" y="60"/>
                  </a:cxn>
                  <a:cxn ang="0">
                    <a:pos x="1605" y="92"/>
                  </a:cxn>
                  <a:cxn ang="0">
                    <a:pos x="1547" y="57"/>
                  </a:cxn>
                  <a:cxn ang="0">
                    <a:pos x="1615" y="95"/>
                  </a:cxn>
                  <a:cxn ang="0">
                    <a:pos x="1526" y="5"/>
                  </a:cxn>
                  <a:cxn ang="0">
                    <a:pos x="1448" y="114"/>
                  </a:cxn>
                  <a:cxn ang="0">
                    <a:pos x="1430" y="69"/>
                  </a:cxn>
                  <a:cxn ang="0">
                    <a:pos x="1456" y="44"/>
                  </a:cxn>
                  <a:cxn ang="0">
                    <a:pos x="1411" y="46"/>
                  </a:cxn>
                  <a:cxn ang="0">
                    <a:pos x="1435" y="83"/>
                  </a:cxn>
                  <a:cxn ang="0">
                    <a:pos x="1431" y="111"/>
                  </a:cxn>
                  <a:cxn ang="0">
                    <a:pos x="1369" y="110"/>
                  </a:cxn>
                  <a:cxn ang="0">
                    <a:pos x="1332" y="109"/>
                  </a:cxn>
                  <a:cxn ang="0">
                    <a:pos x="1304" y="5"/>
                  </a:cxn>
                  <a:cxn ang="0">
                    <a:pos x="1261" y="63"/>
                  </a:cxn>
                  <a:cxn ang="0">
                    <a:pos x="1218" y="44"/>
                  </a:cxn>
                  <a:cxn ang="0">
                    <a:pos x="1271" y="60"/>
                  </a:cxn>
                  <a:cxn ang="0">
                    <a:pos x="1218" y="114"/>
                  </a:cxn>
                  <a:cxn ang="0">
                    <a:pos x="1155" y="36"/>
                  </a:cxn>
                  <a:cxn ang="0">
                    <a:pos x="1059" y="43"/>
                  </a:cxn>
                  <a:cxn ang="0">
                    <a:pos x="1060" y="111"/>
                  </a:cxn>
                  <a:cxn ang="0">
                    <a:pos x="1059" y="36"/>
                  </a:cxn>
                  <a:cxn ang="0">
                    <a:pos x="1060" y="118"/>
                  </a:cxn>
                  <a:cxn ang="0">
                    <a:pos x="1007" y="5"/>
                  </a:cxn>
                  <a:cxn ang="0">
                    <a:pos x="930" y="107"/>
                  </a:cxn>
                  <a:cxn ang="0">
                    <a:pos x="930" y="107"/>
                  </a:cxn>
                  <a:cxn ang="0">
                    <a:pos x="885" y="78"/>
                  </a:cxn>
                  <a:cxn ang="0">
                    <a:pos x="913" y="36"/>
                  </a:cxn>
                  <a:cxn ang="0">
                    <a:pos x="842" y="34"/>
                  </a:cxn>
                  <a:cxn ang="0">
                    <a:pos x="768" y="61"/>
                  </a:cxn>
                  <a:cxn ang="0">
                    <a:pos x="801" y="37"/>
                  </a:cxn>
                  <a:cxn ang="0">
                    <a:pos x="778" y="116"/>
                  </a:cxn>
                  <a:cxn ang="0">
                    <a:pos x="643" y="117"/>
                  </a:cxn>
                  <a:cxn ang="0">
                    <a:pos x="700" y="75"/>
                  </a:cxn>
                  <a:cxn ang="0">
                    <a:pos x="564" y="109"/>
                  </a:cxn>
                  <a:cxn ang="0">
                    <a:pos x="588" y="45"/>
                  </a:cxn>
                  <a:cxn ang="0">
                    <a:pos x="564" y="109"/>
                  </a:cxn>
                  <a:cxn ang="0">
                    <a:pos x="559" y="116"/>
                  </a:cxn>
                  <a:cxn ang="0">
                    <a:pos x="592" y="38"/>
                  </a:cxn>
                  <a:cxn ang="0">
                    <a:pos x="522" y="17"/>
                  </a:cxn>
                  <a:cxn ang="0">
                    <a:pos x="467" y="45"/>
                  </a:cxn>
                  <a:cxn ang="0">
                    <a:pos x="496" y="110"/>
                  </a:cxn>
                  <a:cxn ang="0">
                    <a:pos x="477" y="45"/>
                  </a:cxn>
                  <a:cxn ang="0">
                    <a:pos x="440" y="37"/>
                  </a:cxn>
                  <a:cxn ang="0">
                    <a:pos x="353" y="47"/>
                  </a:cxn>
                  <a:cxn ang="0">
                    <a:pos x="392" y="102"/>
                  </a:cxn>
                  <a:cxn ang="0">
                    <a:pos x="354" y="118"/>
                  </a:cxn>
                  <a:cxn ang="0">
                    <a:pos x="392" y="38"/>
                  </a:cxn>
                  <a:cxn ang="0">
                    <a:pos x="212" y="47"/>
                  </a:cxn>
                  <a:cxn ang="0">
                    <a:pos x="267" y="117"/>
                  </a:cxn>
                  <a:cxn ang="0">
                    <a:pos x="309" y="60"/>
                  </a:cxn>
                  <a:cxn ang="0">
                    <a:pos x="289" y="36"/>
                  </a:cxn>
                  <a:cxn ang="0">
                    <a:pos x="201" y="117"/>
                  </a:cxn>
                  <a:cxn ang="0">
                    <a:pos x="169" y="76"/>
                  </a:cxn>
                  <a:cxn ang="0">
                    <a:pos x="143" y="71"/>
                  </a:cxn>
                  <a:cxn ang="0">
                    <a:pos x="173" y="42"/>
                  </a:cxn>
                  <a:cxn ang="0">
                    <a:pos x="89" y="0"/>
                  </a:cxn>
                  <a:cxn ang="0">
                    <a:pos x="70" y="117"/>
                  </a:cxn>
                </a:cxnLst>
                <a:rect l="0" t="0" r="r" b="b"/>
                <a:pathLst>
                  <a:path w="1737" h="148">
                    <a:moveTo>
                      <a:pt x="1670" y="117"/>
                    </a:moveTo>
                    <a:cubicBezTo>
                      <a:pt x="1680" y="117"/>
                      <a:pt x="1680" y="117"/>
                      <a:pt x="1680" y="117"/>
                    </a:cubicBezTo>
                    <a:cubicBezTo>
                      <a:pt x="1680" y="47"/>
                      <a:pt x="1680" y="47"/>
                      <a:pt x="1680" y="47"/>
                    </a:cubicBezTo>
                    <a:cubicBezTo>
                      <a:pt x="1683" y="46"/>
                      <a:pt x="1686" y="45"/>
                      <a:pt x="1690" y="44"/>
                    </a:cubicBezTo>
                    <a:cubicBezTo>
                      <a:pt x="1694" y="43"/>
                      <a:pt x="1698" y="43"/>
                      <a:pt x="1703" y="43"/>
                    </a:cubicBezTo>
                    <a:cubicBezTo>
                      <a:pt x="1712" y="43"/>
                      <a:pt x="1718" y="45"/>
                      <a:pt x="1721" y="51"/>
                    </a:cubicBezTo>
                    <a:cubicBezTo>
                      <a:pt x="1725" y="56"/>
                      <a:pt x="1726" y="64"/>
                      <a:pt x="1726" y="75"/>
                    </a:cubicBezTo>
                    <a:cubicBezTo>
                      <a:pt x="1726" y="117"/>
                      <a:pt x="1726" y="117"/>
                      <a:pt x="1726" y="117"/>
                    </a:cubicBezTo>
                    <a:cubicBezTo>
                      <a:pt x="1737" y="117"/>
                      <a:pt x="1737" y="117"/>
                      <a:pt x="1737" y="117"/>
                    </a:cubicBezTo>
                    <a:cubicBezTo>
                      <a:pt x="1737" y="75"/>
                      <a:pt x="1737" y="75"/>
                      <a:pt x="1737" y="75"/>
                    </a:cubicBezTo>
                    <a:cubicBezTo>
                      <a:pt x="1737" y="69"/>
                      <a:pt x="1737" y="63"/>
                      <a:pt x="1736" y="58"/>
                    </a:cubicBezTo>
                    <a:cubicBezTo>
                      <a:pt x="1734" y="53"/>
                      <a:pt x="1732" y="49"/>
                      <a:pt x="1730" y="45"/>
                    </a:cubicBezTo>
                    <a:cubicBezTo>
                      <a:pt x="1727" y="42"/>
                      <a:pt x="1723" y="40"/>
                      <a:pt x="1719" y="38"/>
                    </a:cubicBezTo>
                    <a:cubicBezTo>
                      <a:pt x="1715" y="37"/>
                      <a:pt x="1709" y="36"/>
                      <a:pt x="1703" y="36"/>
                    </a:cubicBezTo>
                    <a:cubicBezTo>
                      <a:pt x="1697" y="36"/>
                      <a:pt x="1692" y="36"/>
                      <a:pt x="1686" y="37"/>
                    </a:cubicBezTo>
                    <a:cubicBezTo>
                      <a:pt x="1681" y="39"/>
                      <a:pt x="1676" y="40"/>
                      <a:pt x="1670" y="43"/>
                    </a:cubicBezTo>
                    <a:lnTo>
                      <a:pt x="1670" y="117"/>
                    </a:lnTo>
                    <a:close/>
                    <a:moveTo>
                      <a:pt x="1637" y="117"/>
                    </a:moveTo>
                    <a:cubicBezTo>
                      <a:pt x="1648" y="117"/>
                      <a:pt x="1648" y="117"/>
                      <a:pt x="1648" y="117"/>
                    </a:cubicBezTo>
                    <a:cubicBezTo>
                      <a:pt x="1648" y="37"/>
                      <a:pt x="1648" y="37"/>
                      <a:pt x="1648" y="37"/>
                    </a:cubicBezTo>
                    <a:cubicBezTo>
                      <a:pt x="1637" y="37"/>
                      <a:pt x="1637" y="37"/>
                      <a:pt x="1637" y="37"/>
                    </a:cubicBezTo>
                    <a:lnTo>
                      <a:pt x="1637" y="117"/>
                    </a:lnTo>
                    <a:close/>
                    <a:moveTo>
                      <a:pt x="1637" y="17"/>
                    </a:moveTo>
                    <a:cubicBezTo>
                      <a:pt x="1648" y="17"/>
                      <a:pt x="1648" y="17"/>
                      <a:pt x="1648" y="17"/>
                    </a:cubicBezTo>
                    <a:cubicBezTo>
                      <a:pt x="1648" y="6"/>
                      <a:pt x="1648" y="6"/>
                      <a:pt x="1648" y="6"/>
                    </a:cubicBezTo>
                    <a:cubicBezTo>
                      <a:pt x="1637" y="6"/>
                      <a:pt x="1637" y="6"/>
                      <a:pt x="1637" y="6"/>
                    </a:cubicBezTo>
                    <a:lnTo>
                      <a:pt x="1637" y="17"/>
                    </a:lnTo>
                    <a:close/>
                    <a:moveTo>
                      <a:pt x="1568" y="109"/>
                    </a:moveTo>
                    <a:cubicBezTo>
                      <a:pt x="1565" y="108"/>
                      <a:pt x="1562" y="106"/>
                      <a:pt x="1560" y="103"/>
                    </a:cubicBezTo>
                    <a:cubicBezTo>
                      <a:pt x="1558" y="100"/>
                      <a:pt x="1557" y="97"/>
                      <a:pt x="1556" y="92"/>
                    </a:cubicBezTo>
                    <a:cubicBezTo>
                      <a:pt x="1556" y="88"/>
                      <a:pt x="1556" y="82"/>
                      <a:pt x="1556" y="76"/>
                    </a:cubicBezTo>
                    <a:cubicBezTo>
                      <a:pt x="1556" y="69"/>
                      <a:pt x="1556" y="64"/>
                      <a:pt x="1557" y="60"/>
                    </a:cubicBezTo>
                    <a:cubicBezTo>
                      <a:pt x="1558" y="56"/>
                      <a:pt x="1559" y="52"/>
                      <a:pt x="1561" y="50"/>
                    </a:cubicBezTo>
                    <a:cubicBezTo>
                      <a:pt x="1563" y="47"/>
                      <a:pt x="1566" y="46"/>
                      <a:pt x="1569" y="45"/>
                    </a:cubicBezTo>
                    <a:cubicBezTo>
                      <a:pt x="1572" y="44"/>
                      <a:pt x="1576" y="43"/>
                      <a:pt x="1581" y="43"/>
                    </a:cubicBezTo>
                    <a:cubicBezTo>
                      <a:pt x="1585" y="43"/>
                      <a:pt x="1588" y="44"/>
                      <a:pt x="1592" y="45"/>
                    </a:cubicBezTo>
                    <a:cubicBezTo>
                      <a:pt x="1595" y="46"/>
                      <a:pt x="1597" y="48"/>
                      <a:pt x="1599" y="50"/>
                    </a:cubicBezTo>
                    <a:cubicBezTo>
                      <a:pt x="1602" y="53"/>
                      <a:pt x="1603" y="56"/>
                      <a:pt x="1604" y="61"/>
                    </a:cubicBezTo>
                    <a:cubicBezTo>
                      <a:pt x="1605" y="65"/>
                      <a:pt x="1606" y="70"/>
                      <a:pt x="1606" y="76"/>
                    </a:cubicBezTo>
                    <a:cubicBezTo>
                      <a:pt x="1606" y="82"/>
                      <a:pt x="1606" y="87"/>
                      <a:pt x="1605" y="92"/>
                    </a:cubicBezTo>
                    <a:cubicBezTo>
                      <a:pt x="1605" y="96"/>
                      <a:pt x="1603" y="100"/>
                      <a:pt x="1602" y="103"/>
                    </a:cubicBezTo>
                    <a:cubicBezTo>
                      <a:pt x="1600" y="106"/>
                      <a:pt x="1597" y="108"/>
                      <a:pt x="1594" y="109"/>
                    </a:cubicBezTo>
                    <a:cubicBezTo>
                      <a:pt x="1591" y="110"/>
                      <a:pt x="1587" y="111"/>
                      <a:pt x="1581" y="111"/>
                    </a:cubicBezTo>
                    <a:cubicBezTo>
                      <a:pt x="1576" y="111"/>
                      <a:pt x="1571" y="111"/>
                      <a:pt x="1568" y="109"/>
                    </a:cubicBezTo>
                    <a:moveTo>
                      <a:pt x="1581" y="36"/>
                    </a:moveTo>
                    <a:cubicBezTo>
                      <a:pt x="1575" y="36"/>
                      <a:pt x="1569" y="36"/>
                      <a:pt x="1565" y="38"/>
                    </a:cubicBezTo>
                    <a:cubicBezTo>
                      <a:pt x="1560" y="39"/>
                      <a:pt x="1557" y="41"/>
                      <a:pt x="1554" y="45"/>
                    </a:cubicBezTo>
                    <a:cubicBezTo>
                      <a:pt x="1551" y="48"/>
                      <a:pt x="1548" y="52"/>
                      <a:pt x="1547" y="57"/>
                    </a:cubicBezTo>
                    <a:cubicBezTo>
                      <a:pt x="1546" y="62"/>
                      <a:pt x="1545" y="68"/>
                      <a:pt x="1545" y="75"/>
                    </a:cubicBezTo>
                    <a:cubicBezTo>
                      <a:pt x="1545" y="83"/>
                      <a:pt x="1545" y="90"/>
                      <a:pt x="1547" y="95"/>
                    </a:cubicBezTo>
                    <a:cubicBezTo>
                      <a:pt x="1548" y="101"/>
                      <a:pt x="1550" y="105"/>
                      <a:pt x="1552" y="109"/>
                    </a:cubicBezTo>
                    <a:cubicBezTo>
                      <a:pt x="1555" y="112"/>
                      <a:pt x="1559" y="114"/>
                      <a:pt x="1563" y="116"/>
                    </a:cubicBezTo>
                    <a:cubicBezTo>
                      <a:pt x="1568" y="118"/>
                      <a:pt x="1574" y="118"/>
                      <a:pt x="1581" y="118"/>
                    </a:cubicBezTo>
                    <a:cubicBezTo>
                      <a:pt x="1588" y="118"/>
                      <a:pt x="1594" y="117"/>
                      <a:pt x="1599" y="116"/>
                    </a:cubicBezTo>
                    <a:cubicBezTo>
                      <a:pt x="1603" y="114"/>
                      <a:pt x="1607" y="111"/>
                      <a:pt x="1610" y="108"/>
                    </a:cubicBezTo>
                    <a:cubicBezTo>
                      <a:pt x="1612" y="104"/>
                      <a:pt x="1614" y="100"/>
                      <a:pt x="1615" y="95"/>
                    </a:cubicBezTo>
                    <a:cubicBezTo>
                      <a:pt x="1616" y="89"/>
                      <a:pt x="1617" y="83"/>
                      <a:pt x="1617" y="76"/>
                    </a:cubicBezTo>
                    <a:cubicBezTo>
                      <a:pt x="1617" y="69"/>
                      <a:pt x="1616" y="63"/>
                      <a:pt x="1614" y="57"/>
                    </a:cubicBezTo>
                    <a:cubicBezTo>
                      <a:pt x="1613" y="52"/>
                      <a:pt x="1610" y="48"/>
                      <a:pt x="1607" y="45"/>
                    </a:cubicBezTo>
                    <a:cubicBezTo>
                      <a:pt x="1604" y="42"/>
                      <a:pt x="1601" y="40"/>
                      <a:pt x="1596" y="38"/>
                    </a:cubicBezTo>
                    <a:cubicBezTo>
                      <a:pt x="1592" y="37"/>
                      <a:pt x="1587" y="36"/>
                      <a:pt x="1581" y="36"/>
                    </a:cubicBezTo>
                    <a:close/>
                    <a:moveTo>
                      <a:pt x="1516" y="117"/>
                    </a:moveTo>
                    <a:cubicBezTo>
                      <a:pt x="1526" y="117"/>
                      <a:pt x="1526" y="117"/>
                      <a:pt x="1526" y="117"/>
                    </a:cubicBezTo>
                    <a:cubicBezTo>
                      <a:pt x="1526" y="5"/>
                      <a:pt x="1526" y="5"/>
                      <a:pt x="1526" y="5"/>
                    </a:cubicBezTo>
                    <a:cubicBezTo>
                      <a:pt x="1516" y="5"/>
                      <a:pt x="1516" y="5"/>
                      <a:pt x="1516" y="5"/>
                    </a:cubicBezTo>
                    <a:lnTo>
                      <a:pt x="1516" y="117"/>
                    </a:lnTo>
                    <a:close/>
                    <a:moveTo>
                      <a:pt x="1408" y="115"/>
                    </a:moveTo>
                    <a:cubicBezTo>
                      <a:pt x="1412" y="116"/>
                      <a:pt x="1415" y="116"/>
                      <a:pt x="1419" y="117"/>
                    </a:cubicBezTo>
                    <a:cubicBezTo>
                      <a:pt x="1422" y="117"/>
                      <a:pt x="1426" y="117"/>
                      <a:pt x="1429" y="117"/>
                    </a:cubicBezTo>
                    <a:cubicBezTo>
                      <a:pt x="1432" y="117"/>
                      <a:pt x="1432" y="117"/>
                      <a:pt x="1432" y="117"/>
                    </a:cubicBezTo>
                    <a:cubicBezTo>
                      <a:pt x="1434" y="117"/>
                      <a:pt x="1437" y="117"/>
                      <a:pt x="1440" y="117"/>
                    </a:cubicBezTo>
                    <a:cubicBezTo>
                      <a:pt x="1443" y="116"/>
                      <a:pt x="1446" y="115"/>
                      <a:pt x="1448" y="114"/>
                    </a:cubicBezTo>
                    <a:cubicBezTo>
                      <a:pt x="1451" y="113"/>
                      <a:pt x="1453" y="111"/>
                      <a:pt x="1455" y="108"/>
                    </a:cubicBezTo>
                    <a:cubicBezTo>
                      <a:pt x="1457" y="106"/>
                      <a:pt x="1457" y="102"/>
                      <a:pt x="1457" y="98"/>
                    </a:cubicBezTo>
                    <a:cubicBezTo>
                      <a:pt x="1457" y="96"/>
                      <a:pt x="1457" y="94"/>
                      <a:pt x="1456" y="91"/>
                    </a:cubicBezTo>
                    <a:cubicBezTo>
                      <a:pt x="1455" y="88"/>
                      <a:pt x="1453" y="85"/>
                      <a:pt x="1450" y="83"/>
                    </a:cubicBezTo>
                    <a:cubicBezTo>
                      <a:pt x="1449" y="82"/>
                      <a:pt x="1448" y="81"/>
                      <a:pt x="1447" y="80"/>
                    </a:cubicBezTo>
                    <a:cubicBezTo>
                      <a:pt x="1445" y="79"/>
                      <a:pt x="1444" y="78"/>
                      <a:pt x="1442" y="77"/>
                    </a:cubicBezTo>
                    <a:cubicBezTo>
                      <a:pt x="1440" y="76"/>
                      <a:pt x="1438" y="74"/>
                      <a:pt x="1436" y="73"/>
                    </a:cubicBezTo>
                    <a:cubicBezTo>
                      <a:pt x="1434" y="72"/>
                      <a:pt x="1432" y="70"/>
                      <a:pt x="1430" y="69"/>
                    </a:cubicBezTo>
                    <a:cubicBezTo>
                      <a:pt x="1426" y="67"/>
                      <a:pt x="1424" y="64"/>
                      <a:pt x="1422" y="62"/>
                    </a:cubicBezTo>
                    <a:cubicBezTo>
                      <a:pt x="1421" y="61"/>
                      <a:pt x="1420" y="58"/>
                      <a:pt x="1420" y="55"/>
                    </a:cubicBezTo>
                    <a:cubicBezTo>
                      <a:pt x="1420" y="53"/>
                      <a:pt x="1420" y="53"/>
                      <a:pt x="1420" y="53"/>
                    </a:cubicBezTo>
                    <a:cubicBezTo>
                      <a:pt x="1420" y="50"/>
                      <a:pt x="1422" y="48"/>
                      <a:pt x="1424" y="46"/>
                    </a:cubicBezTo>
                    <a:cubicBezTo>
                      <a:pt x="1426" y="44"/>
                      <a:pt x="1430" y="43"/>
                      <a:pt x="1435" y="43"/>
                    </a:cubicBezTo>
                    <a:cubicBezTo>
                      <a:pt x="1438" y="43"/>
                      <a:pt x="1438" y="43"/>
                      <a:pt x="1438" y="43"/>
                    </a:cubicBezTo>
                    <a:cubicBezTo>
                      <a:pt x="1441" y="43"/>
                      <a:pt x="1444" y="43"/>
                      <a:pt x="1446" y="43"/>
                    </a:cubicBezTo>
                    <a:cubicBezTo>
                      <a:pt x="1449" y="43"/>
                      <a:pt x="1452" y="44"/>
                      <a:pt x="1456" y="44"/>
                    </a:cubicBezTo>
                    <a:cubicBezTo>
                      <a:pt x="1457" y="37"/>
                      <a:pt x="1457" y="37"/>
                      <a:pt x="1457" y="37"/>
                    </a:cubicBezTo>
                    <a:cubicBezTo>
                      <a:pt x="1455" y="37"/>
                      <a:pt x="1453" y="37"/>
                      <a:pt x="1451" y="37"/>
                    </a:cubicBezTo>
                    <a:cubicBezTo>
                      <a:pt x="1449" y="36"/>
                      <a:pt x="1448" y="36"/>
                      <a:pt x="1446" y="36"/>
                    </a:cubicBezTo>
                    <a:cubicBezTo>
                      <a:pt x="1444" y="36"/>
                      <a:pt x="1443" y="36"/>
                      <a:pt x="1441" y="36"/>
                    </a:cubicBezTo>
                    <a:cubicBezTo>
                      <a:pt x="1439" y="36"/>
                      <a:pt x="1437" y="36"/>
                      <a:pt x="1435" y="36"/>
                    </a:cubicBezTo>
                    <a:cubicBezTo>
                      <a:pt x="1431" y="36"/>
                      <a:pt x="1427" y="36"/>
                      <a:pt x="1424" y="37"/>
                    </a:cubicBezTo>
                    <a:cubicBezTo>
                      <a:pt x="1421" y="38"/>
                      <a:pt x="1418" y="39"/>
                      <a:pt x="1416" y="41"/>
                    </a:cubicBezTo>
                    <a:cubicBezTo>
                      <a:pt x="1414" y="42"/>
                      <a:pt x="1412" y="44"/>
                      <a:pt x="1411" y="46"/>
                    </a:cubicBezTo>
                    <a:cubicBezTo>
                      <a:pt x="1410" y="48"/>
                      <a:pt x="1410" y="50"/>
                      <a:pt x="1410" y="52"/>
                    </a:cubicBezTo>
                    <a:cubicBezTo>
                      <a:pt x="1410" y="55"/>
                      <a:pt x="1410" y="55"/>
                      <a:pt x="1410" y="55"/>
                    </a:cubicBezTo>
                    <a:cubicBezTo>
                      <a:pt x="1410" y="57"/>
                      <a:pt x="1410" y="59"/>
                      <a:pt x="1410" y="61"/>
                    </a:cubicBezTo>
                    <a:cubicBezTo>
                      <a:pt x="1411" y="63"/>
                      <a:pt x="1412" y="65"/>
                      <a:pt x="1413" y="66"/>
                    </a:cubicBezTo>
                    <a:cubicBezTo>
                      <a:pt x="1414" y="68"/>
                      <a:pt x="1416" y="70"/>
                      <a:pt x="1417" y="71"/>
                    </a:cubicBezTo>
                    <a:cubicBezTo>
                      <a:pt x="1419" y="72"/>
                      <a:pt x="1421" y="74"/>
                      <a:pt x="1424" y="75"/>
                    </a:cubicBezTo>
                    <a:cubicBezTo>
                      <a:pt x="1425" y="77"/>
                      <a:pt x="1427" y="78"/>
                      <a:pt x="1429" y="79"/>
                    </a:cubicBezTo>
                    <a:cubicBezTo>
                      <a:pt x="1431" y="80"/>
                      <a:pt x="1433" y="82"/>
                      <a:pt x="1435" y="83"/>
                    </a:cubicBezTo>
                    <a:cubicBezTo>
                      <a:pt x="1436" y="84"/>
                      <a:pt x="1438" y="85"/>
                      <a:pt x="1439" y="86"/>
                    </a:cubicBezTo>
                    <a:cubicBezTo>
                      <a:pt x="1440" y="87"/>
                      <a:pt x="1441" y="88"/>
                      <a:pt x="1442" y="89"/>
                    </a:cubicBezTo>
                    <a:cubicBezTo>
                      <a:pt x="1444" y="90"/>
                      <a:pt x="1445" y="92"/>
                      <a:pt x="1446" y="94"/>
                    </a:cubicBezTo>
                    <a:cubicBezTo>
                      <a:pt x="1446" y="95"/>
                      <a:pt x="1447" y="97"/>
                      <a:pt x="1447" y="99"/>
                    </a:cubicBezTo>
                    <a:cubicBezTo>
                      <a:pt x="1447" y="101"/>
                      <a:pt x="1446" y="103"/>
                      <a:pt x="1446" y="105"/>
                    </a:cubicBezTo>
                    <a:cubicBezTo>
                      <a:pt x="1445" y="107"/>
                      <a:pt x="1444" y="108"/>
                      <a:pt x="1442" y="109"/>
                    </a:cubicBezTo>
                    <a:cubicBezTo>
                      <a:pt x="1441" y="109"/>
                      <a:pt x="1439" y="110"/>
                      <a:pt x="1437" y="110"/>
                    </a:cubicBezTo>
                    <a:cubicBezTo>
                      <a:pt x="1435" y="111"/>
                      <a:pt x="1433" y="111"/>
                      <a:pt x="1431" y="111"/>
                    </a:cubicBezTo>
                    <a:cubicBezTo>
                      <a:pt x="1428" y="111"/>
                      <a:pt x="1428" y="111"/>
                      <a:pt x="1428" y="111"/>
                    </a:cubicBezTo>
                    <a:cubicBezTo>
                      <a:pt x="1426" y="111"/>
                      <a:pt x="1423" y="111"/>
                      <a:pt x="1420" y="110"/>
                    </a:cubicBezTo>
                    <a:cubicBezTo>
                      <a:pt x="1417" y="110"/>
                      <a:pt x="1413" y="109"/>
                      <a:pt x="1409" y="109"/>
                    </a:cubicBezTo>
                    <a:lnTo>
                      <a:pt x="1408" y="115"/>
                    </a:lnTo>
                    <a:close/>
                    <a:moveTo>
                      <a:pt x="1390" y="37"/>
                    </a:moveTo>
                    <a:cubicBezTo>
                      <a:pt x="1379" y="37"/>
                      <a:pt x="1379" y="37"/>
                      <a:pt x="1379" y="37"/>
                    </a:cubicBezTo>
                    <a:cubicBezTo>
                      <a:pt x="1379" y="107"/>
                      <a:pt x="1379" y="107"/>
                      <a:pt x="1379" y="107"/>
                    </a:cubicBezTo>
                    <a:cubicBezTo>
                      <a:pt x="1376" y="108"/>
                      <a:pt x="1373" y="109"/>
                      <a:pt x="1369" y="110"/>
                    </a:cubicBezTo>
                    <a:cubicBezTo>
                      <a:pt x="1366" y="111"/>
                      <a:pt x="1362" y="111"/>
                      <a:pt x="1359" y="111"/>
                    </a:cubicBezTo>
                    <a:cubicBezTo>
                      <a:pt x="1350" y="111"/>
                      <a:pt x="1344" y="109"/>
                      <a:pt x="1340" y="104"/>
                    </a:cubicBezTo>
                    <a:cubicBezTo>
                      <a:pt x="1337" y="99"/>
                      <a:pt x="1335" y="90"/>
                      <a:pt x="1335" y="79"/>
                    </a:cubicBezTo>
                    <a:cubicBezTo>
                      <a:pt x="1335" y="38"/>
                      <a:pt x="1335" y="38"/>
                      <a:pt x="1335" y="38"/>
                    </a:cubicBezTo>
                    <a:cubicBezTo>
                      <a:pt x="1324" y="38"/>
                      <a:pt x="1324" y="38"/>
                      <a:pt x="1324" y="38"/>
                    </a:cubicBezTo>
                    <a:cubicBezTo>
                      <a:pt x="1324" y="79"/>
                      <a:pt x="1324" y="79"/>
                      <a:pt x="1324" y="79"/>
                    </a:cubicBezTo>
                    <a:cubicBezTo>
                      <a:pt x="1324" y="86"/>
                      <a:pt x="1325" y="92"/>
                      <a:pt x="1326" y="97"/>
                    </a:cubicBezTo>
                    <a:cubicBezTo>
                      <a:pt x="1327" y="102"/>
                      <a:pt x="1329" y="106"/>
                      <a:pt x="1332" y="109"/>
                    </a:cubicBezTo>
                    <a:cubicBezTo>
                      <a:pt x="1335" y="112"/>
                      <a:pt x="1338" y="114"/>
                      <a:pt x="1343" y="116"/>
                    </a:cubicBezTo>
                    <a:cubicBezTo>
                      <a:pt x="1347" y="118"/>
                      <a:pt x="1352" y="118"/>
                      <a:pt x="1359" y="118"/>
                    </a:cubicBezTo>
                    <a:cubicBezTo>
                      <a:pt x="1363" y="118"/>
                      <a:pt x="1368" y="118"/>
                      <a:pt x="1373" y="117"/>
                    </a:cubicBezTo>
                    <a:cubicBezTo>
                      <a:pt x="1378" y="116"/>
                      <a:pt x="1384" y="114"/>
                      <a:pt x="1390" y="112"/>
                    </a:cubicBezTo>
                    <a:lnTo>
                      <a:pt x="1390" y="37"/>
                    </a:lnTo>
                    <a:close/>
                    <a:moveTo>
                      <a:pt x="1293" y="117"/>
                    </a:moveTo>
                    <a:cubicBezTo>
                      <a:pt x="1304" y="117"/>
                      <a:pt x="1304" y="117"/>
                      <a:pt x="1304" y="117"/>
                    </a:cubicBezTo>
                    <a:cubicBezTo>
                      <a:pt x="1304" y="5"/>
                      <a:pt x="1304" y="5"/>
                      <a:pt x="1304" y="5"/>
                    </a:cubicBezTo>
                    <a:cubicBezTo>
                      <a:pt x="1293" y="5"/>
                      <a:pt x="1293" y="5"/>
                      <a:pt x="1293" y="5"/>
                    </a:cubicBezTo>
                    <a:lnTo>
                      <a:pt x="1293" y="117"/>
                    </a:lnTo>
                    <a:close/>
                    <a:moveTo>
                      <a:pt x="1218" y="44"/>
                    </a:moveTo>
                    <a:cubicBezTo>
                      <a:pt x="1220" y="43"/>
                      <a:pt x="1222" y="43"/>
                      <a:pt x="1225" y="43"/>
                    </a:cubicBezTo>
                    <a:cubicBezTo>
                      <a:pt x="1228" y="43"/>
                      <a:pt x="1230" y="43"/>
                      <a:pt x="1232" y="43"/>
                    </a:cubicBezTo>
                    <a:cubicBezTo>
                      <a:pt x="1238" y="43"/>
                      <a:pt x="1243" y="44"/>
                      <a:pt x="1247" y="45"/>
                    </a:cubicBezTo>
                    <a:cubicBezTo>
                      <a:pt x="1251" y="47"/>
                      <a:pt x="1254" y="49"/>
                      <a:pt x="1257" y="52"/>
                    </a:cubicBezTo>
                    <a:cubicBezTo>
                      <a:pt x="1259" y="55"/>
                      <a:pt x="1260" y="58"/>
                      <a:pt x="1261" y="63"/>
                    </a:cubicBezTo>
                    <a:cubicBezTo>
                      <a:pt x="1262" y="67"/>
                      <a:pt x="1262" y="72"/>
                      <a:pt x="1262" y="78"/>
                    </a:cubicBezTo>
                    <a:cubicBezTo>
                      <a:pt x="1262" y="84"/>
                      <a:pt x="1262" y="89"/>
                      <a:pt x="1261" y="93"/>
                    </a:cubicBezTo>
                    <a:cubicBezTo>
                      <a:pt x="1260" y="97"/>
                      <a:pt x="1259" y="101"/>
                      <a:pt x="1258" y="103"/>
                    </a:cubicBezTo>
                    <a:cubicBezTo>
                      <a:pt x="1256" y="106"/>
                      <a:pt x="1254" y="108"/>
                      <a:pt x="1251" y="109"/>
                    </a:cubicBezTo>
                    <a:cubicBezTo>
                      <a:pt x="1249" y="110"/>
                      <a:pt x="1245" y="111"/>
                      <a:pt x="1241" y="111"/>
                    </a:cubicBezTo>
                    <a:cubicBezTo>
                      <a:pt x="1236" y="111"/>
                      <a:pt x="1232" y="111"/>
                      <a:pt x="1228" y="110"/>
                    </a:cubicBezTo>
                    <a:cubicBezTo>
                      <a:pt x="1224" y="109"/>
                      <a:pt x="1220" y="108"/>
                      <a:pt x="1218" y="107"/>
                    </a:cubicBezTo>
                    <a:lnTo>
                      <a:pt x="1218" y="44"/>
                    </a:lnTo>
                    <a:close/>
                    <a:moveTo>
                      <a:pt x="1218" y="114"/>
                    </a:moveTo>
                    <a:cubicBezTo>
                      <a:pt x="1220" y="115"/>
                      <a:pt x="1224" y="116"/>
                      <a:pt x="1228" y="117"/>
                    </a:cubicBezTo>
                    <a:cubicBezTo>
                      <a:pt x="1232" y="118"/>
                      <a:pt x="1236" y="118"/>
                      <a:pt x="1241" y="118"/>
                    </a:cubicBezTo>
                    <a:cubicBezTo>
                      <a:pt x="1247" y="118"/>
                      <a:pt x="1252" y="117"/>
                      <a:pt x="1256" y="116"/>
                    </a:cubicBezTo>
                    <a:cubicBezTo>
                      <a:pt x="1260" y="114"/>
                      <a:pt x="1264" y="112"/>
                      <a:pt x="1266" y="108"/>
                    </a:cubicBezTo>
                    <a:cubicBezTo>
                      <a:pt x="1268" y="105"/>
                      <a:pt x="1270" y="101"/>
                      <a:pt x="1271" y="96"/>
                    </a:cubicBezTo>
                    <a:cubicBezTo>
                      <a:pt x="1272" y="91"/>
                      <a:pt x="1273" y="85"/>
                      <a:pt x="1273" y="79"/>
                    </a:cubicBezTo>
                    <a:cubicBezTo>
                      <a:pt x="1273" y="71"/>
                      <a:pt x="1272" y="65"/>
                      <a:pt x="1271" y="60"/>
                    </a:cubicBezTo>
                    <a:cubicBezTo>
                      <a:pt x="1270" y="54"/>
                      <a:pt x="1267" y="50"/>
                      <a:pt x="1264" y="46"/>
                    </a:cubicBezTo>
                    <a:cubicBezTo>
                      <a:pt x="1261" y="43"/>
                      <a:pt x="1257" y="40"/>
                      <a:pt x="1251" y="38"/>
                    </a:cubicBezTo>
                    <a:cubicBezTo>
                      <a:pt x="1246" y="37"/>
                      <a:pt x="1239" y="36"/>
                      <a:pt x="1230" y="36"/>
                    </a:cubicBezTo>
                    <a:cubicBezTo>
                      <a:pt x="1226" y="36"/>
                      <a:pt x="1222" y="36"/>
                      <a:pt x="1219" y="36"/>
                    </a:cubicBezTo>
                    <a:cubicBezTo>
                      <a:pt x="1215" y="36"/>
                      <a:pt x="1211" y="37"/>
                      <a:pt x="1207" y="37"/>
                    </a:cubicBezTo>
                    <a:cubicBezTo>
                      <a:pt x="1207" y="148"/>
                      <a:pt x="1207" y="148"/>
                      <a:pt x="1207" y="148"/>
                    </a:cubicBezTo>
                    <a:cubicBezTo>
                      <a:pt x="1218" y="148"/>
                      <a:pt x="1218" y="148"/>
                      <a:pt x="1218" y="148"/>
                    </a:cubicBezTo>
                    <a:lnTo>
                      <a:pt x="1218" y="114"/>
                    </a:lnTo>
                    <a:close/>
                    <a:moveTo>
                      <a:pt x="1113" y="117"/>
                    </a:moveTo>
                    <a:cubicBezTo>
                      <a:pt x="1124" y="117"/>
                      <a:pt x="1124" y="117"/>
                      <a:pt x="1124" y="117"/>
                    </a:cubicBezTo>
                    <a:cubicBezTo>
                      <a:pt x="1124" y="47"/>
                      <a:pt x="1124" y="47"/>
                      <a:pt x="1124" y="47"/>
                    </a:cubicBezTo>
                    <a:cubicBezTo>
                      <a:pt x="1126" y="46"/>
                      <a:pt x="1130" y="45"/>
                      <a:pt x="1134" y="44"/>
                    </a:cubicBezTo>
                    <a:cubicBezTo>
                      <a:pt x="1138" y="43"/>
                      <a:pt x="1142" y="43"/>
                      <a:pt x="1146" y="43"/>
                    </a:cubicBezTo>
                    <a:cubicBezTo>
                      <a:pt x="1147" y="43"/>
                      <a:pt x="1149" y="43"/>
                      <a:pt x="1150" y="43"/>
                    </a:cubicBezTo>
                    <a:cubicBezTo>
                      <a:pt x="1151" y="43"/>
                      <a:pt x="1152" y="43"/>
                      <a:pt x="1154" y="44"/>
                    </a:cubicBezTo>
                    <a:cubicBezTo>
                      <a:pt x="1155" y="36"/>
                      <a:pt x="1155" y="36"/>
                      <a:pt x="1155" y="36"/>
                    </a:cubicBezTo>
                    <a:cubicBezTo>
                      <a:pt x="1153" y="36"/>
                      <a:pt x="1151" y="36"/>
                      <a:pt x="1150" y="36"/>
                    </a:cubicBezTo>
                    <a:cubicBezTo>
                      <a:pt x="1149" y="36"/>
                      <a:pt x="1148" y="36"/>
                      <a:pt x="1146" y="36"/>
                    </a:cubicBezTo>
                    <a:cubicBezTo>
                      <a:pt x="1141" y="36"/>
                      <a:pt x="1135" y="36"/>
                      <a:pt x="1130" y="38"/>
                    </a:cubicBezTo>
                    <a:cubicBezTo>
                      <a:pt x="1125" y="39"/>
                      <a:pt x="1119" y="40"/>
                      <a:pt x="1113" y="43"/>
                    </a:cubicBezTo>
                    <a:lnTo>
                      <a:pt x="1113" y="117"/>
                    </a:lnTo>
                    <a:close/>
                    <a:moveTo>
                      <a:pt x="1036" y="73"/>
                    </a:moveTo>
                    <a:cubicBezTo>
                      <a:pt x="1036" y="62"/>
                      <a:pt x="1038" y="54"/>
                      <a:pt x="1042" y="50"/>
                    </a:cubicBezTo>
                    <a:cubicBezTo>
                      <a:pt x="1046" y="45"/>
                      <a:pt x="1051" y="43"/>
                      <a:pt x="1059" y="43"/>
                    </a:cubicBezTo>
                    <a:cubicBezTo>
                      <a:pt x="1068" y="43"/>
                      <a:pt x="1074" y="45"/>
                      <a:pt x="1077" y="50"/>
                    </a:cubicBezTo>
                    <a:cubicBezTo>
                      <a:pt x="1081" y="54"/>
                      <a:pt x="1083" y="62"/>
                      <a:pt x="1083" y="73"/>
                    </a:cubicBezTo>
                    <a:lnTo>
                      <a:pt x="1036" y="73"/>
                    </a:lnTo>
                    <a:close/>
                    <a:moveTo>
                      <a:pt x="1090" y="107"/>
                    </a:moveTo>
                    <a:cubicBezTo>
                      <a:pt x="1088" y="107"/>
                      <a:pt x="1086" y="107"/>
                      <a:pt x="1084" y="108"/>
                    </a:cubicBezTo>
                    <a:cubicBezTo>
                      <a:pt x="1081" y="108"/>
                      <a:pt x="1079" y="109"/>
                      <a:pt x="1076" y="109"/>
                    </a:cubicBezTo>
                    <a:cubicBezTo>
                      <a:pt x="1073" y="110"/>
                      <a:pt x="1071" y="110"/>
                      <a:pt x="1068" y="111"/>
                    </a:cubicBezTo>
                    <a:cubicBezTo>
                      <a:pt x="1065" y="111"/>
                      <a:pt x="1063" y="111"/>
                      <a:pt x="1060" y="111"/>
                    </a:cubicBezTo>
                    <a:cubicBezTo>
                      <a:pt x="1056" y="111"/>
                      <a:pt x="1052" y="110"/>
                      <a:pt x="1049" y="109"/>
                    </a:cubicBezTo>
                    <a:cubicBezTo>
                      <a:pt x="1046" y="108"/>
                      <a:pt x="1043" y="106"/>
                      <a:pt x="1041" y="103"/>
                    </a:cubicBezTo>
                    <a:cubicBezTo>
                      <a:pt x="1040" y="101"/>
                      <a:pt x="1038" y="97"/>
                      <a:pt x="1037" y="93"/>
                    </a:cubicBezTo>
                    <a:cubicBezTo>
                      <a:pt x="1037" y="90"/>
                      <a:pt x="1036" y="85"/>
                      <a:pt x="1036" y="80"/>
                    </a:cubicBezTo>
                    <a:cubicBezTo>
                      <a:pt x="1094" y="80"/>
                      <a:pt x="1094" y="80"/>
                      <a:pt x="1094" y="80"/>
                    </a:cubicBezTo>
                    <a:cubicBezTo>
                      <a:pt x="1094" y="74"/>
                      <a:pt x="1094" y="74"/>
                      <a:pt x="1094" y="74"/>
                    </a:cubicBezTo>
                    <a:cubicBezTo>
                      <a:pt x="1094" y="60"/>
                      <a:pt x="1091" y="51"/>
                      <a:pt x="1085" y="45"/>
                    </a:cubicBezTo>
                    <a:cubicBezTo>
                      <a:pt x="1079" y="39"/>
                      <a:pt x="1071" y="36"/>
                      <a:pt x="1059" y="36"/>
                    </a:cubicBezTo>
                    <a:cubicBezTo>
                      <a:pt x="1054" y="36"/>
                      <a:pt x="1049" y="36"/>
                      <a:pt x="1045" y="38"/>
                    </a:cubicBezTo>
                    <a:cubicBezTo>
                      <a:pt x="1041" y="39"/>
                      <a:pt x="1037" y="41"/>
                      <a:pt x="1034" y="45"/>
                    </a:cubicBezTo>
                    <a:cubicBezTo>
                      <a:pt x="1031" y="48"/>
                      <a:pt x="1029" y="52"/>
                      <a:pt x="1028" y="57"/>
                    </a:cubicBezTo>
                    <a:cubicBezTo>
                      <a:pt x="1026" y="63"/>
                      <a:pt x="1025" y="69"/>
                      <a:pt x="1025" y="77"/>
                    </a:cubicBezTo>
                    <a:cubicBezTo>
                      <a:pt x="1025" y="83"/>
                      <a:pt x="1026" y="89"/>
                      <a:pt x="1027" y="94"/>
                    </a:cubicBezTo>
                    <a:cubicBezTo>
                      <a:pt x="1028" y="99"/>
                      <a:pt x="1030" y="104"/>
                      <a:pt x="1032" y="107"/>
                    </a:cubicBezTo>
                    <a:cubicBezTo>
                      <a:pt x="1035" y="111"/>
                      <a:pt x="1039" y="113"/>
                      <a:pt x="1043" y="115"/>
                    </a:cubicBezTo>
                    <a:cubicBezTo>
                      <a:pt x="1048" y="117"/>
                      <a:pt x="1053" y="118"/>
                      <a:pt x="1060" y="118"/>
                    </a:cubicBezTo>
                    <a:cubicBezTo>
                      <a:pt x="1063" y="118"/>
                      <a:pt x="1066" y="118"/>
                      <a:pt x="1068" y="118"/>
                    </a:cubicBezTo>
                    <a:cubicBezTo>
                      <a:pt x="1071" y="117"/>
                      <a:pt x="1074" y="117"/>
                      <a:pt x="1077" y="116"/>
                    </a:cubicBezTo>
                    <a:cubicBezTo>
                      <a:pt x="1080" y="116"/>
                      <a:pt x="1082" y="116"/>
                      <a:pt x="1085" y="115"/>
                    </a:cubicBezTo>
                    <a:cubicBezTo>
                      <a:pt x="1087" y="115"/>
                      <a:pt x="1089" y="114"/>
                      <a:pt x="1091" y="114"/>
                    </a:cubicBezTo>
                    <a:lnTo>
                      <a:pt x="1090" y="107"/>
                    </a:lnTo>
                    <a:close/>
                    <a:moveTo>
                      <a:pt x="996" y="117"/>
                    </a:moveTo>
                    <a:cubicBezTo>
                      <a:pt x="1007" y="117"/>
                      <a:pt x="1007" y="117"/>
                      <a:pt x="1007" y="117"/>
                    </a:cubicBezTo>
                    <a:cubicBezTo>
                      <a:pt x="1007" y="5"/>
                      <a:pt x="1007" y="5"/>
                      <a:pt x="1007" y="5"/>
                    </a:cubicBezTo>
                    <a:cubicBezTo>
                      <a:pt x="996" y="5"/>
                      <a:pt x="996" y="5"/>
                      <a:pt x="996" y="5"/>
                    </a:cubicBezTo>
                    <a:lnTo>
                      <a:pt x="996" y="117"/>
                    </a:lnTo>
                    <a:close/>
                    <a:moveTo>
                      <a:pt x="963" y="117"/>
                    </a:moveTo>
                    <a:cubicBezTo>
                      <a:pt x="974" y="117"/>
                      <a:pt x="974" y="117"/>
                      <a:pt x="974" y="117"/>
                    </a:cubicBezTo>
                    <a:cubicBezTo>
                      <a:pt x="974" y="5"/>
                      <a:pt x="974" y="5"/>
                      <a:pt x="974" y="5"/>
                    </a:cubicBezTo>
                    <a:cubicBezTo>
                      <a:pt x="963" y="5"/>
                      <a:pt x="963" y="5"/>
                      <a:pt x="963" y="5"/>
                    </a:cubicBezTo>
                    <a:lnTo>
                      <a:pt x="963" y="117"/>
                    </a:lnTo>
                    <a:close/>
                    <a:moveTo>
                      <a:pt x="930" y="107"/>
                    </a:moveTo>
                    <a:cubicBezTo>
                      <a:pt x="927" y="108"/>
                      <a:pt x="923" y="108"/>
                      <a:pt x="918" y="109"/>
                    </a:cubicBezTo>
                    <a:cubicBezTo>
                      <a:pt x="913" y="110"/>
                      <a:pt x="908" y="111"/>
                      <a:pt x="903" y="111"/>
                    </a:cubicBezTo>
                    <a:cubicBezTo>
                      <a:pt x="899" y="111"/>
                      <a:pt x="895" y="109"/>
                      <a:pt x="893" y="106"/>
                    </a:cubicBezTo>
                    <a:cubicBezTo>
                      <a:pt x="890" y="103"/>
                      <a:pt x="889" y="99"/>
                      <a:pt x="889" y="94"/>
                    </a:cubicBezTo>
                    <a:cubicBezTo>
                      <a:pt x="889" y="90"/>
                      <a:pt x="890" y="86"/>
                      <a:pt x="893" y="83"/>
                    </a:cubicBezTo>
                    <a:cubicBezTo>
                      <a:pt x="895" y="80"/>
                      <a:pt x="899" y="78"/>
                      <a:pt x="906" y="78"/>
                    </a:cubicBezTo>
                    <a:cubicBezTo>
                      <a:pt x="930" y="76"/>
                      <a:pt x="930" y="76"/>
                      <a:pt x="930" y="76"/>
                    </a:cubicBezTo>
                    <a:lnTo>
                      <a:pt x="930" y="107"/>
                    </a:lnTo>
                    <a:close/>
                    <a:moveTo>
                      <a:pt x="886" y="45"/>
                    </a:moveTo>
                    <a:cubicBezTo>
                      <a:pt x="891" y="45"/>
                      <a:pt x="896" y="44"/>
                      <a:pt x="900" y="44"/>
                    </a:cubicBezTo>
                    <a:cubicBezTo>
                      <a:pt x="905" y="43"/>
                      <a:pt x="909" y="43"/>
                      <a:pt x="913" y="43"/>
                    </a:cubicBezTo>
                    <a:cubicBezTo>
                      <a:pt x="919" y="43"/>
                      <a:pt x="923" y="45"/>
                      <a:pt x="926" y="47"/>
                    </a:cubicBezTo>
                    <a:cubicBezTo>
                      <a:pt x="929" y="50"/>
                      <a:pt x="930" y="54"/>
                      <a:pt x="930" y="61"/>
                    </a:cubicBezTo>
                    <a:cubicBezTo>
                      <a:pt x="930" y="69"/>
                      <a:pt x="930" y="69"/>
                      <a:pt x="930" y="69"/>
                    </a:cubicBezTo>
                    <a:cubicBezTo>
                      <a:pt x="905" y="71"/>
                      <a:pt x="905" y="71"/>
                      <a:pt x="905" y="71"/>
                    </a:cubicBezTo>
                    <a:cubicBezTo>
                      <a:pt x="895" y="72"/>
                      <a:pt x="889" y="74"/>
                      <a:pt x="885" y="78"/>
                    </a:cubicBezTo>
                    <a:cubicBezTo>
                      <a:pt x="881" y="82"/>
                      <a:pt x="879" y="88"/>
                      <a:pt x="879" y="94"/>
                    </a:cubicBezTo>
                    <a:cubicBezTo>
                      <a:pt x="879" y="102"/>
                      <a:pt x="881" y="108"/>
                      <a:pt x="885" y="112"/>
                    </a:cubicBezTo>
                    <a:cubicBezTo>
                      <a:pt x="889" y="116"/>
                      <a:pt x="895" y="118"/>
                      <a:pt x="903" y="118"/>
                    </a:cubicBezTo>
                    <a:cubicBezTo>
                      <a:pt x="911" y="118"/>
                      <a:pt x="918" y="117"/>
                      <a:pt x="924" y="116"/>
                    </a:cubicBezTo>
                    <a:cubicBezTo>
                      <a:pt x="931" y="114"/>
                      <a:pt x="936" y="113"/>
                      <a:pt x="941" y="111"/>
                    </a:cubicBezTo>
                    <a:cubicBezTo>
                      <a:pt x="941" y="61"/>
                      <a:pt x="941" y="61"/>
                      <a:pt x="941" y="61"/>
                    </a:cubicBezTo>
                    <a:cubicBezTo>
                      <a:pt x="941" y="53"/>
                      <a:pt x="939" y="46"/>
                      <a:pt x="934" y="42"/>
                    </a:cubicBezTo>
                    <a:cubicBezTo>
                      <a:pt x="930" y="38"/>
                      <a:pt x="923" y="36"/>
                      <a:pt x="913" y="36"/>
                    </a:cubicBezTo>
                    <a:cubicBezTo>
                      <a:pt x="909" y="36"/>
                      <a:pt x="904" y="36"/>
                      <a:pt x="899" y="36"/>
                    </a:cubicBezTo>
                    <a:cubicBezTo>
                      <a:pt x="894" y="37"/>
                      <a:pt x="889" y="37"/>
                      <a:pt x="884" y="38"/>
                    </a:cubicBezTo>
                    <a:lnTo>
                      <a:pt x="886" y="45"/>
                    </a:lnTo>
                    <a:close/>
                    <a:moveTo>
                      <a:pt x="842" y="34"/>
                    </a:moveTo>
                    <a:cubicBezTo>
                      <a:pt x="852" y="34"/>
                      <a:pt x="852" y="34"/>
                      <a:pt x="852" y="34"/>
                    </a:cubicBezTo>
                    <a:cubicBezTo>
                      <a:pt x="861" y="0"/>
                      <a:pt x="861" y="0"/>
                      <a:pt x="861" y="0"/>
                    </a:cubicBezTo>
                    <a:cubicBezTo>
                      <a:pt x="850" y="0"/>
                      <a:pt x="850" y="0"/>
                      <a:pt x="850" y="0"/>
                    </a:cubicBezTo>
                    <a:lnTo>
                      <a:pt x="842" y="34"/>
                    </a:lnTo>
                    <a:close/>
                    <a:moveTo>
                      <a:pt x="811" y="110"/>
                    </a:moveTo>
                    <a:cubicBezTo>
                      <a:pt x="809" y="110"/>
                      <a:pt x="807" y="111"/>
                      <a:pt x="804" y="111"/>
                    </a:cubicBezTo>
                    <a:cubicBezTo>
                      <a:pt x="802" y="111"/>
                      <a:pt x="799" y="111"/>
                      <a:pt x="798" y="111"/>
                    </a:cubicBezTo>
                    <a:cubicBezTo>
                      <a:pt x="791" y="111"/>
                      <a:pt x="786" y="110"/>
                      <a:pt x="782" y="109"/>
                    </a:cubicBezTo>
                    <a:cubicBezTo>
                      <a:pt x="778" y="107"/>
                      <a:pt x="775" y="105"/>
                      <a:pt x="773" y="102"/>
                    </a:cubicBezTo>
                    <a:cubicBezTo>
                      <a:pt x="771" y="99"/>
                      <a:pt x="769" y="95"/>
                      <a:pt x="768" y="91"/>
                    </a:cubicBezTo>
                    <a:cubicBezTo>
                      <a:pt x="768" y="87"/>
                      <a:pt x="767" y="81"/>
                      <a:pt x="767" y="76"/>
                    </a:cubicBezTo>
                    <a:cubicBezTo>
                      <a:pt x="767" y="70"/>
                      <a:pt x="768" y="65"/>
                      <a:pt x="768" y="61"/>
                    </a:cubicBezTo>
                    <a:cubicBezTo>
                      <a:pt x="769" y="57"/>
                      <a:pt x="770" y="53"/>
                      <a:pt x="771" y="51"/>
                    </a:cubicBezTo>
                    <a:cubicBezTo>
                      <a:pt x="773" y="48"/>
                      <a:pt x="775" y="46"/>
                      <a:pt x="778" y="45"/>
                    </a:cubicBezTo>
                    <a:cubicBezTo>
                      <a:pt x="781" y="44"/>
                      <a:pt x="784" y="43"/>
                      <a:pt x="789" y="43"/>
                    </a:cubicBezTo>
                    <a:cubicBezTo>
                      <a:pt x="793" y="43"/>
                      <a:pt x="797" y="43"/>
                      <a:pt x="801" y="44"/>
                    </a:cubicBezTo>
                    <a:cubicBezTo>
                      <a:pt x="805" y="45"/>
                      <a:pt x="809" y="46"/>
                      <a:pt x="811" y="47"/>
                    </a:cubicBezTo>
                    <a:lnTo>
                      <a:pt x="811" y="110"/>
                    </a:lnTo>
                    <a:close/>
                    <a:moveTo>
                      <a:pt x="811" y="40"/>
                    </a:moveTo>
                    <a:cubicBezTo>
                      <a:pt x="809" y="39"/>
                      <a:pt x="805" y="38"/>
                      <a:pt x="801" y="37"/>
                    </a:cubicBezTo>
                    <a:cubicBezTo>
                      <a:pt x="797" y="36"/>
                      <a:pt x="793" y="36"/>
                      <a:pt x="789" y="36"/>
                    </a:cubicBezTo>
                    <a:cubicBezTo>
                      <a:pt x="782" y="36"/>
                      <a:pt x="777" y="37"/>
                      <a:pt x="773" y="38"/>
                    </a:cubicBezTo>
                    <a:cubicBezTo>
                      <a:pt x="769" y="40"/>
                      <a:pt x="766" y="42"/>
                      <a:pt x="763" y="45"/>
                    </a:cubicBezTo>
                    <a:cubicBezTo>
                      <a:pt x="761" y="49"/>
                      <a:pt x="759" y="53"/>
                      <a:pt x="758" y="58"/>
                    </a:cubicBezTo>
                    <a:cubicBezTo>
                      <a:pt x="757" y="63"/>
                      <a:pt x="757" y="69"/>
                      <a:pt x="757" y="75"/>
                    </a:cubicBezTo>
                    <a:cubicBezTo>
                      <a:pt x="757" y="83"/>
                      <a:pt x="757" y="89"/>
                      <a:pt x="758" y="94"/>
                    </a:cubicBezTo>
                    <a:cubicBezTo>
                      <a:pt x="760" y="100"/>
                      <a:pt x="762" y="104"/>
                      <a:pt x="765" y="108"/>
                    </a:cubicBezTo>
                    <a:cubicBezTo>
                      <a:pt x="768" y="111"/>
                      <a:pt x="772" y="114"/>
                      <a:pt x="778" y="116"/>
                    </a:cubicBezTo>
                    <a:cubicBezTo>
                      <a:pt x="783" y="117"/>
                      <a:pt x="790" y="118"/>
                      <a:pt x="799" y="118"/>
                    </a:cubicBezTo>
                    <a:cubicBezTo>
                      <a:pt x="803" y="118"/>
                      <a:pt x="807" y="118"/>
                      <a:pt x="811" y="118"/>
                    </a:cubicBezTo>
                    <a:cubicBezTo>
                      <a:pt x="814" y="117"/>
                      <a:pt x="818" y="117"/>
                      <a:pt x="822" y="117"/>
                    </a:cubicBezTo>
                    <a:cubicBezTo>
                      <a:pt x="822" y="5"/>
                      <a:pt x="822" y="5"/>
                      <a:pt x="822" y="5"/>
                    </a:cubicBezTo>
                    <a:cubicBezTo>
                      <a:pt x="811" y="5"/>
                      <a:pt x="811" y="5"/>
                      <a:pt x="811" y="5"/>
                    </a:cubicBezTo>
                    <a:lnTo>
                      <a:pt x="811" y="40"/>
                    </a:lnTo>
                    <a:close/>
                    <a:moveTo>
                      <a:pt x="633" y="117"/>
                    </a:moveTo>
                    <a:cubicBezTo>
                      <a:pt x="643" y="117"/>
                      <a:pt x="643" y="117"/>
                      <a:pt x="643" y="117"/>
                    </a:cubicBezTo>
                    <a:cubicBezTo>
                      <a:pt x="643" y="47"/>
                      <a:pt x="643" y="47"/>
                      <a:pt x="643" y="47"/>
                    </a:cubicBezTo>
                    <a:cubicBezTo>
                      <a:pt x="646" y="46"/>
                      <a:pt x="649" y="45"/>
                      <a:pt x="653" y="44"/>
                    </a:cubicBezTo>
                    <a:cubicBezTo>
                      <a:pt x="657" y="43"/>
                      <a:pt x="661" y="43"/>
                      <a:pt x="666" y="43"/>
                    </a:cubicBezTo>
                    <a:cubicBezTo>
                      <a:pt x="675" y="43"/>
                      <a:pt x="681" y="45"/>
                      <a:pt x="684" y="51"/>
                    </a:cubicBezTo>
                    <a:cubicBezTo>
                      <a:pt x="688" y="56"/>
                      <a:pt x="689" y="64"/>
                      <a:pt x="689" y="75"/>
                    </a:cubicBezTo>
                    <a:cubicBezTo>
                      <a:pt x="689" y="117"/>
                      <a:pt x="689" y="117"/>
                      <a:pt x="689" y="117"/>
                    </a:cubicBezTo>
                    <a:cubicBezTo>
                      <a:pt x="700" y="117"/>
                      <a:pt x="700" y="117"/>
                      <a:pt x="700" y="117"/>
                    </a:cubicBezTo>
                    <a:cubicBezTo>
                      <a:pt x="700" y="75"/>
                      <a:pt x="700" y="75"/>
                      <a:pt x="700" y="75"/>
                    </a:cubicBezTo>
                    <a:cubicBezTo>
                      <a:pt x="700" y="69"/>
                      <a:pt x="700" y="63"/>
                      <a:pt x="698" y="58"/>
                    </a:cubicBezTo>
                    <a:cubicBezTo>
                      <a:pt x="697" y="53"/>
                      <a:pt x="695" y="49"/>
                      <a:pt x="693" y="45"/>
                    </a:cubicBezTo>
                    <a:cubicBezTo>
                      <a:pt x="690" y="42"/>
                      <a:pt x="686" y="40"/>
                      <a:pt x="682" y="38"/>
                    </a:cubicBezTo>
                    <a:cubicBezTo>
                      <a:pt x="677" y="37"/>
                      <a:pt x="672" y="36"/>
                      <a:pt x="666" y="36"/>
                    </a:cubicBezTo>
                    <a:cubicBezTo>
                      <a:pt x="660" y="36"/>
                      <a:pt x="654" y="36"/>
                      <a:pt x="649" y="37"/>
                    </a:cubicBezTo>
                    <a:cubicBezTo>
                      <a:pt x="644" y="39"/>
                      <a:pt x="639" y="40"/>
                      <a:pt x="632" y="43"/>
                    </a:cubicBezTo>
                    <a:lnTo>
                      <a:pt x="633" y="117"/>
                    </a:lnTo>
                    <a:close/>
                    <a:moveTo>
                      <a:pt x="564" y="109"/>
                    </a:moveTo>
                    <a:cubicBezTo>
                      <a:pt x="561" y="108"/>
                      <a:pt x="558" y="106"/>
                      <a:pt x="556" y="103"/>
                    </a:cubicBezTo>
                    <a:cubicBezTo>
                      <a:pt x="554" y="100"/>
                      <a:pt x="553" y="97"/>
                      <a:pt x="552" y="92"/>
                    </a:cubicBezTo>
                    <a:cubicBezTo>
                      <a:pt x="552" y="88"/>
                      <a:pt x="551" y="82"/>
                      <a:pt x="551" y="76"/>
                    </a:cubicBezTo>
                    <a:cubicBezTo>
                      <a:pt x="551" y="69"/>
                      <a:pt x="552" y="64"/>
                      <a:pt x="553" y="60"/>
                    </a:cubicBezTo>
                    <a:cubicBezTo>
                      <a:pt x="554" y="56"/>
                      <a:pt x="555" y="52"/>
                      <a:pt x="557" y="50"/>
                    </a:cubicBezTo>
                    <a:cubicBezTo>
                      <a:pt x="559" y="47"/>
                      <a:pt x="562" y="46"/>
                      <a:pt x="565" y="45"/>
                    </a:cubicBezTo>
                    <a:cubicBezTo>
                      <a:pt x="568" y="44"/>
                      <a:pt x="572" y="43"/>
                      <a:pt x="577" y="43"/>
                    </a:cubicBezTo>
                    <a:cubicBezTo>
                      <a:pt x="581" y="43"/>
                      <a:pt x="584" y="44"/>
                      <a:pt x="588" y="45"/>
                    </a:cubicBezTo>
                    <a:cubicBezTo>
                      <a:pt x="591" y="46"/>
                      <a:pt x="593" y="48"/>
                      <a:pt x="595" y="50"/>
                    </a:cubicBezTo>
                    <a:cubicBezTo>
                      <a:pt x="597" y="53"/>
                      <a:pt x="599" y="56"/>
                      <a:pt x="600" y="61"/>
                    </a:cubicBezTo>
                    <a:cubicBezTo>
                      <a:pt x="601" y="65"/>
                      <a:pt x="602" y="70"/>
                      <a:pt x="602" y="76"/>
                    </a:cubicBezTo>
                    <a:cubicBezTo>
                      <a:pt x="602" y="82"/>
                      <a:pt x="602" y="87"/>
                      <a:pt x="601" y="92"/>
                    </a:cubicBezTo>
                    <a:cubicBezTo>
                      <a:pt x="601" y="96"/>
                      <a:pt x="599" y="100"/>
                      <a:pt x="598" y="103"/>
                    </a:cubicBezTo>
                    <a:cubicBezTo>
                      <a:pt x="596" y="106"/>
                      <a:pt x="593" y="108"/>
                      <a:pt x="590" y="109"/>
                    </a:cubicBezTo>
                    <a:cubicBezTo>
                      <a:pt x="587" y="110"/>
                      <a:pt x="582" y="111"/>
                      <a:pt x="577" y="111"/>
                    </a:cubicBezTo>
                    <a:cubicBezTo>
                      <a:pt x="572" y="111"/>
                      <a:pt x="567" y="111"/>
                      <a:pt x="564" y="109"/>
                    </a:cubicBezTo>
                    <a:moveTo>
                      <a:pt x="577" y="36"/>
                    </a:moveTo>
                    <a:cubicBezTo>
                      <a:pt x="571" y="36"/>
                      <a:pt x="565" y="36"/>
                      <a:pt x="561" y="38"/>
                    </a:cubicBezTo>
                    <a:cubicBezTo>
                      <a:pt x="556" y="39"/>
                      <a:pt x="553" y="41"/>
                      <a:pt x="550" y="45"/>
                    </a:cubicBezTo>
                    <a:cubicBezTo>
                      <a:pt x="547" y="48"/>
                      <a:pt x="544" y="52"/>
                      <a:pt x="543" y="57"/>
                    </a:cubicBezTo>
                    <a:cubicBezTo>
                      <a:pt x="542" y="62"/>
                      <a:pt x="541" y="68"/>
                      <a:pt x="541" y="75"/>
                    </a:cubicBezTo>
                    <a:cubicBezTo>
                      <a:pt x="541" y="83"/>
                      <a:pt x="541" y="90"/>
                      <a:pt x="542" y="95"/>
                    </a:cubicBezTo>
                    <a:cubicBezTo>
                      <a:pt x="544" y="101"/>
                      <a:pt x="546" y="105"/>
                      <a:pt x="548" y="109"/>
                    </a:cubicBezTo>
                    <a:cubicBezTo>
                      <a:pt x="551" y="112"/>
                      <a:pt x="555" y="114"/>
                      <a:pt x="559" y="116"/>
                    </a:cubicBezTo>
                    <a:cubicBezTo>
                      <a:pt x="564" y="118"/>
                      <a:pt x="570" y="118"/>
                      <a:pt x="577" y="118"/>
                    </a:cubicBezTo>
                    <a:cubicBezTo>
                      <a:pt x="584" y="118"/>
                      <a:pt x="590" y="117"/>
                      <a:pt x="595" y="116"/>
                    </a:cubicBezTo>
                    <a:cubicBezTo>
                      <a:pt x="599" y="114"/>
                      <a:pt x="603" y="111"/>
                      <a:pt x="605" y="108"/>
                    </a:cubicBezTo>
                    <a:cubicBezTo>
                      <a:pt x="608" y="104"/>
                      <a:pt x="610" y="100"/>
                      <a:pt x="611" y="95"/>
                    </a:cubicBezTo>
                    <a:cubicBezTo>
                      <a:pt x="612" y="89"/>
                      <a:pt x="613" y="83"/>
                      <a:pt x="613" y="76"/>
                    </a:cubicBezTo>
                    <a:cubicBezTo>
                      <a:pt x="613" y="69"/>
                      <a:pt x="612" y="63"/>
                      <a:pt x="610" y="57"/>
                    </a:cubicBezTo>
                    <a:cubicBezTo>
                      <a:pt x="609" y="52"/>
                      <a:pt x="606" y="48"/>
                      <a:pt x="603" y="45"/>
                    </a:cubicBezTo>
                    <a:cubicBezTo>
                      <a:pt x="600" y="42"/>
                      <a:pt x="597" y="40"/>
                      <a:pt x="592" y="38"/>
                    </a:cubicBezTo>
                    <a:cubicBezTo>
                      <a:pt x="588" y="37"/>
                      <a:pt x="583" y="36"/>
                      <a:pt x="577" y="36"/>
                    </a:cubicBezTo>
                    <a:close/>
                    <a:moveTo>
                      <a:pt x="512" y="117"/>
                    </a:moveTo>
                    <a:cubicBezTo>
                      <a:pt x="522" y="117"/>
                      <a:pt x="522" y="117"/>
                      <a:pt x="522" y="117"/>
                    </a:cubicBezTo>
                    <a:cubicBezTo>
                      <a:pt x="522" y="37"/>
                      <a:pt x="522" y="37"/>
                      <a:pt x="522" y="37"/>
                    </a:cubicBezTo>
                    <a:cubicBezTo>
                      <a:pt x="512" y="37"/>
                      <a:pt x="512" y="37"/>
                      <a:pt x="512" y="37"/>
                    </a:cubicBezTo>
                    <a:lnTo>
                      <a:pt x="512" y="117"/>
                    </a:lnTo>
                    <a:close/>
                    <a:moveTo>
                      <a:pt x="512" y="17"/>
                    </a:moveTo>
                    <a:cubicBezTo>
                      <a:pt x="522" y="17"/>
                      <a:pt x="522" y="17"/>
                      <a:pt x="522" y="17"/>
                    </a:cubicBezTo>
                    <a:cubicBezTo>
                      <a:pt x="522" y="6"/>
                      <a:pt x="522" y="6"/>
                      <a:pt x="522" y="6"/>
                    </a:cubicBezTo>
                    <a:cubicBezTo>
                      <a:pt x="512" y="6"/>
                      <a:pt x="512" y="6"/>
                      <a:pt x="512" y="6"/>
                    </a:cubicBezTo>
                    <a:lnTo>
                      <a:pt x="512" y="17"/>
                    </a:lnTo>
                    <a:close/>
                    <a:moveTo>
                      <a:pt x="467" y="17"/>
                    </a:moveTo>
                    <a:cubicBezTo>
                      <a:pt x="467" y="37"/>
                      <a:pt x="467" y="37"/>
                      <a:pt x="467" y="37"/>
                    </a:cubicBezTo>
                    <a:cubicBezTo>
                      <a:pt x="450" y="37"/>
                      <a:pt x="450" y="37"/>
                      <a:pt x="450" y="37"/>
                    </a:cubicBezTo>
                    <a:cubicBezTo>
                      <a:pt x="450" y="45"/>
                      <a:pt x="450" y="45"/>
                      <a:pt x="450" y="45"/>
                    </a:cubicBezTo>
                    <a:cubicBezTo>
                      <a:pt x="467" y="45"/>
                      <a:pt x="467" y="45"/>
                      <a:pt x="467" y="45"/>
                    </a:cubicBezTo>
                    <a:cubicBezTo>
                      <a:pt x="467" y="92"/>
                      <a:pt x="467" y="92"/>
                      <a:pt x="467" y="92"/>
                    </a:cubicBezTo>
                    <a:cubicBezTo>
                      <a:pt x="467" y="96"/>
                      <a:pt x="467" y="101"/>
                      <a:pt x="468" y="104"/>
                    </a:cubicBezTo>
                    <a:cubicBezTo>
                      <a:pt x="468" y="107"/>
                      <a:pt x="469" y="110"/>
                      <a:pt x="470" y="112"/>
                    </a:cubicBezTo>
                    <a:cubicBezTo>
                      <a:pt x="471" y="114"/>
                      <a:pt x="473" y="116"/>
                      <a:pt x="475" y="117"/>
                    </a:cubicBezTo>
                    <a:cubicBezTo>
                      <a:pt x="478" y="118"/>
                      <a:pt x="481" y="118"/>
                      <a:pt x="484" y="118"/>
                    </a:cubicBezTo>
                    <a:cubicBezTo>
                      <a:pt x="486" y="118"/>
                      <a:pt x="487" y="118"/>
                      <a:pt x="488" y="118"/>
                    </a:cubicBezTo>
                    <a:cubicBezTo>
                      <a:pt x="490" y="118"/>
                      <a:pt x="492" y="117"/>
                      <a:pt x="495" y="117"/>
                    </a:cubicBezTo>
                    <a:cubicBezTo>
                      <a:pt x="496" y="110"/>
                      <a:pt x="496" y="110"/>
                      <a:pt x="496" y="110"/>
                    </a:cubicBezTo>
                    <a:cubicBezTo>
                      <a:pt x="494" y="110"/>
                      <a:pt x="492" y="110"/>
                      <a:pt x="490" y="111"/>
                    </a:cubicBezTo>
                    <a:cubicBezTo>
                      <a:pt x="489" y="111"/>
                      <a:pt x="487" y="111"/>
                      <a:pt x="486" y="111"/>
                    </a:cubicBezTo>
                    <a:cubicBezTo>
                      <a:pt x="485" y="111"/>
                      <a:pt x="485" y="111"/>
                      <a:pt x="485" y="111"/>
                    </a:cubicBezTo>
                    <a:cubicBezTo>
                      <a:pt x="484" y="111"/>
                      <a:pt x="482" y="111"/>
                      <a:pt x="481" y="110"/>
                    </a:cubicBezTo>
                    <a:cubicBezTo>
                      <a:pt x="480" y="110"/>
                      <a:pt x="479" y="109"/>
                      <a:pt x="479" y="107"/>
                    </a:cubicBezTo>
                    <a:cubicBezTo>
                      <a:pt x="478" y="106"/>
                      <a:pt x="478" y="104"/>
                      <a:pt x="478" y="101"/>
                    </a:cubicBezTo>
                    <a:cubicBezTo>
                      <a:pt x="477" y="99"/>
                      <a:pt x="477" y="96"/>
                      <a:pt x="477" y="92"/>
                    </a:cubicBezTo>
                    <a:cubicBezTo>
                      <a:pt x="477" y="45"/>
                      <a:pt x="477" y="45"/>
                      <a:pt x="477" y="45"/>
                    </a:cubicBezTo>
                    <a:cubicBezTo>
                      <a:pt x="496" y="45"/>
                      <a:pt x="496" y="45"/>
                      <a:pt x="496" y="45"/>
                    </a:cubicBezTo>
                    <a:cubicBezTo>
                      <a:pt x="496" y="37"/>
                      <a:pt x="496" y="37"/>
                      <a:pt x="496" y="37"/>
                    </a:cubicBezTo>
                    <a:cubicBezTo>
                      <a:pt x="477" y="37"/>
                      <a:pt x="477" y="37"/>
                      <a:pt x="477" y="37"/>
                    </a:cubicBezTo>
                    <a:cubicBezTo>
                      <a:pt x="477" y="17"/>
                      <a:pt x="477" y="17"/>
                      <a:pt x="477" y="17"/>
                    </a:cubicBezTo>
                    <a:lnTo>
                      <a:pt x="467" y="17"/>
                    </a:lnTo>
                    <a:close/>
                    <a:moveTo>
                      <a:pt x="429" y="117"/>
                    </a:moveTo>
                    <a:cubicBezTo>
                      <a:pt x="440" y="117"/>
                      <a:pt x="440" y="117"/>
                      <a:pt x="440" y="117"/>
                    </a:cubicBezTo>
                    <a:cubicBezTo>
                      <a:pt x="440" y="37"/>
                      <a:pt x="440" y="37"/>
                      <a:pt x="440" y="37"/>
                    </a:cubicBezTo>
                    <a:cubicBezTo>
                      <a:pt x="429" y="37"/>
                      <a:pt x="429" y="37"/>
                      <a:pt x="429" y="37"/>
                    </a:cubicBezTo>
                    <a:lnTo>
                      <a:pt x="429" y="117"/>
                    </a:lnTo>
                    <a:close/>
                    <a:moveTo>
                      <a:pt x="429" y="17"/>
                    </a:moveTo>
                    <a:cubicBezTo>
                      <a:pt x="440" y="17"/>
                      <a:pt x="440" y="17"/>
                      <a:pt x="440" y="17"/>
                    </a:cubicBezTo>
                    <a:cubicBezTo>
                      <a:pt x="440" y="6"/>
                      <a:pt x="440" y="6"/>
                      <a:pt x="440" y="6"/>
                    </a:cubicBezTo>
                    <a:cubicBezTo>
                      <a:pt x="429" y="6"/>
                      <a:pt x="429" y="6"/>
                      <a:pt x="429" y="6"/>
                    </a:cubicBezTo>
                    <a:lnTo>
                      <a:pt x="429" y="17"/>
                    </a:lnTo>
                    <a:close/>
                    <a:moveTo>
                      <a:pt x="353" y="47"/>
                    </a:moveTo>
                    <a:cubicBezTo>
                      <a:pt x="356" y="46"/>
                      <a:pt x="359" y="45"/>
                      <a:pt x="363" y="44"/>
                    </a:cubicBezTo>
                    <a:cubicBezTo>
                      <a:pt x="367" y="43"/>
                      <a:pt x="372" y="43"/>
                      <a:pt x="376" y="43"/>
                    </a:cubicBezTo>
                    <a:cubicBezTo>
                      <a:pt x="380" y="43"/>
                      <a:pt x="384" y="43"/>
                      <a:pt x="387" y="45"/>
                    </a:cubicBezTo>
                    <a:cubicBezTo>
                      <a:pt x="390" y="46"/>
                      <a:pt x="392" y="48"/>
                      <a:pt x="393" y="50"/>
                    </a:cubicBezTo>
                    <a:cubicBezTo>
                      <a:pt x="395" y="53"/>
                      <a:pt x="396" y="56"/>
                      <a:pt x="396" y="61"/>
                    </a:cubicBezTo>
                    <a:cubicBezTo>
                      <a:pt x="397" y="65"/>
                      <a:pt x="397" y="70"/>
                      <a:pt x="397" y="75"/>
                    </a:cubicBezTo>
                    <a:cubicBezTo>
                      <a:pt x="397" y="81"/>
                      <a:pt x="397" y="86"/>
                      <a:pt x="396" y="91"/>
                    </a:cubicBezTo>
                    <a:cubicBezTo>
                      <a:pt x="396" y="95"/>
                      <a:pt x="394" y="99"/>
                      <a:pt x="392" y="102"/>
                    </a:cubicBezTo>
                    <a:cubicBezTo>
                      <a:pt x="390" y="105"/>
                      <a:pt x="387" y="107"/>
                      <a:pt x="383" y="108"/>
                    </a:cubicBezTo>
                    <a:cubicBezTo>
                      <a:pt x="379" y="110"/>
                      <a:pt x="374" y="111"/>
                      <a:pt x="367" y="111"/>
                    </a:cubicBezTo>
                    <a:cubicBezTo>
                      <a:pt x="365" y="111"/>
                      <a:pt x="363" y="111"/>
                      <a:pt x="361" y="111"/>
                    </a:cubicBezTo>
                    <a:cubicBezTo>
                      <a:pt x="358" y="110"/>
                      <a:pt x="356" y="110"/>
                      <a:pt x="353" y="110"/>
                    </a:cubicBezTo>
                    <a:lnTo>
                      <a:pt x="353" y="47"/>
                    </a:lnTo>
                    <a:close/>
                    <a:moveTo>
                      <a:pt x="343" y="5"/>
                    </a:moveTo>
                    <a:cubicBezTo>
                      <a:pt x="343" y="117"/>
                      <a:pt x="343" y="117"/>
                      <a:pt x="343" y="117"/>
                    </a:cubicBezTo>
                    <a:cubicBezTo>
                      <a:pt x="346" y="117"/>
                      <a:pt x="350" y="117"/>
                      <a:pt x="354" y="118"/>
                    </a:cubicBezTo>
                    <a:cubicBezTo>
                      <a:pt x="358" y="118"/>
                      <a:pt x="362" y="118"/>
                      <a:pt x="366" y="118"/>
                    </a:cubicBezTo>
                    <a:cubicBezTo>
                      <a:pt x="374" y="118"/>
                      <a:pt x="381" y="117"/>
                      <a:pt x="387" y="116"/>
                    </a:cubicBezTo>
                    <a:cubicBezTo>
                      <a:pt x="392" y="114"/>
                      <a:pt x="397" y="111"/>
                      <a:pt x="400" y="108"/>
                    </a:cubicBezTo>
                    <a:cubicBezTo>
                      <a:pt x="403" y="104"/>
                      <a:pt x="405" y="100"/>
                      <a:pt x="406" y="94"/>
                    </a:cubicBezTo>
                    <a:cubicBezTo>
                      <a:pt x="407" y="89"/>
                      <a:pt x="408" y="83"/>
                      <a:pt x="408" y="75"/>
                    </a:cubicBezTo>
                    <a:cubicBezTo>
                      <a:pt x="408" y="69"/>
                      <a:pt x="407" y="63"/>
                      <a:pt x="406" y="58"/>
                    </a:cubicBezTo>
                    <a:cubicBezTo>
                      <a:pt x="405" y="53"/>
                      <a:pt x="404" y="49"/>
                      <a:pt x="401" y="45"/>
                    </a:cubicBezTo>
                    <a:cubicBezTo>
                      <a:pt x="399" y="42"/>
                      <a:pt x="396" y="40"/>
                      <a:pt x="392" y="38"/>
                    </a:cubicBezTo>
                    <a:cubicBezTo>
                      <a:pt x="388" y="37"/>
                      <a:pt x="382" y="36"/>
                      <a:pt x="376" y="36"/>
                    </a:cubicBezTo>
                    <a:cubicBezTo>
                      <a:pt x="372" y="36"/>
                      <a:pt x="367" y="36"/>
                      <a:pt x="363" y="37"/>
                    </a:cubicBezTo>
                    <a:cubicBezTo>
                      <a:pt x="359" y="38"/>
                      <a:pt x="356" y="39"/>
                      <a:pt x="353" y="40"/>
                    </a:cubicBezTo>
                    <a:cubicBezTo>
                      <a:pt x="353" y="5"/>
                      <a:pt x="353" y="5"/>
                      <a:pt x="353" y="5"/>
                    </a:cubicBezTo>
                    <a:lnTo>
                      <a:pt x="343" y="5"/>
                    </a:lnTo>
                    <a:close/>
                    <a:moveTo>
                      <a:pt x="201" y="117"/>
                    </a:moveTo>
                    <a:cubicBezTo>
                      <a:pt x="212" y="117"/>
                      <a:pt x="212" y="117"/>
                      <a:pt x="212" y="117"/>
                    </a:cubicBezTo>
                    <a:cubicBezTo>
                      <a:pt x="212" y="47"/>
                      <a:pt x="212" y="47"/>
                      <a:pt x="212" y="47"/>
                    </a:cubicBezTo>
                    <a:cubicBezTo>
                      <a:pt x="215" y="46"/>
                      <a:pt x="218" y="45"/>
                      <a:pt x="222" y="44"/>
                    </a:cubicBezTo>
                    <a:cubicBezTo>
                      <a:pt x="226" y="43"/>
                      <a:pt x="230" y="43"/>
                      <a:pt x="235" y="43"/>
                    </a:cubicBezTo>
                    <a:cubicBezTo>
                      <a:pt x="239" y="43"/>
                      <a:pt x="242" y="43"/>
                      <a:pt x="245" y="45"/>
                    </a:cubicBezTo>
                    <a:cubicBezTo>
                      <a:pt x="248" y="46"/>
                      <a:pt x="250" y="48"/>
                      <a:pt x="252" y="50"/>
                    </a:cubicBezTo>
                    <a:cubicBezTo>
                      <a:pt x="253" y="53"/>
                      <a:pt x="254" y="56"/>
                      <a:pt x="255" y="60"/>
                    </a:cubicBezTo>
                    <a:cubicBezTo>
                      <a:pt x="255" y="64"/>
                      <a:pt x="256" y="69"/>
                      <a:pt x="256" y="75"/>
                    </a:cubicBezTo>
                    <a:cubicBezTo>
                      <a:pt x="256" y="117"/>
                      <a:pt x="256" y="117"/>
                      <a:pt x="256" y="117"/>
                    </a:cubicBezTo>
                    <a:cubicBezTo>
                      <a:pt x="267" y="117"/>
                      <a:pt x="267" y="117"/>
                      <a:pt x="267" y="117"/>
                    </a:cubicBezTo>
                    <a:cubicBezTo>
                      <a:pt x="267" y="75"/>
                      <a:pt x="267" y="75"/>
                      <a:pt x="267" y="75"/>
                    </a:cubicBezTo>
                    <a:cubicBezTo>
                      <a:pt x="267" y="69"/>
                      <a:pt x="266" y="64"/>
                      <a:pt x="266" y="59"/>
                    </a:cubicBezTo>
                    <a:cubicBezTo>
                      <a:pt x="265" y="55"/>
                      <a:pt x="264" y="51"/>
                      <a:pt x="262" y="48"/>
                    </a:cubicBezTo>
                    <a:cubicBezTo>
                      <a:pt x="267" y="46"/>
                      <a:pt x="272" y="45"/>
                      <a:pt x="276" y="44"/>
                    </a:cubicBezTo>
                    <a:cubicBezTo>
                      <a:pt x="280" y="43"/>
                      <a:pt x="284" y="43"/>
                      <a:pt x="289" y="43"/>
                    </a:cubicBezTo>
                    <a:cubicBezTo>
                      <a:pt x="293" y="43"/>
                      <a:pt x="297" y="43"/>
                      <a:pt x="300" y="45"/>
                    </a:cubicBezTo>
                    <a:cubicBezTo>
                      <a:pt x="303" y="46"/>
                      <a:pt x="305" y="48"/>
                      <a:pt x="306" y="50"/>
                    </a:cubicBezTo>
                    <a:cubicBezTo>
                      <a:pt x="308" y="53"/>
                      <a:pt x="309" y="56"/>
                      <a:pt x="309" y="60"/>
                    </a:cubicBezTo>
                    <a:cubicBezTo>
                      <a:pt x="310" y="64"/>
                      <a:pt x="310" y="69"/>
                      <a:pt x="310" y="75"/>
                    </a:cubicBezTo>
                    <a:cubicBezTo>
                      <a:pt x="310" y="117"/>
                      <a:pt x="310" y="117"/>
                      <a:pt x="310" y="117"/>
                    </a:cubicBezTo>
                    <a:cubicBezTo>
                      <a:pt x="321" y="117"/>
                      <a:pt x="321" y="117"/>
                      <a:pt x="321" y="117"/>
                    </a:cubicBezTo>
                    <a:cubicBezTo>
                      <a:pt x="321" y="75"/>
                      <a:pt x="321" y="75"/>
                      <a:pt x="321" y="75"/>
                    </a:cubicBezTo>
                    <a:cubicBezTo>
                      <a:pt x="321" y="68"/>
                      <a:pt x="321" y="63"/>
                      <a:pt x="320" y="58"/>
                    </a:cubicBezTo>
                    <a:cubicBezTo>
                      <a:pt x="319" y="53"/>
                      <a:pt x="317" y="48"/>
                      <a:pt x="315" y="45"/>
                    </a:cubicBezTo>
                    <a:cubicBezTo>
                      <a:pt x="312" y="42"/>
                      <a:pt x="309" y="40"/>
                      <a:pt x="305" y="38"/>
                    </a:cubicBezTo>
                    <a:cubicBezTo>
                      <a:pt x="301" y="36"/>
                      <a:pt x="296" y="36"/>
                      <a:pt x="289" y="36"/>
                    </a:cubicBezTo>
                    <a:cubicBezTo>
                      <a:pt x="287" y="36"/>
                      <a:pt x="284" y="36"/>
                      <a:pt x="282" y="36"/>
                    </a:cubicBezTo>
                    <a:cubicBezTo>
                      <a:pt x="279" y="36"/>
                      <a:pt x="277" y="36"/>
                      <a:pt x="274" y="37"/>
                    </a:cubicBezTo>
                    <a:cubicBezTo>
                      <a:pt x="272" y="37"/>
                      <a:pt x="269" y="38"/>
                      <a:pt x="266" y="39"/>
                    </a:cubicBezTo>
                    <a:cubicBezTo>
                      <a:pt x="263" y="40"/>
                      <a:pt x="260" y="41"/>
                      <a:pt x="257" y="42"/>
                    </a:cubicBezTo>
                    <a:cubicBezTo>
                      <a:pt x="252" y="38"/>
                      <a:pt x="245" y="35"/>
                      <a:pt x="235" y="35"/>
                    </a:cubicBezTo>
                    <a:cubicBezTo>
                      <a:pt x="229" y="35"/>
                      <a:pt x="224" y="36"/>
                      <a:pt x="219" y="37"/>
                    </a:cubicBezTo>
                    <a:cubicBezTo>
                      <a:pt x="214" y="38"/>
                      <a:pt x="208" y="40"/>
                      <a:pt x="201" y="42"/>
                    </a:cubicBezTo>
                    <a:lnTo>
                      <a:pt x="201" y="117"/>
                    </a:lnTo>
                    <a:close/>
                    <a:moveTo>
                      <a:pt x="169" y="107"/>
                    </a:moveTo>
                    <a:cubicBezTo>
                      <a:pt x="166" y="108"/>
                      <a:pt x="162" y="108"/>
                      <a:pt x="157" y="109"/>
                    </a:cubicBezTo>
                    <a:cubicBezTo>
                      <a:pt x="152" y="110"/>
                      <a:pt x="147" y="111"/>
                      <a:pt x="142" y="111"/>
                    </a:cubicBezTo>
                    <a:cubicBezTo>
                      <a:pt x="138" y="111"/>
                      <a:pt x="134" y="109"/>
                      <a:pt x="132" y="106"/>
                    </a:cubicBezTo>
                    <a:cubicBezTo>
                      <a:pt x="129" y="103"/>
                      <a:pt x="128" y="99"/>
                      <a:pt x="128" y="94"/>
                    </a:cubicBezTo>
                    <a:cubicBezTo>
                      <a:pt x="128" y="90"/>
                      <a:pt x="129" y="86"/>
                      <a:pt x="132" y="83"/>
                    </a:cubicBezTo>
                    <a:cubicBezTo>
                      <a:pt x="134" y="80"/>
                      <a:pt x="138" y="78"/>
                      <a:pt x="144" y="78"/>
                    </a:cubicBezTo>
                    <a:cubicBezTo>
                      <a:pt x="169" y="76"/>
                      <a:pt x="169" y="76"/>
                      <a:pt x="169" y="76"/>
                    </a:cubicBezTo>
                    <a:lnTo>
                      <a:pt x="169" y="107"/>
                    </a:lnTo>
                    <a:close/>
                    <a:moveTo>
                      <a:pt x="125" y="45"/>
                    </a:moveTo>
                    <a:cubicBezTo>
                      <a:pt x="130" y="45"/>
                      <a:pt x="134" y="44"/>
                      <a:pt x="139" y="44"/>
                    </a:cubicBezTo>
                    <a:cubicBezTo>
                      <a:pt x="144" y="43"/>
                      <a:pt x="148" y="43"/>
                      <a:pt x="152" y="43"/>
                    </a:cubicBezTo>
                    <a:cubicBezTo>
                      <a:pt x="158" y="43"/>
                      <a:pt x="162" y="45"/>
                      <a:pt x="165" y="47"/>
                    </a:cubicBezTo>
                    <a:cubicBezTo>
                      <a:pt x="168" y="50"/>
                      <a:pt x="169" y="54"/>
                      <a:pt x="169" y="61"/>
                    </a:cubicBezTo>
                    <a:cubicBezTo>
                      <a:pt x="169" y="69"/>
                      <a:pt x="169" y="69"/>
                      <a:pt x="169" y="69"/>
                    </a:cubicBezTo>
                    <a:cubicBezTo>
                      <a:pt x="143" y="71"/>
                      <a:pt x="143" y="71"/>
                      <a:pt x="143" y="71"/>
                    </a:cubicBezTo>
                    <a:cubicBezTo>
                      <a:pt x="134" y="72"/>
                      <a:pt x="127" y="74"/>
                      <a:pt x="123" y="78"/>
                    </a:cubicBezTo>
                    <a:cubicBezTo>
                      <a:pt x="119" y="82"/>
                      <a:pt x="117" y="88"/>
                      <a:pt x="117" y="94"/>
                    </a:cubicBezTo>
                    <a:cubicBezTo>
                      <a:pt x="117" y="102"/>
                      <a:pt x="120" y="108"/>
                      <a:pt x="124" y="112"/>
                    </a:cubicBezTo>
                    <a:cubicBezTo>
                      <a:pt x="128" y="116"/>
                      <a:pt x="134" y="118"/>
                      <a:pt x="142" y="118"/>
                    </a:cubicBezTo>
                    <a:cubicBezTo>
                      <a:pt x="150" y="118"/>
                      <a:pt x="157" y="117"/>
                      <a:pt x="163" y="116"/>
                    </a:cubicBezTo>
                    <a:cubicBezTo>
                      <a:pt x="169" y="114"/>
                      <a:pt x="175" y="113"/>
                      <a:pt x="180" y="111"/>
                    </a:cubicBezTo>
                    <a:cubicBezTo>
                      <a:pt x="180" y="61"/>
                      <a:pt x="180" y="61"/>
                      <a:pt x="180" y="61"/>
                    </a:cubicBezTo>
                    <a:cubicBezTo>
                      <a:pt x="180" y="53"/>
                      <a:pt x="177" y="46"/>
                      <a:pt x="173" y="42"/>
                    </a:cubicBezTo>
                    <a:cubicBezTo>
                      <a:pt x="169" y="38"/>
                      <a:pt x="162" y="36"/>
                      <a:pt x="152" y="36"/>
                    </a:cubicBezTo>
                    <a:cubicBezTo>
                      <a:pt x="147" y="36"/>
                      <a:pt x="143" y="36"/>
                      <a:pt x="138" y="36"/>
                    </a:cubicBezTo>
                    <a:cubicBezTo>
                      <a:pt x="133" y="37"/>
                      <a:pt x="128" y="37"/>
                      <a:pt x="123" y="38"/>
                    </a:cubicBezTo>
                    <a:lnTo>
                      <a:pt x="125" y="45"/>
                    </a:lnTo>
                    <a:close/>
                    <a:moveTo>
                      <a:pt x="81" y="34"/>
                    </a:moveTo>
                    <a:cubicBezTo>
                      <a:pt x="91" y="34"/>
                      <a:pt x="91" y="34"/>
                      <a:pt x="91" y="34"/>
                    </a:cubicBezTo>
                    <a:cubicBezTo>
                      <a:pt x="100" y="0"/>
                      <a:pt x="100" y="0"/>
                      <a:pt x="100" y="0"/>
                    </a:cubicBezTo>
                    <a:cubicBezTo>
                      <a:pt x="89" y="0"/>
                      <a:pt x="89" y="0"/>
                      <a:pt x="89" y="0"/>
                    </a:cubicBezTo>
                    <a:lnTo>
                      <a:pt x="81" y="34"/>
                    </a:lnTo>
                    <a:close/>
                    <a:moveTo>
                      <a:pt x="70" y="117"/>
                    </a:moveTo>
                    <a:cubicBezTo>
                      <a:pt x="70" y="109"/>
                      <a:pt x="70" y="109"/>
                      <a:pt x="70" y="109"/>
                    </a:cubicBezTo>
                    <a:cubicBezTo>
                      <a:pt x="11" y="109"/>
                      <a:pt x="11" y="109"/>
                      <a:pt x="11" y="109"/>
                    </a:cubicBezTo>
                    <a:cubicBezTo>
                      <a:pt x="11" y="5"/>
                      <a:pt x="11" y="5"/>
                      <a:pt x="11" y="5"/>
                    </a:cubicBezTo>
                    <a:cubicBezTo>
                      <a:pt x="0" y="5"/>
                      <a:pt x="0" y="5"/>
                      <a:pt x="0" y="5"/>
                    </a:cubicBezTo>
                    <a:cubicBezTo>
                      <a:pt x="0" y="117"/>
                      <a:pt x="0" y="117"/>
                      <a:pt x="0" y="117"/>
                    </a:cubicBezTo>
                    <a:lnTo>
                      <a:pt x="70" y="117"/>
                    </a:lnTo>
                    <a:close/>
                  </a:path>
                </a:pathLst>
              </a:custGeom>
              <a:solidFill>
                <a:srgbClr val="225696"/>
              </a:solidFill>
              <a:ln w="9525">
                <a:noFill/>
                <a:round/>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sp>
            <p:nvSpPr>
              <p:cNvPr id="12" name="Freeform 22"/>
              <p:cNvSpPr>
                <a:spLocks noEditPoints="1"/>
              </p:cNvSpPr>
              <p:nvPr userDrawn="1"/>
            </p:nvSpPr>
            <p:spPr bwMode="auto">
              <a:xfrm>
                <a:off x="3825875" y="2044700"/>
                <a:ext cx="1347788" cy="114300"/>
              </a:xfrm>
              <a:custGeom>
                <a:avLst/>
                <a:gdLst/>
                <a:ahLst/>
                <a:cxnLst>
                  <a:cxn ang="0">
                    <a:pos x="1726" y="117"/>
                  </a:cxn>
                  <a:cxn ang="0">
                    <a:pos x="1670" y="43"/>
                  </a:cxn>
                  <a:cxn ang="0">
                    <a:pos x="1648" y="17"/>
                  </a:cxn>
                  <a:cxn ang="0">
                    <a:pos x="1557" y="60"/>
                  </a:cxn>
                  <a:cxn ang="0">
                    <a:pos x="1605" y="92"/>
                  </a:cxn>
                  <a:cxn ang="0">
                    <a:pos x="1547" y="57"/>
                  </a:cxn>
                  <a:cxn ang="0">
                    <a:pos x="1615" y="95"/>
                  </a:cxn>
                  <a:cxn ang="0">
                    <a:pos x="1526" y="5"/>
                  </a:cxn>
                  <a:cxn ang="0">
                    <a:pos x="1448" y="114"/>
                  </a:cxn>
                  <a:cxn ang="0">
                    <a:pos x="1430" y="69"/>
                  </a:cxn>
                  <a:cxn ang="0">
                    <a:pos x="1456" y="44"/>
                  </a:cxn>
                  <a:cxn ang="0">
                    <a:pos x="1411" y="46"/>
                  </a:cxn>
                  <a:cxn ang="0">
                    <a:pos x="1435" y="83"/>
                  </a:cxn>
                  <a:cxn ang="0">
                    <a:pos x="1431" y="111"/>
                  </a:cxn>
                  <a:cxn ang="0">
                    <a:pos x="1369" y="110"/>
                  </a:cxn>
                  <a:cxn ang="0">
                    <a:pos x="1332" y="109"/>
                  </a:cxn>
                  <a:cxn ang="0">
                    <a:pos x="1304" y="5"/>
                  </a:cxn>
                  <a:cxn ang="0">
                    <a:pos x="1261" y="63"/>
                  </a:cxn>
                  <a:cxn ang="0">
                    <a:pos x="1218" y="44"/>
                  </a:cxn>
                  <a:cxn ang="0">
                    <a:pos x="1271" y="60"/>
                  </a:cxn>
                  <a:cxn ang="0">
                    <a:pos x="1218" y="114"/>
                  </a:cxn>
                  <a:cxn ang="0">
                    <a:pos x="1155" y="36"/>
                  </a:cxn>
                  <a:cxn ang="0">
                    <a:pos x="1059" y="43"/>
                  </a:cxn>
                  <a:cxn ang="0">
                    <a:pos x="1060" y="111"/>
                  </a:cxn>
                  <a:cxn ang="0">
                    <a:pos x="1059" y="36"/>
                  </a:cxn>
                  <a:cxn ang="0">
                    <a:pos x="1060" y="118"/>
                  </a:cxn>
                  <a:cxn ang="0">
                    <a:pos x="1007" y="5"/>
                  </a:cxn>
                  <a:cxn ang="0">
                    <a:pos x="930" y="107"/>
                  </a:cxn>
                  <a:cxn ang="0">
                    <a:pos x="930" y="107"/>
                  </a:cxn>
                  <a:cxn ang="0">
                    <a:pos x="885" y="78"/>
                  </a:cxn>
                  <a:cxn ang="0">
                    <a:pos x="913" y="36"/>
                  </a:cxn>
                  <a:cxn ang="0">
                    <a:pos x="842" y="34"/>
                  </a:cxn>
                  <a:cxn ang="0">
                    <a:pos x="768" y="61"/>
                  </a:cxn>
                  <a:cxn ang="0">
                    <a:pos x="801" y="37"/>
                  </a:cxn>
                  <a:cxn ang="0">
                    <a:pos x="778" y="116"/>
                  </a:cxn>
                  <a:cxn ang="0">
                    <a:pos x="643" y="117"/>
                  </a:cxn>
                  <a:cxn ang="0">
                    <a:pos x="700" y="75"/>
                  </a:cxn>
                  <a:cxn ang="0">
                    <a:pos x="564" y="109"/>
                  </a:cxn>
                  <a:cxn ang="0">
                    <a:pos x="588" y="45"/>
                  </a:cxn>
                  <a:cxn ang="0">
                    <a:pos x="564" y="109"/>
                  </a:cxn>
                  <a:cxn ang="0">
                    <a:pos x="559" y="116"/>
                  </a:cxn>
                  <a:cxn ang="0">
                    <a:pos x="592" y="38"/>
                  </a:cxn>
                  <a:cxn ang="0">
                    <a:pos x="522" y="17"/>
                  </a:cxn>
                  <a:cxn ang="0">
                    <a:pos x="467" y="45"/>
                  </a:cxn>
                  <a:cxn ang="0">
                    <a:pos x="496" y="110"/>
                  </a:cxn>
                  <a:cxn ang="0">
                    <a:pos x="477" y="45"/>
                  </a:cxn>
                  <a:cxn ang="0">
                    <a:pos x="440" y="37"/>
                  </a:cxn>
                  <a:cxn ang="0">
                    <a:pos x="353" y="47"/>
                  </a:cxn>
                  <a:cxn ang="0">
                    <a:pos x="392" y="102"/>
                  </a:cxn>
                  <a:cxn ang="0">
                    <a:pos x="354" y="118"/>
                  </a:cxn>
                  <a:cxn ang="0">
                    <a:pos x="392" y="38"/>
                  </a:cxn>
                  <a:cxn ang="0">
                    <a:pos x="212" y="47"/>
                  </a:cxn>
                  <a:cxn ang="0">
                    <a:pos x="267" y="117"/>
                  </a:cxn>
                  <a:cxn ang="0">
                    <a:pos x="309" y="60"/>
                  </a:cxn>
                  <a:cxn ang="0">
                    <a:pos x="289" y="36"/>
                  </a:cxn>
                  <a:cxn ang="0">
                    <a:pos x="201" y="117"/>
                  </a:cxn>
                  <a:cxn ang="0">
                    <a:pos x="169" y="76"/>
                  </a:cxn>
                  <a:cxn ang="0">
                    <a:pos x="143" y="71"/>
                  </a:cxn>
                  <a:cxn ang="0">
                    <a:pos x="173" y="42"/>
                  </a:cxn>
                  <a:cxn ang="0">
                    <a:pos x="89" y="0"/>
                  </a:cxn>
                  <a:cxn ang="0">
                    <a:pos x="70" y="117"/>
                  </a:cxn>
                </a:cxnLst>
                <a:rect l="0" t="0" r="r" b="b"/>
                <a:pathLst>
                  <a:path w="1737" h="148">
                    <a:moveTo>
                      <a:pt x="1670" y="117"/>
                    </a:moveTo>
                    <a:cubicBezTo>
                      <a:pt x="1680" y="117"/>
                      <a:pt x="1680" y="117"/>
                      <a:pt x="1680" y="117"/>
                    </a:cubicBezTo>
                    <a:cubicBezTo>
                      <a:pt x="1680" y="47"/>
                      <a:pt x="1680" y="47"/>
                      <a:pt x="1680" y="47"/>
                    </a:cubicBezTo>
                    <a:cubicBezTo>
                      <a:pt x="1683" y="46"/>
                      <a:pt x="1686" y="45"/>
                      <a:pt x="1690" y="44"/>
                    </a:cubicBezTo>
                    <a:cubicBezTo>
                      <a:pt x="1694" y="43"/>
                      <a:pt x="1698" y="43"/>
                      <a:pt x="1703" y="43"/>
                    </a:cubicBezTo>
                    <a:cubicBezTo>
                      <a:pt x="1712" y="43"/>
                      <a:pt x="1718" y="45"/>
                      <a:pt x="1721" y="51"/>
                    </a:cubicBezTo>
                    <a:cubicBezTo>
                      <a:pt x="1725" y="56"/>
                      <a:pt x="1726" y="64"/>
                      <a:pt x="1726" y="75"/>
                    </a:cubicBezTo>
                    <a:cubicBezTo>
                      <a:pt x="1726" y="117"/>
                      <a:pt x="1726" y="117"/>
                      <a:pt x="1726" y="117"/>
                    </a:cubicBezTo>
                    <a:cubicBezTo>
                      <a:pt x="1737" y="117"/>
                      <a:pt x="1737" y="117"/>
                      <a:pt x="1737" y="117"/>
                    </a:cubicBezTo>
                    <a:cubicBezTo>
                      <a:pt x="1737" y="75"/>
                      <a:pt x="1737" y="75"/>
                      <a:pt x="1737" y="75"/>
                    </a:cubicBezTo>
                    <a:cubicBezTo>
                      <a:pt x="1737" y="69"/>
                      <a:pt x="1737" y="63"/>
                      <a:pt x="1736" y="58"/>
                    </a:cubicBezTo>
                    <a:cubicBezTo>
                      <a:pt x="1734" y="53"/>
                      <a:pt x="1732" y="49"/>
                      <a:pt x="1730" y="45"/>
                    </a:cubicBezTo>
                    <a:cubicBezTo>
                      <a:pt x="1727" y="42"/>
                      <a:pt x="1723" y="40"/>
                      <a:pt x="1719" y="38"/>
                    </a:cubicBezTo>
                    <a:cubicBezTo>
                      <a:pt x="1715" y="37"/>
                      <a:pt x="1709" y="36"/>
                      <a:pt x="1703" y="36"/>
                    </a:cubicBezTo>
                    <a:cubicBezTo>
                      <a:pt x="1697" y="36"/>
                      <a:pt x="1692" y="36"/>
                      <a:pt x="1686" y="37"/>
                    </a:cubicBezTo>
                    <a:cubicBezTo>
                      <a:pt x="1681" y="39"/>
                      <a:pt x="1676" y="40"/>
                      <a:pt x="1670" y="43"/>
                    </a:cubicBezTo>
                    <a:lnTo>
                      <a:pt x="1670" y="117"/>
                    </a:lnTo>
                    <a:close/>
                    <a:moveTo>
                      <a:pt x="1637" y="117"/>
                    </a:moveTo>
                    <a:cubicBezTo>
                      <a:pt x="1648" y="117"/>
                      <a:pt x="1648" y="117"/>
                      <a:pt x="1648" y="117"/>
                    </a:cubicBezTo>
                    <a:cubicBezTo>
                      <a:pt x="1648" y="37"/>
                      <a:pt x="1648" y="37"/>
                      <a:pt x="1648" y="37"/>
                    </a:cubicBezTo>
                    <a:cubicBezTo>
                      <a:pt x="1637" y="37"/>
                      <a:pt x="1637" y="37"/>
                      <a:pt x="1637" y="37"/>
                    </a:cubicBezTo>
                    <a:lnTo>
                      <a:pt x="1637" y="117"/>
                    </a:lnTo>
                    <a:close/>
                    <a:moveTo>
                      <a:pt x="1637" y="17"/>
                    </a:moveTo>
                    <a:cubicBezTo>
                      <a:pt x="1648" y="17"/>
                      <a:pt x="1648" y="17"/>
                      <a:pt x="1648" y="17"/>
                    </a:cubicBezTo>
                    <a:cubicBezTo>
                      <a:pt x="1648" y="6"/>
                      <a:pt x="1648" y="6"/>
                      <a:pt x="1648" y="6"/>
                    </a:cubicBezTo>
                    <a:cubicBezTo>
                      <a:pt x="1637" y="6"/>
                      <a:pt x="1637" y="6"/>
                      <a:pt x="1637" y="6"/>
                    </a:cubicBezTo>
                    <a:lnTo>
                      <a:pt x="1637" y="17"/>
                    </a:lnTo>
                    <a:close/>
                    <a:moveTo>
                      <a:pt x="1568" y="109"/>
                    </a:moveTo>
                    <a:cubicBezTo>
                      <a:pt x="1565" y="108"/>
                      <a:pt x="1562" y="106"/>
                      <a:pt x="1560" y="103"/>
                    </a:cubicBezTo>
                    <a:cubicBezTo>
                      <a:pt x="1558" y="100"/>
                      <a:pt x="1557" y="97"/>
                      <a:pt x="1556" y="92"/>
                    </a:cubicBezTo>
                    <a:cubicBezTo>
                      <a:pt x="1556" y="88"/>
                      <a:pt x="1556" y="82"/>
                      <a:pt x="1556" y="76"/>
                    </a:cubicBezTo>
                    <a:cubicBezTo>
                      <a:pt x="1556" y="69"/>
                      <a:pt x="1556" y="64"/>
                      <a:pt x="1557" y="60"/>
                    </a:cubicBezTo>
                    <a:cubicBezTo>
                      <a:pt x="1558" y="56"/>
                      <a:pt x="1559" y="52"/>
                      <a:pt x="1561" y="50"/>
                    </a:cubicBezTo>
                    <a:cubicBezTo>
                      <a:pt x="1563" y="47"/>
                      <a:pt x="1566" y="46"/>
                      <a:pt x="1569" y="45"/>
                    </a:cubicBezTo>
                    <a:cubicBezTo>
                      <a:pt x="1572" y="44"/>
                      <a:pt x="1576" y="43"/>
                      <a:pt x="1581" y="43"/>
                    </a:cubicBezTo>
                    <a:cubicBezTo>
                      <a:pt x="1585" y="43"/>
                      <a:pt x="1588" y="44"/>
                      <a:pt x="1592" y="45"/>
                    </a:cubicBezTo>
                    <a:cubicBezTo>
                      <a:pt x="1595" y="46"/>
                      <a:pt x="1597" y="48"/>
                      <a:pt x="1599" y="50"/>
                    </a:cubicBezTo>
                    <a:cubicBezTo>
                      <a:pt x="1602" y="53"/>
                      <a:pt x="1603" y="56"/>
                      <a:pt x="1604" y="61"/>
                    </a:cubicBezTo>
                    <a:cubicBezTo>
                      <a:pt x="1605" y="65"/>
                      <a:pt x="1606" y="70"/>
                      <a:pt x="1606" y="76"/>
                    </a:cubicBezTo>
                    <a:cubicBezTo>
                      <a:pt x="1606" y="82"/>
                      <a:pt x="1606" y="87"/>
                      <a:pt x="1605" y="92"/>
                    </a:cubicBezTo>
                    <a:cubicBezTo>
                      <a:pt x="1605" y="96"/>
                      <a:pt x="1603" y="100"/>
                      <a:pt x="1602" y="103"/>
                    </a:cubicBezTo>
                    <a:cubicBezTo>
                      <a:pt x="1600" y="106"/>
                      <a:pt x="1597" y="108"/>
                      <a:pt x="1594" y="109"/>
                    </a:cubicBezTo>
                    <a:cubicBezTo>
                      <a:pt x="1591" y="110"/>
                      <a:pt x="1587" y="111"/>
                      <a:pt x="1581" y="111"/>
                    </a:cubicBezTo>
                    <a:cubicBezTo>
                      <a:pt x="1576" y="111"/>
                      <a:pt x="1571" y="111"/>
                      <a:pt x="1568" y="109"/>
                    </a:cubicBezTo>
                    <a:close/>
                    <a:moveTo>
                      <a:pt x="1581" y="36"/>
                    </a:moveTo>
                    <a:cubicBezTo>
                      <a:pt x="1575" y="36"/>
                      <a:pt x="1569" y="36"/>
                      <a:pt x="1565" y="38"/>
                    </a:cubicBezTo>
                    <a:cubicBezTo>
                      <a:pt x="1560" y="39"/>
                      <a:pt x="1557" y="41"/>
                      <a:pt x="1554" y="45"/>
                    </a:cubicBezTo>
                    <a:cubicBezTo>
                      <a:pt x="1551" y="48"/>
                      <a:pt x="1548" y="52"/>
                      <a:pt x="1547" y="57"/>
                    </a:cubicBezTo>
                    <a:cubicBezTo>
                      <a:pt x="1546" y="62"/>
                      <a:pt x="1545" y="68"/>
                      <a:pt x="1545" y="75"/>
                    </a:cubicBezTo>
                    <a:cubicBezTo>
                      <a:pt x="1545" y="83"/>
                      <a:pt x="1545" y="90"/>
                      <a:pt x="1547" y="95"/>
                    </a:cubicBezTo>
                    <a:cubicBezTo>
                      <a:pt x="1548" y="101"/>
                      <a:pt x="1550" y="105"/>
                      <a:pt x="1552" y="109"/>
                    </a:cubicBezTo>
                    <a:cubicBezTo>
                      <a:pt x="1555" y="112"/>
                      <a:pt x="1559" y="114"/>
                      <a:pt x="1563" y="116"/>
                    </a:cubicBezTo>
                    <a:cubicBezTo>
                      <a:pt x="1568" y="118"/>
                      <a:pt x="1574" y="118"/>
                      <a:pt x="1581" y="118"/>
                    </a:cubicBezTo>
                    <a:cubicBezTo>
                      <a:pt x="1588" y="118"/>
                      <a:pt x="1594" y="117"/>
                      <a:pt x="1599" y="116"/>
                    </a:cubicBezTo>
                    <a:cubicBezTo>
                      <a:pt x="1603" y="114"/>
                      <a:pt x="1607" y="111"/>
                      <a:pt x="1610" y="108"/>
                    </a:cubicBezTo>
                    <a:cubicBezTo>
                      <a:pt x="1612" y="104"/>
                      <a:pt x="1614" y="100"/>
                      <a:pt x="1615" y="95"/>
                    </a:cubicBezTo>
                    <a:cubicBezTo>
                      <a:pt x="1616" y="89"/>
                      <a:pt x="1617" y="83"/>
                      <a:pt x="1617" y="76"/>
                    </a:cubicBezTo>
                    <a:cubicBezTo>
                      <a:pt x="1617" y="69"/>
                      <a:pt x="1616" y="63"/>
                      <a:pt x="1614" y="57"/>
                    </a:cubicBezTo>
                    <a:cubicBezTo>
                      <a:pt x="1613" y="52"/>
                      <a:pt x="1610" y="48"/>
                      <a:pt x="1607" y="45"/>
                    </a:cubicBezTo>
                    <a:cubicBezTo>
                      <a:pt x="1604" y="42"/>
                      <a:pt x="1601" y="40"/>
                      <a:pt x="1596" y="38"/>
                    </a:cubicBezTo>
                    <a:cubicBezTo>
                      <a:pt x="1592" y="37"/>
                      <a:pt x="1587" y="36"/>
                      <a:pt x="1581" y="36"/>
                    </a:cubicBezTo>
                    <a:close/>
                    <a:moveTo>
                      <a:pt x="1516" y="117"/>
                    </a:moveTo>
                    <a:cubicBezTo>
                      <a:pt x="1526" y="117"/>
                      <a:pt x="1526" y="117"/>
                      <a:pt x="1526" y="117"/>
                    </a:cubicBezTo>
                    <a:cubicBezTo>
                      <a:pt x="1526" y="5"/>
                      <a:pt x="1526" y="5"/>
                      <a:pt x="1526" y="5"/>
                    </a:cubicBezTo>
                    <a:cubicBezTo>
                      <a:pt x="1516" y="5"/>
                      <a:pt x="1516" y="5"/>
                      <a:pt x="1516" y="5"/>
                    </a:cubicBezTo>
                    <a:lnTo>
                      <a:pt x="1516" y="117"/>
                    </a:lnTo>
                    <a:close/>
                    <a:moveTo>
                      <a:pt x="1408" y="115"/>
                    </a:moveTo>
                    <a:cubicBezTo>
                      <a:pt x="1412" y="116"/>
                      <a:pt x="1415" y="116"/>
                      <a:pt x="1419" y="117"/>
                    </a:cubicBezTo>
                    <a:cubicBezTo>
                      <a:pt x="1422" y="117"/>
                      <a:pt x="1426" y="117"/>
                      <a:pt x="1429" y="117"/>
                    </a:cubicBezTo>
                    <a:cubicBezTo>
                      <a:pt x="1432" y="117"/>
                      <a:pt x="1432" y="117"/>
                      <a:pt x="1432" y="117"/>
                    </a:cubicBezTo>
                    <a:cubicBezTo>
                      <a:pt x="1434" y="117"/>
                      <a:pt x="1437" y="117"/>
                      <a:pt x="1440" y="117"/>
                    </a:cubicBezTo>
                    <a:cubicBezTo>
                      <a:pt x="1443" y="116"/>
                      <a:pt x="1446" y="115"/>
                      <a:pt x="1448" y="114"/>
                    </a:cubicBezTo>
                    <a:cubicBezTo>
                      <a:pt x="1451" y="113"/>
                      <a:pt x="1453" y="111"/>
                      <a:pt x="1455" y="108"/>
                    </a:cubicBezTo>
                    <a:cubicBezTo>
                      <a:pt x="1457" y="106"/>
                      <a:pt x="1457" y="102"/>
                      <a:pt x="1457" y="98"/>
                    </a:cubicBezTo>
                    <a:cubicBezTo>
                      <a:pt x="1457" y="96"/>
                      <a:pt x="1457" y="94"/>
                      <a:pt x="1456" y="91"/>
                    </a:cubicBezTo>
                    <a:cubicBezTo>
                      <a:pt x="1455" y="88"/>
                      <a:pt x="1453" y="85"/>
                      <a:pt x="1450" y="83"/>
                    </a:cubicBezTo>
                    <a:cubicBezTo>
                      <a:pt x="1449" y="82"/>
                      <a:pt x="1448" y="81"/>
                      <a:pt x="1447" y="80"/>
                    </a:cubicBezTo>
                    <a:cubicBezTo>
                      <a:pt x="1445" y="79"/>
                      <a:pt x="1444" y="78"/>
                      <a:pt x="1442" y="77"/>
                    </a:cubicBezTo>
                    <a:cubicBezTo>
                      <a:pt x="1440" y="76"/>
                      <a:pt x="1438" y="74"/>
                      <a:pt x="1436" y="73"/>
                    </a:cubicBezTo>
                    <a:cubicBezTo>
                      <a:pt x="1434" y="72"/>
                      <a:pt x="1432" y="70"/>
                      <a:pt x="1430" y="69"/>
                    </a:cubicBezTo>
                    <a:cubicBezTo>
                      <a:pt x="1426" y="67"/>
                      <a:pt x="1424" y="64"/>
                      <a:pt x="1422" y="62"/>
                    </a:cubicBezTo>
                    <a:cubicBezTo>
                      <a:pt x="1421" y="61"/>
                      <a:pt x="1420" y="58"/>
                      <a:pt x="1420" y="55"/>
                    </a:cubicBezTo>
                    <a:cubicBezTo>
                      <a:pt x="1420" y="53"/>
                      <a:pt x="1420" y="53"/>
                      <a:pt x="1420" y="53"/>
                    </a:cubicBezTo>
                    <a:cubicBezTo>
                      <a:pt x="1420" y="50"/>
                      <a:pt x="1422" y="48"/>
                      <a:pt x="1424" y="46"/>
                    </a:cubicBezTo>
                    <a:cubicBezTo>
                      <a:pt x="1426" y="44"/>
                      <a:pt x="1430" y="43"/>
                      <a:pt x="1435" y="43"/>
                    </a:cubicBezTo>
                    <a:cubicBezTo>
                      <a:pt x="1438" y="43"/>
                      <a:pt x="1438" y="43"/>
                      <a:pt x="1438" y="43"/>
                    </a:cubicBezTo>
                    <a:cubicBezTo>
                      <a:pt x="1441" y="43"/>
                      <a:pt x="1444" y="43"/>
                      <a:pt x="1446" y="43"/>
                    </a:cubicBezTo>
                    <a:cubicBezTo>
                      <a:pt x="1449" y="43"/>
                      <a:pt x="1452" y="44"/>
                      <a:pt x="1456" y="44"/>
                    </a:cubicBezTo>
                    <a:cubicBezTo>
                      <a:pt x="1457" y="37"/>
                      <a:pt x="1457" y="37"/>
                      <a:pt x="1457" y="37"/>
                    </a:cubicBezTo>
                    <a:cubicBezTo>
                      <a:pt x="1455" y="37"/>
                      <a:pt x="1453" y="37"/>
                      <a:pt x="1451" y="37"/>
                    </a:cubicBezTo>
                    <a:cubicBezTo>
                      <a:pt x="1449" y="36"/>
                      <a:pt x="1448" y="36"/>
                      <a:pt x="1446" y="36"/>
                    </a:cubicBezTo>
                    <a:cubicBezTo>
                      <a:pt x="1444" y="36"/>
                      <a:pt x="1443" y="36"/>
                      <a:pt x="1441" y="36"/>
                    </a:cubicBezTo>
                    <a:cubicBezTo>
                      <a:pt x="1439" y="36"/>
                      <a:pt x="1437" y="36"/>
                      <a:pt x="1435" y="36"/>
                    </a:cubicBezTo>
                    <a:cubicBezTo>
                      <a:pt x="1431" y="36"/>
                      <a:pt x="1427" y="36"/>
                      <a:pt x="1424" y="37"/>
                    </a:cubicBezTo>
                    <a:cubicBezTo>
                      <a:pt x="1421" y="38"/>
                      <a:pt x="1418" y="39"/>
                      <a:pt x="1416" y="41"/>
                    </a:cubicBezTo>
                    <a:cubicBezTo>
                      <a:pt x="1414" y="42"/>
                      <a:pt x="1412" y="44"/>
                      <a:pt x="1411" y="46"/>
                    </a:cubicBezTo>
                    <a:cubicBezTo>
                      <a:pt x="1410" y="48"/>
                      <a:pt x="1410" y="50"/>
                      <a:pt x="1410" y="52"/>
                    </a:cubicBezTo>
                    <a:cubicBezTo>
                      <a:pt x="1410" y="55"/>
                      <a:pt x="1410" y="55"/>
                      <a:pt x="1410" y="55"/>
                    </a:cubicBezTo>
                    <a:cubicBezTo>
                      <a:pt x="1410" y="57"/>
                      <a:pt x="1410" y="59"/>
                      <a:pt x="1410" y="61"/>
                    </a:cubicBezTo>
                    <a:cubicBezTo>
                      <a:pt x="1411" y="63"/>
                      <a:pt x="1412" y="65"/>
                      <a:pt x="1413" y="66"/>
                    </a:cubicBezTo>
                    <a:cubicBezTo>
                      <a:pt x="1414" y="68"/>
                      <a:pt x="1416" y="70"/>
                      <a:pt x="1417" y="71"/>
                    </a:cubicBezTo>
                    <a:cubicBezTo>
                      <a:pt x="1419" y="72"/>
                      <a:pt x="1421" y="74"/>
                      <a:pt x="1424" y="75"/>
                    </a:cubicBezTo>
                    <a:cubicBezTo>
                      <a:pt x="1425" y="77"/>
                      <a:pt x="1427" y="78"/>
                      <a:pt x="1429" y="79"/>
                    </a:cubicBezTo>
                    <a:cubicBezTo>
                      <a:pt x="1431" y="80"/>
                      <a:pt x="1433" y="82"/>
                      <a:pt x="1435" y="83"/>
                    </a:cubicBezTo>
                    <a:cubicBezTo>
                      <a:pt x="1436" y="84"/>
                      <a:pt x="1438" y="85"/>
                      <a:pt x="1439" y="86"/>
                    </a:cubicBezTo>
                    <a:cubicBezTo>
                      <a:pt x="1440" y="87"/>
                      <a:pt x="1441" y="88"/>
                      <a:pt x="1442" y="89"/>
                    </a:cubicBezTo>
                    <a:cubicBezTo>
                      <a:pt x="1444" y="90"/>
                      <a:pt x="1445" y="92"/>
                      <a:pt x="1446" y="94"/>
                    </a:cubicBezTo>
                    <a:cubicBezTo>
                      <a:pt x="1446" y="95"/>
                      <a:pt x="1447" y="97"/>
                      <a:pt x="1447" y="99"/>
                    </a:cubicBezTo>
                    <a:cubicBezTo>
                      <a:pt x="1447" y="101"/>
                      <a:pt x="1446" y="103"/>
                      <a:pt x="1446" y="105"/>
                    </a:cubicBezTo>
                    <a:cubicBezTo>
                      <a:pt x="1445" y="107"/>
                      <a:pt x="1444" y="108"/>
                      <a:pt x="1442" y="109"/>
                    </a:cubicBezTo>
                    <a:cubicBezTo>
                      <a:pt x="1441" y="109"/>
                      <a:pt x="1439" y="110"/>
                      <a:pt x="1437" y="110"/>
                    </a:cubicBezTo>
                    <a:cubicBezTo>
                      <a:pt x="1435" y="111"/>
                      <a:pt x="1433" y="111"/>
                      <a:pt x="1431" y="111"/>
                    </a:cubicBezTo>
                    <a:cubicBezTo>
                      <a:pt x="1428" y="111"/>
                      <a:pt x="1428" y="111"/>
                      <a:pt x="1428" y="111"/>
                    </a:cubicBezTo>
                    <a:cubicBezTo>
                      <a:pt x="1426" y="111"/>
                      <a:pt x="1423" y="111"/>
                      <a:pt x="1420" y="110"/>
                    </a:cubicBezTo>
                    <a:cubicBezTo>
                      <a:pt x="1417" y="110"/>
                      <a:pt x="1413" y="109"/>
                      <a:pt x="1409" y="109"/>
                    </a:cubicBezTo>
                    <a:lnTo>
                      <a:pt x="1408" y="115"/>
                    </a:lnTo>
                    <a:close/>
                    <a:moveTo>
                      <a:pt x="1390" y="37"/>
                    </a:moveTo>
                    <a:cubicBezTo>
                      <a:pt x="1379" y="37"/>
                      <a:pt x="1379" y="37"/>
                      <a:pt x="1379" y="37"/>
                    </a:cubicBezTo>
                    <a:cubicBezTo>
                      <a:pt x="1379" y="107"/>
                      <a:pt x="1379" y="107"/>
                      <a:pt x="1379" y="107"/>
                    </a:cubicBezTo>
                    <a:cubicBezTo>
                      <a:pt x="1376" y="108"/>
                      <a:pt x="1373" y="109"/>
                      <a:pt x="1369" y="110"/>
                    </a:cubicBezTo>
                    <a:cubicBezTo>
                      <a:pt x="1366" y="111"/>
                      <a:pt x="1362" y="111"/>
                      <a:pt x="1359" y="111"/>
                    </a:cubicBezTo>
                    <a:cubicBezTo>
                      <a:pt x="1350" y="111"/>
                      <a:pt x="1344" y="109"/>
                      <a:pt x="1340" y="104"/>
                    </a:cubicBezTo>
                    <a:cubicBezTo>
                      <a:pt x="1337" y="99"/>
                      <a:pt x="1335" y="90"/>
                      <a:pt x="1335" y="79"/>
                    </a:cubicBezTo>
                    <a:cubicBezTo>
                      <a:pt x="1335" y="38"/>
                      <a:pt x="1335" y="38"/>
                      <a:pt x="1335" y="38"/>
                    </a:cubicBezTo>
                    <a:cubicBezTo>
                      <a:pt x="1324" y="38"/>
                      <a:pt x="1324" y="38"/>
                      <a:pt x="1324" y="38"/>
                    </a:cubicBezTo>
                    <a:cubicBezTo>
                      <a:pt x="1324" y="79"/>
                      <a:pt x="1324" y="79"/>
                      <a:pt x="1324" y="79"/>
                    </a:cubicBezTo>
                    <a:cubicBezTo>
                      <a:pt x="1324" y="86"/>
                      <a:pt x="1325" y="92"/>
                      <a:pt x="1326" y="97"/>
                    </a:cubicBezTo>
                    <a:cubicBezTo>
                      <a:pt x="1327" y="102"/>
                      <a:pt x="1329" y="106"/>
                      <a:pt x="1332" y="109"/>
                    </a:cubicBezTo>
                    <a:cubicBezTo>
                      <a:pt x="1335" y="112"/>
                      <a:pt x="1338" y="114"/>
                      <a:pt x="1343" y="116"/>
                    </a:cubicBezTo>
                    <a:cubicBezTo>
                      <a:pt x="1347" y="118"/>
                      <a:pt x="1352" y="118"/>
                      <a:pt x="1359" y="118"/>
                    </a:cubicBezTo>
                    <a:cubicBezTo>
                      <a:pt x="1363" y="118"/>
                      <a:pt x="1368" y="118"/>
                      <a:pt x="1373" y="117"/>
                    </a:cubicBezTo>
                    <a:cubicBezTo>
                      <a:pt x="1378" y="116"/>
                      <a:pt x="1384" y="114"/>
                      <a:pt x="1390" y="112"/>
                    </a:cubicBezTo>
                    <a:lnTo>
                      <a:pt x="1390" y="37"/>
                    </a:lnTo>
                    <a:close/>
                    <a:moveTo>
                      <a:pt x="1293" y="117"/>
                    </a:moveTo>
                    <a:cubicBezTo>
                      <a:pt x="1304" y="117"/>
                      <a:pt x="1304" y="117"/>
                      <a:pt x="1304" y="117"/>
                    </a:cubicBezTo>
                    <a:cubicBezTo>
                      <a:pt x="1304" y="5"/>
                      <a:pt x="1304" y="5"/>
                      <a:pt x="1304" y="5"/>
                    </a:cubicBezTo>
                    <a:cubicBezTo>
                      <a:pt x="1293" y="5"/>
                      <a:pt x="1293" y="5"/>
                      <a:pt x="1293" y="5"/>
                    </a:cubicBezTo>
                    <a:lnTo>
                      <a:pt x="1293" y="117"/>
                    </a:lnTo>
                    <a:close/>
                    <a:moveTo>
                      <a:pt x="1218" y="44"/>
                    </a:moveTo>
                    <a:cubicBezTo>
                      <a:pt x="1220" y="43"/>
                      <a:pt x="1222" y="43"/>
                      <a:pt x="1225" y="43"/>
                    </a:cubicBezTo>
                    <a:cubicBezTo>
                      <a:pt x="1228" y="43"/>
                      <a:pt x="1230" y="43"/>
                      <a:pt x="1232" y="43"/>
                    </a:cubicBezTo>
                    <a:cubicBezTo>
                      <a:pt x="1238" y="43"/>
                      <a:pt x="1243" y="44"/>
                      <a:pt x="1247" y="45"/>
                    </a:cubicBezTo>
                    <a:cubicBezTo>
                      <a:pt x="1251" y="47"/>
                      <a:pt x="1254" y="49"/>
                      <a:pt x="1257" y="52"/>
                    </a:cubicBezTo>
                    <a:cubicBezTo>
                      <a:pt x="1259" y="55"/>
                      <a:pt x="1260" y="58"/>
                      <a:pt x="1261" y="63"/>
                    </a:cubicBezTo>
                    <a:cubicBezTo>
                      <a:pt x="1262" y="67"/>
                      <a:pt x="1262" y="72"/>
                      <a:pt x="1262" y="78"/>
                    </a:cubicBezTo>
                    <a:cubicBezTo>
                      <a:pt x="1262" y="84"/>
                      <a:pt x="1262" y="89"/>
                      <a:pt x="1261" y="93"/>
                    </a:cubicBezTo>
                    <a:cubicBezTo>
                      <a:pt x="1260" y="97"/>
                      <a:pt x="1259" y="101"/>
                      <a:pt x="1258" y="103"/>
                    </a:cubicBezTo>
                    <a:cubicBezTo>
                      <a:pt x="1256" y="106"/>
                      <a:pt x="1254" y="108"/>
                      <a:pt x="1251" y="109"/>
                    </a:cubicBezTo>
                    <a:cubicBezTo>
                      <a:pt x="1249" y="110"/>
                      <a:pt x="1245" y="111"/>
                      <a:pt x="1241" y="111"/>
                    </a:cubicBezTo>
                    <a:cubicBezTo>
                      <a:pt x="1236" y="111"/>
                      <a:pt x="1232" y="111"/>
                      <a:pt x="1228" y="110"/>
                    </a:cubicBezTo>
                    <a:cubicBezTo>
                      <a:pt x="1224" y="109"/>
                      <a:pt x="1220" y="108"/>
                      <a:pt x="1218" y="107"/>
                    </a:cubicBezTo>
                    <a:lnTo>
                      <a:pt x="1218" y="44"/>
                    </a:lnTo>
                    <a:close/>
                    <a:moveTo>
                      <a:pt x="1218" y="114"/>
                    </a:moveTo>
                    <a:cubicBezTo>
                      <a:pt x="1220" y="115"/>
                      <a:pt x="1224" y="116"/>
                      <a:pt x="1228" y="117"/>
                    </a:cubicBezTo>
                    <a:cubicBezTo>
                      <a:pt x="1232" y="118"/>
                      <a:pt x="1236" y="118"/>
                      <a:pt x="1241" y="118"/>
                    </a:cubicBezTo>
                    <a:cubicBezTo>
                      <a:pt x="1247" y="118"/>
                      <a:pt x="1252" y="117"/>
                      <a:pt x="1256" y="116"/>
                    </a:cubicBezTo>
                    <a:cubicBezTo>
                      <a:pt x="1260" y="114"/>
                      <a:pt x="1264" y="112"/>
                      <a:pt x="1266" y="108"/>
                    </a:cubicBezTo>
                    <a:cubicBezTo>
                      <a:pt x="1268" y="105"/>
                      <a:pt x="1270" y="101"/>
                      <a:pt x="1271" y="96"/>
                    </a:cubicBezTo>
                    <a:cubicBezTo>
                      <a:pt x="1272" y="91"/>
                      <a:pt x="1273" y="85"/>
                      <a:pt x="1273" y="79"/>
                    </a:cubicBezTo>
                    <a:cubicBezTo>
                      <a:pt x="1273" y="71"/>
                      <a:pt x="1272" y="65"/>
                      <a:pt x="1271" y="60"/>
                    </a:cubicBezTo>
                    <a:cubicBezTo>
                      <a:pt x="1270" y="54"/>
                      <a:pt x="1267" y="50"/>
                      <a:pt x="1264" y="46"/>
                    </a:cubicBezTo>
                    <a:cubicBezTo>
                      <a:pt x="1261" y="43"/>
                      <a:pt x="1257" y="40"/>
                      <a:pt x="1251" y="38"/>
                    </a:cubicBezTo>
                    <a:cubicBezTo>
                      <a:pt x="1246" y="37"/>
                      <a:pt x="1239" y="36"/>
                      <a:pt x="1230" y="36"/>
                    </a:cubicBezTo>
                    <a:cubicBezTo>
                      <a:pt x="1226" y="36"/>
                      <a:pt x="1222" y="36"/>
                      <a:pt x="1219" y="36"/>
                    </a:cubicBezTo>
                    <a:cubicBezTo>
                      <a:pt x="1215" y="36"/>
                      <a:pt x="1211" y="37"/>
                      <a:pt x="1207" y="37"/>
                    </a:cubicBezTo>
                    <a:cubicBezTo>
                      <a:pt x="1207" y="148"/>
                      <a:pt x="1207" y="148"/>
                      <a:pt x="1207" y="148"/>
                    </a:cubicBezTo>
                    <a:cubicBezTo>
                      <a:pt x="1218" y="148"/>
                      <a:pt x="1218" y="148"/>
                      <a:pt x="1218" y="148"/>
                    </a:cubicBezTo>
                    <a:lnTo>
                      <a:pt x="1218" y="114"/>
                    </a:lnTo>
                    <a:close/>
                    <a:moveTo>
                      <a:pt x="1113" y="117"/>
                    </a:moveTo>
                    <a:cubicBezTo>
                      <a:pt x="1124" y="117"/>
                      <a:pt x="1124" y="117"/>
                      <a:pt x="1124" y="117"/>
                    </a:cubicBezTo>
                    <a:cubicBezTo>
                      <a:pt x="1124" y="47"/>
                      <a:pt x="1124" y="47"/>
                      <a:pt x="1124" y="47"/>
                    </a:cubicBezTo>
                    <a:cubicBezTo>
                      <a:pt x="1126" y="46"/>
                      <a:pt x="1130" y="45"/>
                      <a:pt x="1134" y="44"/>
                    </a:cubicBezTo>
                    <a:cubicBezTo>
                      <a:pt x="1138" y="43"/>
                      <a:pt x="1142" y="43"/>
                      <a:pt x="1146" y="43"/>
                    </a:cubicBezTo>
                    <a:cubicBezTo>
                      <a:pt x="1147" y="43"/>
                      <a:pt x="1149" y="43"/>
                      <a:pt x="1150" y="43"/>
                    </a:cubicBezTo>
                    <a:cubicBezTo>
                      <a:pt x="1151" y="43"/>
                      <a:pt x="1152" y="43"/>
                      <a:pt x="1154" y="44"/>
                    </a:cubicBezTo>
                    <a:cubicBezTo>
                      <a:pt x="1155" y="36"/>
                      <a:pt x="1155" y="36"/>
                      <a:pt x="1155" y="36"/>
                    </a:cubicBezTo>
                    <a:cubicBezTo>
                      <a:pt x="1153" y="36"/>
                      <a:pt x="1151" y="36"/>
                      <a:pt x="1150" y="36"/>
                    </a:cubicBezTo>
                    <a:cubicBezTo>
                      <a:pt x="1149" y="36"/>
                      <a:pt x="1148" y="36"/>
                      <a:pt x="1146" y="36"/>
                    </a:cubicBezTo>
                    <a:cubicBezTo>
                      <a:pt x="1141" y="36"/>
                      <a:pt x="1135" y="36"/>
                      <a:pt x="1130" y="38"/>
                    </a:cubicBezTo>
                    <a:cubicBezTo>
                      <a:pt x="1125" y="39"/>
                      <a:pt x="1119" y="40"/>
                      <a:pt x="1113" y="43"/>
                    </a:cubicBezTo>
                    <a:lnTo>
                      <a:pt x="1113" y="117"/>
                    </a:lnTo>
                    <a:close/>
                    <a:moveTo>
                      <a:pt x="1036" y="73"/>
                    </a:moveTo>
                    <a:cubicBezTo>
                      <a:pt x="1036" y="62"/>
                      <a:pt x="1038" y="54"/>
                      <a:pt x="1042" y="50"/>
                    </a:cubicBezTo>
                    <a:cubicBezTo>
                      <a:pt x="1046" y="45"/>
                      <a:pt x="1051" y="43"/>
                      <a:pt x="1059" y="43"/>
                    </a:cubicBezTo>
                    <a:cubicBezTo>
                      <a:pt x="1068" y="43"/>
                      <a:pt x="1074" y="45"/>
                      <a:pt x="1077" y="50"/>
                    </a:cubicBezTo>
                    <a:cubicBezTo>
                      <a:pt x="1081" y="54"/>
                      <a:pt x="1083" y="62"/>
                      <a:pt x="1083" y="73"/>
                    </a:cubicBezTo>
                    <a:lnTo>
                      <a:pt x="1036" y="73"/>
                    </a:lnTo>
                    <a:close/>
                    <a:moveTo>
                      <a:pt x="1090" y="107"/>
                    </a:moveTo>
                    <a:cubicBezTo>
                      <a:pt x="1088" y="107"/>
                      <a:pt x="1086" y="107"/>
                      <a:pt x="1084" y="108"/>
                    </a:cubicBezTo>
                    <a:cubicBezTo>
                      <a:pt x="1081" y="108"/>
                      <a:pt x="1079" y="109"/>
                      <a:pt x="1076" y="109"/>
                    </a:cubicBezTo>
                    <a:cubicBezTo>
                      <a:pt x="1073" y="110"/>
                      <a:pt x="1071" y="110"/>
                      <a:pt x="1068" y="111"/>
                    </a:cubicBezTo>
                    <a:cubicBezTo>
                      <a:pt x="1065" y="111"/>
                      <a:pt x="1063" y="111"/>
                      <a:pt x="1060" y="111"/>
                    </a:cubicBezTo>
                    <a:cubicBezTo>
                      <a:pt x="1056" y="111"/>
                      <a:pt x="1052" y="110"/>
                      <a:pt x="1049" y="109"/>
                    </a:cubicBezTo>
                    <a:cubicBezTo>
                      <a:pt x="1046" y="108"/>
                      <a:pt x="1043" y="106"/>
                      <a:pt x="1041" y="103"/>
                    </a:cubicBezTo>
                    <a:cubicBezTo>
                      <a:pt x="1040" y="101"/>
                      <a:pt x="1038" y="97"/>
                      <a:pt x="1037" y="93"/>
                    </a:cubicBezTo>
                    <a:cubicBezTo>
                      <a:pt x="1037" y="90"/>
                      <a:pt x="1036" y="85"/>
                      <a:pt x="1036" y="80"/>
                    </a:cubicBezTo>
                    <a:cubicBezTo>
                      <a:pt x="1094" y="80"/>
                      <a:pt x="1094" y="80"/>
                      <a:pt x="1094" y="80"/>
                    </a:cubicBezTo>
                    <a:cubicBezTo>
                      <a:pt x="1094" y="74"/>
                      <a:pt x="1094" y="74"/>
                      <a:pt x="1094" y="74"/>
                    </a:cubicBezTo>
                    <a:cubicBezTo>
                      <a:pt x="1094" y="60"/>
                      <a:pt x="1091" y="51"/>
                      <a:pt x="1085" y="45"/>
                    </a:cubicBezTo>
                    <a:cubicBezTo>
                      <a:pt x="1079" y="39"/>
                      <a:pt x="1071" y="36"/>
                      <a:pt x="1059" y="36"/>
                    </a:cubicBezTo>
                    <a:cubicBezTo>
                      <a:pt x="1054" y="36"/>
                      <a:pt x="1049" y="36"/>
                      <a:pt x="1045" y="38"/>
                    </a:cubicBezTo>
                    <a:cubicBezTo>
                      <a:pt x="1041" y="39"/>
                      <a:pt x="1037" y="41"/>
                      <a:pt x="1034" y="45"/>
                    </a:cubicBezTo>
                    <a:cubicBezTo>
                      <a:pt x="1031" y="48"/>
                      <a:pt x="1029" y="52"/>
                      <a:pt x="1028" y="57"/>
                    </a:cubicBezTo>
                    <a:cubicBezTo>
                      <a:pt x="1026" y="63"/>
                      <a:pt x="1025" y="69"/>
                      <a:pt x="1025" y="77"/>
                    </a:cubicBezTo>
                    <a:cubicBezTo>
                      <a:pt x="1025" y="83"/>
                      <a:pt x="1026" y="89"/>
                      <a:pt x="1027" y="94"/>
                    </a:cubicBezTo>
                    <a:cubicBezTo>
                      <a:pt x="1028" y="99"/>
                      <a:pt x="1030" y="104"/>
                      <a:pt x="1032" y="107"/>
                    </a:cubicBezTo>
                    <a:cubicBezTo>
                      <a:pt x="1035" y="111"/>
                      <a:pt x="1039" y="113"/>
                      <a:pt x="1043" y="115"/>
                    </a:cubicBezTo>
                    <a:cubicBezTo>
                      <a:pt x="1048" y="117"/>
                      <a:pt x="1053" y="118"/>
                      <a:pt x="1060" y="118"/>
                    </a:cubicBezTo>
                    <a:cubicBezTo>
                      <a:pt x="1063" y="118"/>
                      <a:pt x="1066" y="118"/>
                      <a:pt x="1068" y="118"/>
                    </a:cubicBezTo>
                    <a:cubicBezTo>
                      <a:pt x="1071" y="117"/>
                      <a:pt x="1074" y="117"/>
                      <a:pt x="1077" y="116"/>
                    </a:cubicBezTo>
                    <a:cubicBezTo>
                      <a:pt x="1080" y="116"/>
                      <a:pt x="1082" y="116"/>
                      <a:pt x="1085" y="115"/>
                    </a:cubicBezTo>
                    <a:cubicBezTo>
                      <a:pt x="1087" y="115"/>
                      <a:pt x="1089" y="114"/>
                      <a:pt x="1091" y="114"/>
                    </a:cubicBezTo>
                    <a:lnTo>
                      <a:pt x="1090" y="107"/>
                    </a:lnTo>
                    <a:close/>
                    <a:moveTo>
                      <a:pt x="996" y="117"/>
                    </a:moveTo>
                    <a:cubicBezTo>
                      <a:pt x="1007" y="117"/>
                      <a:pt x="1007" y="117"/>
                      <a:pt x="1007" y="117"/>
                    </a:cubicBezTo>
                    <a:cubicBezTo>
                      <a:pt x="1007" y="5"/>
                      <a:pt x="1007" y="5"/>
                      <a:pt x="1007" y="5"/>
                    </a:cubicBezTo>
                    <a:cubicBezTo>
                      <a:pt x="996" y="5"/>
                      <a:pt x="996" y="5"/>
                      <a:pt x="996" y="5"/>
                    </a:cubicBezTo>
                    <a:lnTo>
                      <a:pt x="996" y="117"/>
                    </a:lnTo>
                    <a:close/>
                    <a:moveTo>
                      <a:pt x="963" y="117"/>
                    </a:moveTo>
                    <a:cubicBezTo>
                      <a:pt x="974" y="117"/>
                      <a:pt x="974" y="117"/>
                      <a:pt x="974" y="117"/>
                    </a:cubicBezTo>
                    <a:cubicBezTo>
                      <a:pt x="974" y="5"/>
                      <a:pt x="974" y="5"/>
                      <a:pt x="974" y="5"/>
                    </a:cubicBezTo>
                    <a:cubicBezTo>
                      <a:pt x="963" y="5"/>
                      <a:pt x="963" y="5"/>
                      <a:pt x="963" y="5"/>
                    </a:cubicBezTo>
                    <a:lnTo>
                      <a:pt x="963" y="117"/>
                    </a:lnTo>
                    <a:close/>
                    <a:moveTo>
                      <a:pt x="930" y="107"/>
                    </a:moveTo>
                    <a:cubicBezTo>
                      <a:pt x="927" y="108"/>
                      <a:pt x="923" y="108"/>
                      <a:pt x="918" y="109"/>
                    </a:cubicBezTo>
                    <a:cubicBezTo>
                      <a:pt x="913" y="110"/>
                      <a:pt x="908" y="111"/>
                      <a:pt x="903" y="111"/>
                    </a:cubicBezTo>
                    <a:cubicBezTo>
                      <a:pt x="899" y="111"/>
                      <a:pt x="895" y="109"/>
                      <a:pt x="893" y="106"/>
                    </a:cubicBezTo>
                    <a:cubicBezTo>
                      <a:pt x="890" y="103"/>
                      <a:pt x="889" y="99"/>
                      <a:pt x="889" y="94"/>
                    </a:cubicBezTo>
                    <a:cubicBezTo>
                      <a:pt x="889" y="90"/>
                      <a:pt x="890" y="86"/>
                      <a:pt x="893" y="83"/>
                    </a:cubicBezTo>
                    <a:cubicBezTo>
                      <a:pt x="895" y="80"/>
                      <a:pt x="899" y="78"/>
                      <a:pt x="906" y="78"/>
                    </a:cubicBezTo>
                    <a:cubicBezTo>
                      <a:pt x="930" y="76"/>
                      <a:pt x="930" y="76"/>
                      <a:pt x="930" y="76"/>
                    </a:cubicBezTo>
                    <a:lnTo>
                      <a:pt x="930" y="107"/>
                    </a:lnTo>
                    <a:close/>
                    <a:moveTo>
                      <a:pt x="886" y="45"/>
                    </a:moveTo>
                    <a:cubicBezTo>
                      <a:pt x="891" y="45"/>
                      <a:pt x="896" y="44"/>
                      <a:pt x="900" y="44"/>
                    </a:cubicBezTo>
                    <a:cubicBezTo>
                      <a:pt x="905" y="43"/>
                      <a:pt x="909" y="43"/>
                      <a:pt x="913" y="43"/>
                    </a:cubicBezTo>
                    <a:cubicBezTo>
                      <a:pt x="919" y="43"/>
                      <a:pt x="923" y="45"/>
                      <a:pt x="926" y="47"/>
                    </a:cubicBezTo>
                    <a:cubicBezTo>
                      <a:pt x="929" y="50"/>
                      <a:pt x="930" y="54"/>
                      <a:pt x="930" y="61"/>
                    </a:cubicBezTo>
                    <a:cubicBezTo>
                      <a:pt x="930" y="69"/>
                      <a:pt x="930" y="69"/>
                      <a:pt x="930" y="69"/>
                    </a:cubicBezTo>
                    <a:cubicBezTo>
                      <a:pt x="905" y="71"/>
                      <a:pt x="905" y="71"/>
                      <a:pt x="905" y="71"/>
                    </a:cubicBezTo>
                    <a:cubicBezTo>
                      <a:pt x="895" y="72"/>
                      <a:pt x="889" y="74"/>
                      <a:pt x="885" y="78"/>
                    </a:cubicBezTo>
                    <a:cubicBezTo>
                      <a:pt x="881" y="82"/>
                      <a:pt x="879" y="88"/>
                      <a:pt x="879" y="94"/>
                    </a:cubicBezTo>
                    <a:cubicBezTo>
                      <a:pt x="879" y="102"/>
                      <a:pt x="881" y="108"/>
                      <a:pt x="885" y="112"/>
                    </a:cubicBezTo>
                    <a:cubicBezTo>
                      <a:pt x="889" y="116"/>
                      <a:pt x="895" y="118"/>
                      <a:pt x="903" y="118"/>
                    </a:cubicBezTo>
                    <a:cubicBezTo>
                      <a:pt x="911" y="118"/>
                      <a:pt x="918" y="117"/>
                      <a:pt x="924" y="116"/>
                    </a:cubicBezTo>
                    <a:cubicBezTo>
                      <a:pt x="931" y="114"/>
                      <a:pt x="936" y="113"/>
                      <a:pt x="941" y="111"/>
                    </a:cubicBezTo>
                    <a:cubicBezTo>
                      <a:pt x="941" y="61"/>
                      <a:pt x="941" y="61"/>
                      <a:pt x="941" y="61"/>
                    </a:cubicBezTo>
                    <a:cubicBezTo>
                      <a:pt x="941" y="53"/>
                      <a:pt x="939" y="46"/>
                      <a:pt x="934" y="42"/>
                    </a:cubicBezTo>
                    <a:cubicBezTo>
                      <a:pt x="930" y="38"/>
                      <a:pt x="923" y="36"/>
                      <a:pt x="913" y="36"/>
                    </a:cubicBezTo>
                    <a:cubicBezTo>
                      <a:pt x="909" y="36"/>
                      <a:pt x="904" y="36"/>
                      <a:pt x="899" y="36"/>
                    </a:cubicBezTo>
                    <a:cubicBezTo>
                      <a:pt x="894" y="37"/>
                      <a:pt x="889" y="37"/>
                      <a:pt x="884" y="38"/>
                    </a:cubicBezTo>
                    <a:lnTo>
                      <a:pt x="886" y="45"/>
                    </a:lnTo>
                    <a:close/>
                    <a:moveTo>
                      <a:pt x="842" y="34"/>
                    </a:moveTo>
                    <a:cubicBezTo>
                      <a:pt x="852" y="34"/>
                      <a:pt x="852" y="34"/>
                      <a:pt x="852" y="34"/>
                    </a:cubicBezTo>
                    <a:cubicBezTo>
                      <a:pt x="861" y="0"/>
                      <a:pt x="861" y="0"/>
                      <a:pt x="861" y="0"/>
                    </a:cubicBezTo>
                    <a:cubicBezTo>
                      <a:pt x="850" y="0"/>
                      <a:pt x="850" y="0"/>
                      <a:pt x="850" y="0"/>
                    </a:cubicBezTo>
                    <a:lnTo>
                      <a:pt x="842" y="34"/>
                    </a:lnTo>
                    <a:close/>
                    <a:moveTo>
                      <a:pt x="811" y="110"/>
                    </a:moveTo>
                    <a:cubicBezTo>
                      <a:pt x="809" y="110"/>
                      <a:pt x="807" y="111"/>
                      <a:pt x="804" y="111"/>
                    </a:cubicBezTo>
                    <a:cubicBezTo>
                      <a:pt x="802" y="111"/>
                      <a:pt x="799" y="111"/>
                      <a:pt x="798" y="111"/>
                    </a:cubicBezTo>
                    <a:cubicBezTo>
                      <a:pt x="791" y="111"/>
                      <a:pt x="786" y="110"/>
                      <a:pt x="782" y="109"/>
                    </a:cubicBezTo>
                    <a:cubicBezTo>
                      <a:pt x="778" y="107"/>
                      <a:pt x="775" y="105"/>
                      <a:pt x="773" y="102"/>
                    </a:cubicBezTo>
                    <a:cubicBezTo>
                      <a:pt x="771" y="99"/>
                      <a:pt x="769" y="95"/>
                      <a:pt x="768" y="91"/>
                    </a:cubicBezTo>
                    <a:cubicBezTo>
                      <a:pt x="768" y="87"/>
                      <a:pt x="767" y="81"/>
                      <a:pt x="767" y="76"/>
                    </a:cubicBezTo>
                    <a:cubicBezTo>
                      <a:pt x="767" y="70"/>
                      <a:pt x="768" y="65"/>
                      <a:pt x="768" y="61"/>
                    </a:cubicBezTo>
                    <a:cubicBezTo>
                      <a:pt x="769" y="57"/>
                      <a:pt x="770" y="53"/>
                      <a:pt x="771" y="51"/>
                    </a:cubicBezTo>
                    <a:cubicBezTo>
                      <a:pt x="773" y="48"/>
                      <a:pt x="775" y="46"/>
                      <a:pt x="778" y="45"/>
                    </a:cubicBezTo>
                    <a:cubicBezTo>
                      <a:pt x="781" y="44"/>
                      <a:pt x="784" y="43"/>
                      <a:pt x="789" y="43"/>
                    </a:cubicBezTo>
                    <a:cubicBezTo>
                      <a:pt x="793" y="43"/>
                      <a:pt x="797" y="43"/>
                      <a:pt x="801" y="44"/>
                    </a:cubicBezTo>
                    <a:cubicBezTo>
                      <a:pt x="805" y="45"/>
                      <a:pt x="809" y="46"/>
                      <a:pt x="811" y="47"/>
                    </a:cubicBezTo>
                    <a:lnTo>
                      <a:pt x="811" y="110"/>
                    </a:lnTo>
                    <a:close/>
                    <a:moveTo>
                      <a:pt x="811" y="40"/>
                    </a:moveTo>
                    <a:cubicBezTo>
                      <a:pt x="809" y="39"/>
                      <a:pt x="805" y="38"/>
                      <a:pt x="801" y="37"/>
                    </a:cubicBezTo>
                    <a:cubicBezTo>
                      <a:pt x="797" y="36"/>
                      <a:pt x="793" y="36"/>
                      <a:pt x="789" y="36"/>
                    </a:cubicBezTo>
                    <a:cubicBezTo>
                      <a:pt x="782" y="36"/>
                      <a:pt x="777" y="37"/>
                      <a:pt x="773" y="38"/>
                    </a:cubicBezTo>
                    <a:cubicBezTo>
                      <a:pt x="769" y="40"/>
                      <a:pt x="766" y="42"/>
                      <a:pt x="763" y="45"/>
                    </a:cubicBezTo>
                    <a:cubicBezTo>
                      <a:pt x="761" y="49"/>
                      <a:pt x="759" y="53"/>
                      <a:pt x="758" y="58"/>
                    </a:cubicBezTo>
                    <a:cubicBezTo>
                      <a:pt x="757" y="63"/>
                      <a:pt x="757" y="69"/>
                      <a:pt x="757" y="75"/>
                    </a:cubicBezTo>
                    <a:cubicBezTo>
                      <a:pt x="757" y="83"/>
                      <a:pt x="757" y="89"/>
                      <a:pt x="758" y="94"/>
                    </a:cubicBezTo>
                    <a:cubicBezTo>
                      <a:pt x="760" y="100"/>
                      <a:pt x="762" y="104"/>
                      <a:pt x="765" y="108"/>
                    </a:cubicBezTo>
                    <a:cubicBezTo>
                      <a:pt x="768" y="111"/>
                      <a:pt x="772" y="114"/>
                      <a:pt x="778" y="116"/>
                    </a:cubicBezTo>
                    <a:cubicBezTo>
                      <a:pt x="783" y="117"/>
                      <a:pt x="790" y="118"/>
                      <a:pt x="799" y="118"/>
                    </a:cubicBezTo>
                    <a:cubicBezTo>
                      <a:pt x="803" y="118"/>
                      <a:pt x="807" y="118"/>
                      <a:pt x="811" y="118"/>
                    </a:cubicBezTo>
                    <a:cubicBezTo>
                      <a:pt x="814" y="117"/>
                      <a:pt x="818" y="117"/>
                      <a:pt x="822" y="117"/>
                    </a:cubicBezTo>
                    <a:cubicBezTo>
                      <a:pt x="822" y="5"/>
                      <a:pt x="822" y="5"/>
                      <a:pt x="822" y="5"/>
                    </a:cubicBezTo>
                    <a:cubicBezTo>
                      <a:pt x="811" y="5"/>
                      <a:pt x="811" y="5"/>
                      <a:pt x="811" y="5"/>
                    </a:cubicBezTo>
                    <a:lnTo>
                      <a:pt x="811" y="40"/>
                    </a:lnTo>
                    <a:close/>
                    <a:moveTo>
                      <a:pt x="633" y="117"/>
                    </a:moveTo>
                    <a:cubicBezTo>
                      <a:pt x="643" y="117"/>
                      <a:pt x="643" y="117"/>
                      <a:pt x="643" y="117"/>
                    </a:cubicBezTo>
                    <a:cubicBezTo>
                      <a:pt x="643" y="47"/>
                      <a:pt x="643" y="47"/>
                      <a:pt x="643" y="47"/>
                    </a:cubicBezTo>
                    <a:cubicBezTo>
                      <a:pt x="646" y="46"/>
                      <a:pt x="649" y="45"/>
                      <a:pt x="653" y="44"/>
                    </a:cubicBezTo>
                    <a:cubicBezTo>
                      <a:pt x="657" y="43"/>
                      <a:pt x="661" y="43"/>
                      <a:pt x="666" y="43"/>
                    </a:cubicBezTo>
                    <a:cubicBezTo>
                      <a:pt x="675" y="43"/>
                      <a:pt x="681" y="45"/>
                      <a:pt x="684" y="51"/>
                    </a:cubicBezTo>
                    <a:cubicBezTo>
                      <a:pt x="688" y="56"/>
                      <a:pt x="689" y="64"/>
                      <a:pt x="689" y="75"/>
                    </a:cubicBezTo>
                    <a:cubicBezTo>
                      <a:pt x="689" y="117"/>
                      <a:pt x="689" y="117"/>
                      <a:pt x="689" y="117"/>
                    </a:cubicBezTo>
                    <a:cubicBezTo>
                      <a:pt x="700" y="117"/>
                      <a:pt x="700" y="117"/>
                      <a:pt x="700" y="117"/>
                    </a:cubicBezTo>
                    <a:cubicBezTo>
                      <a:pt x="700" y="75"/>
                      <a:pt x="700" y="75"/>
                      <a:pt x="700" y="75"/>
                    </a:cubicBezTo>
                    <a:cubicBezTo>
                      <a:pt x="700" y="69"/>
                      <a:pt x="700" y="63"/>
                      <a:pt x="698" y="58"/>
                    </a:cubicBezTo>
                    <a:cubicBezTo>
                      <a:pt x="697" y="53"/>
                      <a:pt x="695" y="49"/>
                      <a:pt x="693" y="45"/>
                    </a:cubicBezTo>
                    <a:cubicBezTo>
                      <a:pt x="690" y="42"/>
                      <a:pt x="686" y="40"/>
                      <a:pt x="682" y="38"/>
                    </a:cubicBezTo>
                    <a:cubicBezTo>
                      <a:pt x="677" y="37"/>
                      <a:pt x="672" y="36"/>
                      <a:pt x="666" y="36"/>
                    </a:cubicBezTo>
                    <a:cubicBezTo>
                      <a:pt x="660" y="36"/>
                      <a:pt x="654" y="36"/>
                      <a:pt x="649" y="37"/>
                    </a:cubicBezTo>
                    <a:cubicBezTo>
                      <a:pt x="644" y="39"/>
                      <a:pt x="639" y="40"/>
                      <a:pt x="632" y="43"/>
                    </a:cubicBezTo>
                    <a:lnTo>
                      <a:pt x="633" y="117"/>
                    </a:lnTo>
                    <a:close/>
                    <a:moveTo>
                      <a:pt x="564" y="109"/>
                    </a:moveTo>
                    <a:cubicBezTo>
                      <a:pt x="561" y="108"/>
                      <a:pt x="558" y="106"/>
                      <a:pt x="556" y="103"/>
                    </a:cubicBezTo>
                    <a:cubicBezTo>
                      <a:pt x="554" y="100"/>
                      <a:pt x="553" y="97"/>
                      <a:pt x="552" y="92"/>
                    </a:cubicBezTo>
                    <a:cubicBezTo>
                      <a:pt x="552" y="88"/>
                      <a:pt x="551" y="82"/>
                      <a:pt x="551" y="76"/>
                    </a:cubicBezTo>
                    <a:cubicBezTo>
                      <a:pt x="551" y="69"/>
                      <a:pt x="552" y="64"/>
                      <a:pt x="553" y="60"/>
                    </a:cubicBezTo>
                    <a:cubicBezTo>
                      <a:pt x="554" y="56"/>
                      <a:pt x="555" y="52"/>
                      <a:pt x="557" y="50"/>
                    </a:cubicBezTo>
                    <a:cubicBezTo>
                      <a:pt x="559" y="47"/>
                      <a:pt x="562" y="46"/>
                      <a:pt x="565" y="45"/>
                    </a:cubicBezTo>
                    <a:cubicBezTo>
                      <a:pt x="568" y="44"/>
                      <a:pt x="572" y="43"/>
                      <a:pt x="577" y="43"/>
                    </a:cubicBezTo>
                    <a:cubicBezTo>
                      <a:pt x="581" y="43"/>
                      <a:pt x="584" y="44"/>
                      <a:pt x="588" y="45"/>
                    </a:cubicBezTo>
                    <a:cubicBezTo>
                      <a:pt x="591" y="46"/>
                      <a:pt x="593" y="48"/>
                      <a:pt x="595" y="50"/>
                    </a:cubicBezTo>
                    <a:cubicBezTo>
                      <a:pt x="597" y="53"/>
                      <a:pt x="599" y="56"/>
                      <a:pt x="600" y="61"/>
                    </a:cubicBezTo>
                    <a:cubicBezTo>
                      <a:pt x="601" y="65"/>
                      <a:pt x="602" y="70"/>
                      <a:pt x="602" y="76"/>
                    </a:cubicBezTo>
                    <a:cubicBezTo>
                      <a:pt x="602" y="82"/>
                      <a:pt x="602" y="87"/>
                      <a:pt x="601" y="92"/>
                    </a:cubicBezTo>
                    <a:cubicBezTo>
                      <a:pt x="601" y="96"/>
                      <a:pt x="599" y="100"/>
                      <a:pt x="598" y="103"/>
                    </a:cubicBezTo>
                    <a:cubicBezTo>
                      <a:pt x="596" y="106"/>
                      <a:pt x="593" y="108"/>
                      <a:pt x="590" y="109"/>
                    </a:cubicBezTo>
                    <a:cubicBezTo>
                      <a:pt x="587" y="110"/>
                      <a:pt x="582" y="111"/>
                      <a:pt x="577" y="111"/>
                    </a:cubicBezTo>
                    <a:cubicBezTo>
                      <a:pt x="572" y="111"/>
                      <a:pt x="567" y="111"/>
                      <a:pt x="564" y="109"/>
                    </a:cubicBezTo>
                    <a:close/>
                    <a:moveTo>
                      <a:pt x="577" y="36"/>
                    </a:moveTo>
                    <a:cubicBezTo>
                      <a:pt x="571" y="36"/>
                      <a:pt x="565" y="36"/>
                      <a:pt x="561" y="38"/>
                    </a:cubicBezTo>
                    <a:cubicBezTo>
                      <a:pt x="556" y="39"/>
                      <a:pt x="553" y="41"/>
                      <a:pt x="550" y="45"/>
                    </a:cubicBezTo>
                    <a:cubicBezTo>
                      <a:pt x="547" y="48"/>
                      <a:pt x="544" y="52"/>
                      <a:pt x="543" y="57"/>
                    </a:cubicBezTo>
                    <a:cubicBezTo>
                      <a:pt x="542" y="62"/>
                      <a:pt x="541" y="68"/>
                      <a:pt x="541" y="75"/>
                    </a:cubicBezTo>
                    <a:cubicBezTo>
                      <a:pt x="541" y="83"/>
                      <a:pt x="541" y="90"/>
                      <a:pt x="542" y="95"/>
                    </a:cubicBezTo>
                    <a:cubicBezTo>
                      <a:pt x="544" y="101"/>
                      <a:pt x="546" y="105"/>
                      <a:pt x="548" y="109"/>
                    </a:cubicBezTo>
                    <a:cubicBezTo>
                      <a:pt x="551" y="112"/>
                      <a:pt x="555" y="114"/>
                      <a:pt x="559" y="116"/>
                    </a:cubicBezTo>
                    <a:cubicBezTo>
                      <a:pt x="564" y="118"/>
                      <a:pt x="570" y="118"/>
                      <a:pt x="577" y="118"/>
                    </a:cubicBezTo>
                    <a:cubicBezTo>
                      <a:pt x="584" y="118"/>
                      <a:pt x="590" y="117"/>
                      <a:pt x="595" y="116"/>
                    </a:cubicBezTo>
                    <a:cubicBezTo>
                      <a:pt x="599" y="114"/>
                      <a:pt x="603" y="111"/>
                      <a:pt x="605" y="108"/>
                    </a:cubicBezTo>
                    <a:cubicBezTo>
                      <a:pt x="608" y="104"/>
                      <a:pt x="610" y="100"/>
                      <a:pt x="611" y="95"/>
                    </a:cubicBezTo>
                    <a:cubicBezTo>
                      <a:pt x="612" y="89"/>
                      <a:pt x="613" y="83"/>
                      <a:pt x="613" y="76"/>
                    </a:cubicBezTo>
                    <a:cubicBezTo>
                      <a:pt x="613" y="69"/>
                      <a:pt x="612" y="63"/>
                      <a:pt x="610" y="57"/>
                    </a:cubicBezTo>
                    <a:cubicBezTo>
                      <a:pt x="609" y="52"/>
                      <a:pt x="606" y="48"/>
                      <a:pt x="603" y="45"/>
                    </a:cubicBezTo>
                    <a:cubicBezTo>
                      <a:pt x="600" y="42"/>
                      <a:pt x="597" y="40"/>
                      <a:pt x="592" y="38"/>
                    </a:cubicBezTo>
                    <a:cubicBezTo>
                      <a:pt x="588" y="37"/>
                      <a:pt x="583" y="36"/>
                      <a:pt x="577" y="36"/>
                    </a:cubicBezTo>
                    <a:close/>
                    <a:moveTo>
                      <a:pt x="512" y="117"/>
                    </a:moveTo>
                    <a:cubicBezTo>
                      <a:pt x="522" y="117"/>
                      <a:pt x="522" y="117"/>
                      <a:pt x="522" y="117"/>
                    </a:cubicBezTo>
                    <a:cubicBezTo>
                      <a:pt x="522" y="37"/>
                      <a:pt x="522" y="37"/>
                      <a:pt x="522" y="37"/>
                    </a:cubicBezTo>
                    <a:cubicBezTo>
                      <a:pt x="512" y="37"/>
                      <a:pt x="512" y="37"/>
                      <a:pt x="512" y="37"/>
                    </a:cubicBezTo>
                    <a:lnTo>
                      <a:pt x="512" y="117"/>
                    </a:lnTo>
                    <a:close/>
                    <a:moveTo>
                      <a:pt x="512" y="17"/>
                    </a:moveTo>
                    <a:cubicBezTo>
                      <a:pt x="522" y="17"/>
                      <a:pt x="522" y="17"/>
                      <a:pt x="522" y="17"/>
                    </a:cubicBezTo>
                    <a:cubicBezTo>
                      <a:pt x="522" y="6"/>
                      <a:pt x="522" y="6"/>
                      <a:pt x="522" y="6"/>
                    </a:cubicBezTo>
                    <a:cubicBezTo>
                      <a:pt x="512" y="6"/>
                      <a:pt x="512" y="6"/>
                      <a:pt x="512" y="6"/>
                    </a:cubicBezTo>
                    <a:lnTo>
                      <a:pt x="512" y="17"/>
                    </a:lnTo>
                    <a:close/>
                    <a:moveTo>
                      <a:pt x="467" y="17"/>
                    </a:moveTo>
                    <a:cubicBezTo>
                      <a:pt x="467" y="37"/>
                      <a:pt x="467" y="37"/>
                      <a:pt x="467" y="37"/>
                    </a:cubicBezTo>
                    <a:cubicBezTo>
                      <a:pt x="450" y="37"/>
                      <a:pt x="450" y="37"/>
                      <a:pt x="450" y="37"/>
                    </a:cubicBezTo>
                    <a:cubicBezTo>
                      <a:pt x="450" y="45"/>
                      <a:pt x="450" y="45"/>
                      <a:pt x="450" y="45"/>
                    </a:cubicBezTo>
                    <a:cubicBezTo>
                      <a:pt x="467" y="45"/>
                      <a:pt x="467" y="45"/>
                      <a:pt x="467" y="45"/>
                    </a:cubicBezTo>
                    <a:cubicBezTo>
                      <a:pt x="467" y="92"/>
                      <a:pt x="467" y="92"/>
                      <a:pt x="467" y="92"/>
                    </a:cubicBezTo>
                    <a:cubicBezTo>
                      <a:pt x="467" y="96"/>
                      <a:pt x="467" y="101"/>
                      <a:pt x="468" y="104"/>
                    </a:cubicBezTo>
                    <a:cubicBezTo>
                      <a:pt x="468" y="107"/>
                      <a:pt x="469" y="110"/>
                      <a:pt x="470" y="112"/>
                    </a:cubicBezTo>
                    <a:cubicBezTo>
                      <a:pt x="471" y="114"/>
                      <a:pt x="473" y="116"/>
                      <a:pt x="475" y="117"/>
                    </a:cubicBezTo>
                    <a:cubicBezTo>
                      <a:pt x="478" y="118"/>
                      <a:pt x="481" y="118"/>
                      <a:pt x="484" y="118"/>
                    </a:cubicBezTo>
                    <a:cubicBezTo>
                      <a:pt x="486" y="118"/>
                      <a:pt x="487" y="118"/>
                      <a:pt x="488" y="118"/>
                    </a:cubicBezTo>
                    <a:cubicBezTo>
                      <a:pt x="490" y="118"/>
                      <a:pt x="492" y="117"/>
                      <a:pt x="495" y="117"/>
                    </a:cubicBezTo>
                    <a:cubicBezTo>
                      <a:pt x="496" y="110"/>
                      <a:pt x="496" y="110"/>
                      <a:pt x="496" y="110"/>
                    </a:cubicBezTo>
                    <a:cubicBezTo>
                      <a:pt x="494" y="110"/>
                      <a:pt x="492" y="110"/>
                      <a:pt x="490" y="111"/>
                    </a:cubicBezTo>
                    <a:cubicBezTo>
                      <a:pt x="489" y="111"/>
                      <a:pt x="487" y="111"/>
                      <a:pt x="486" y="111"/>
                    </a:cubicBezTo>
                    <a:cubicBezTo>
                      <a:pt x="485" y="111"/>
                      <a:pt x="485" y="111"/>
                      <a:pt x="485" y="111"/>
                    </a:cubicBezTo>
                    <a:cubicBezTo>
                      <a:pt x="484" y="111"/>
                      <a:pt x="482" y="111"/>
                      <a:pt x="481" y="110"/>
                    </a:cubicBezTo>
                    <a:cubicBezTo>
                      <a:pt x="480" y="110"/>
                      <a:pt x="479" y="109"/>
                      <a:pt x="479" y="107"/>
                    </a:cubicBezTo>
                    <a:cubicBezTo>
                      <a:pt x="478" y="106"/>
                      <a:pt x="478" y="104"/>
                      <a:pt x="478" y="101"/>
                    </a:cubicBezTo>
                    <a:cubicBezTo>
                      <a:pt x="477" y="99"/>
                      <a:pt x="477" y="96"/>
                      <a:pt x="477" y="92"/>
                    </a:cubicBezTo>
                    <a:cubicBezTo>
                      <a:pt x="477" y="45"/>
                      <a:pt x="477" y="45"/>
                      <a:pt x="477" y="45"/>
                    </a:cubicBezTo>
                    <a:cubicBezTo>
                      <a:pt x="496" y="45"/>
                      <a:pt x="496" y="45"/>
                      <a:pt x="496" y="45"/>
                    </a:cubicBezTo>
                    <a:cubicBezTo>
                      <a:pt x="496" y="37"/>
                      <a:pt x="496" y="37"/>
                      <a:pt x="496" y="37"/>
                    </a:cubicBezTo>
                    <a:cubicBezTo>
                      <a:pt x="477" y="37"/>
                      <a:pt x="477" y="37"/>
                      <a:pt x="477" y="37"/>
                    </a:cubicBezTo>
                    <a:cubicBezTo>
                      <a:pt x="477" y="17"/>
                      <a:pt x="477" y="17"/>
                      <a:pt x="477" y="17"/>
                    </a:cubicBezTo>
                    <a:lnTo>
                      <a:pt x="467" y="17"/>
                    </a:lnTo>
                    <a:close/>
                    <a:moveTo>
                      <a:pt x="429" y="117"/>
                    </a:moveTo>
                    <a:cubicBezTo>
                      <a:pt x="440" y="117"/>
                      <a:pt x="440" y="117"/>
                      <a:pt x="440" y="117"/>
                    </a:cubicBezTo>
                    <a:cubicBezTo>
                      <a:pt x="440" y="37"/>
                      <a:pt x="440" y="37"/>
                      <a:pt x="440" y="37"/>
                    </a:cubicBezTo>
                    <a:cubicBezTo>
                      <a:pt x="429" y="37"/>
                      <a:pt x="429" y="37"/>
                      <a:pt x="429" y="37"/>
                    </a:cubicBezTo>
                    <a:lnTo>
                      <a:pt x="429" y="117"/>
                    </a:lnTo>
                    <a:close/>
                    <a:moveTo>
                      <a:pt x="429" y="17"/>
                    </a:moveTo>
                    <a:cubicBezTo>
                      <a:pt x="440" y="17"/>
                      <a:pt x="440" y="17"/>
                      <a:pt x="440" y="17"/>
                    </a:cubicBezTo>
                    <a:cubicBezTo>
                      <a:pt x="440" y="6"/>
                      <a:pt x="440" y="6"/>
                      <a:pt x="440" y="6"/>
                    </a:cubicBezTo>
                    <a:cubicBezTo>
                      <a:pt x="429" y="6"/>
                      <a:pt x="429" y="6"/>
                      <a:pt x="429" y="6"/>
                    </a:cubicBezTo>
                    <a:lnTo>
                      <a:pt x="429" y="17"/>
                    </a:lnTo>
                    <a:close/>
                    <a:moveTo>
                      <a:pt x="353" y="47"/>
                    </a:moveTo>
                    <a:cubicBezTo>
                      <a:pt x="356" y="46"/>
                      <a:pt x="359" y="45"/>
                      <a:pt x="363" y="44"/>
                    </a:cubicBezTo>
                    <a:cubicBezTo>
                      <a:pt x="367" y="43"/>
                      <a:pt x="372" y="43"/>
                      <a:pt x="376" y="43"/>
                    </a:cubicBezTo>
                    <a:cubicBezTo>
                      <a:pt x="380" y="43"/>
                      <a:pt x="384" y="43"/>
                      <a:pt x="387" y="45"/>
                    </a:cubicBezTo>
                    <a:cubicBezTo>
                      <a:pt x="390" y="46"/>
                      <a:pt x="392" y="48"/>
                      <a:pt x="393" y="50"/>
                    </a:cubicBezTo>
                    <a:cubicBezTo>
                      <a:pt x="395" y="53"/>
                      <a:pt x="396" y="56"/>
                      <a:pt x="396" y="61"/>
                    </a:cubicBezTo>
                    <a:cubicBezTo>
                      <a:pt x="397" y="65"/>
                      <a:pt x="397" y="70"/>
                      <a:pt x="397" y="75"/>
                    </a:cubicBezTo>
                    <a:cubicBezTo>
                      <a:pt x="397" y="81"/>
                      <a:pt x="397" y="86"/>
                      <a:pt x="396" y="91"/>
                    </a:cubicBezTo>
                    <a:cubicBezTo>
                      <a:pt x="396" y="95"/>
                      <a:pt x="394" y="99"/>
                      <a:pt x="392" y="102"/>
                    </a:cubicBezTo>
                    <a:cubicBezTo>
                      <a:pt x="390" y="105"/>
                      <a:pt x="387" y="107"/>
                      <a:pt x="383" y="108"/>
                    </a:cubicBezTo>
                    <a:cubicBezTo>
                      <a:pt x="379" y="110"/>
                      <a:pt x="374" y="111"/>
                      <a:pt x="367" y="111"/>
                    </a:cubicBezTo>
                    <a:cubicBezTo>
                      <a:pt x="365" y="111"/>
                      <a:pt x="363" y="111"/>
                      <a:pt x="361" y="111"/>
                    </a:cubicBezTo>
                    <a:cubicBezTo>
                      <a:pt x="358" y="110"/>
                      <a:pt x="356" y="110"/>
                      <a:pt x="353" y="110"/>
                    </a:cubicBezTo>
                    <a:lnTo>
                      <a:pt x="353" y="47"/>
                    </a:lnTo>
                    <a:close/>
                    <a:moveTo>
                      <a:pt x="343" y="5"/>
                    </a:moveTo>
                    <a:cubicBezTo>
                      <a:pt x="343" y="117"/>
                      <a:pt x="343" y="117"/>
                      <a:pt x="343" y="117"/>
                    </a:cubicBezTo>
                    <a:cubicBezTo>
                      <a:pt x="346" y="117"/>
                      <a:pt x="350" y="117"/>
                      <a:pt x="354" y="118"/>
                    </a:cubicBezTo>
                    <a:cubicBezTo>
                      <a:pt x="358" y="118"/>
                      <a:pt x="362" y="118"/>
                      <a:pt x="366" y="118"/>
                    </a:cubicBezTo>
                    <a:cubicBezTo>
                      <a:pt x="374" y="118"/>
                      <a:pt x="381" y="117"/>
                      <a:pt x="387" y="116"/>
                    </a:cubicBezTo>
                    <a:cubicBezTo>
                      <a:pt x="392" y="114"/>
                      <a:pt x="397" y="111"/>
                      <a:pt x="400" y="108"/>
                    </a:cubicBezTo>
                    <a:cubicBezTo>
                      <a:pt x="403" y="104"/>
                      <a:pt x="405" y="100"/>
                      <a:pt x="406" y="94"/>
                    </a:cubicBezTo>
                    <a:cubicBezTo>
                      <a:pt x="407" y="89"/>
                      <a:pt x="408" y="83"/>
                      <a:pt x="408" y="75"/>
                    </a:cubicBezTo>
                    <a:cubicBezTo>
                      <a:pt x="408" y="69"/>
                      <a:pt x="407" y="63"/>
                      <a:pt x="406" y="58"/>
                    </a:cubicBezTo>
                    <a:cubicBezTo>
                      <a:pt x="405" y="53"/>
                      <a:pt x="404" y="49"/>
                      <a:pt x="401" y="45"/>
                    </a:cubicBezTo>
                    <a:cubicBezTo>
                      <a:pt x="399" y="42"/>
                      <a:pt x="396" y="40"/>
                      <a:pt x="392" y="38"/>
                    </a:cubicBezTo>
                    <a:cubicBezTo>
                      <a:pt x="388" y="37"/>
                      <a:pt x="382" y="36"/>
                      <a:pt x="376" y="36"/>
                    </a:cubicBezTo>
                    <a:cubicBezTo>
                      <a:pt x="372" y="36"/>
                      <a:pt x="367" y="36"/>
                      <a:pt x="363" y="37"/>
                    </a:cubicBezTo>
                    <a:cubicBezTo>
                      <a:pt x="359" y="38"/>
                      <a:pt x="356" y="39"/>
                      <a:pt x="353" y="40"/>
                    </a:cubicBezTo>
                    <a:cubicBezTo>
                      <a:pt x="353" y="5"/>
                      <a:pt x="353" y="5"/>
                      <a:pt x="353" y="5"/>
                    </a:cubicBezTo>
                    <a:lnTo>
                      <a:pt x="343" y="5"/>
                    </a:lnTo>
                    <a:close/>
                    <a:moveTo>
                      <a:pt x="201" y="117"/>
                    </a:moveTo>
                    <a:cubicBezTo>
                      <a:pt x="212" y="117"/>
                      <a:pt x="212" y="117"/>
                      <a:pt x="212" y="117"/>
                    </a:cubicBezTo>
                    <a:cubicBezTo>
                      <a:pt x="212" y="47"/>
                      <a:pt x="212" y="47"/>
                      <a:pt x="212" y="47"/>
                    </a:cubicBezTo>
                    <a:cubicBezTo>
                      <a:pt x="215" y="46"/>
                      <a:pt x="218" y="45"/>
                      <a:pt x="222" y="44"/>
                    </a:cubicBezTo>
                    <a:cubicBezTo>
                      <a:pt x="226" y="43"/>
                      <a:pt x="230" y="43"/>
                      <a:pt x="235" y="43"/>
                    </a:cubicBezTo>
                    <a:cubicBezTo>
                      <a:pt x="239" y="43"/>
                      <a:pt x="242" y="43"/>
                      <a:pt x="245" y="45"/>
                    </a:cubicBezTo>
                    <a:cubicBezTo>
                      <a:pt x="248" y="46"/>
                      <a:pt x="250" y="48"/>
                      <a:pt x="252" y="50"/>
                    </a:cubicBezTo>
                    <a:cubicBezTo>
                      <a:pt x="253" y="53"/>
                      <a:pt x="254" y="56"/>
                      <a:pt x="255" y="60"/>
                    </a:cubicBezTo>
                    <a:cubicBezTo>
                      <a:pt x="255" y="64"/>
                      <a:pt x="256" y="69"/>
                      <a:pt x="256" y="75"/>
                    </a:cubicBezTo>
                    <a:cubicBezTo>
                      <a:pt x="256" y="117"/>
                      <a:pt x="256" y="117"/>
                      <a:pt x="256" y="117"/>
                    </a:cubicBezTo>
                    <a:cubicBezTo>
                      <a:pt x="267" y="117"/>
                      <a:pt x="267" y="117"/>
                      <a:pt x="267" y="117"/>
                    </a:cubicBezTo>
                    <a:cubicBezTo>
                      <a:pt x="267" y="75"/>
                      <a:pt x="267" y="75"/>
                      <a:pt x="267" y="75"/>
                    </a:cubicBezTo>
                    <a:cubicBezTo>
                      <a:pt x="267" y="69"/>
                      <a:pt x="266" y="64"/>
                      <a:pt x="266" y="59"/>
                    </a:cubicBezTo>
                    <a:cubicBezTo>
                      <a:pt x="265" y="55"/>
                      <a:pt x="264" y="51"/>
                      <a:pt x="262" y="48"/>
                    </a:cubicBezTo>
                    <a:cubicBezTo>
                      <a:pt x="267" y="46"/>
                      <a:pt x="272" y="45"/>
                      <a:pt x="276" y="44"/>
                    </a:cubicBezTo>
                    <a:cubicBezTo>
                      <a:pt x="280" y="43"/>
                      <a:pt x="284" y="43"/>
                      <a:pt x="289" y="43"/>
                    </a:cubicBezTo>
                    <a:cubicBezTo>
                      <a:pt x="293" y="43"/>
                      <a:pt x="297" y="43"/>
                      <a:pt x="300" y="45"/>
                    </a:cubicBezTo>
                    <a:cubicBezTo>
                      <a:pt x="303" y="46"/>
                      <a:pt x="305" y="48"/>
                      <a:pt x="306" y="50"/>
                    </a:cubicBezTo>
                    <a:cubicBezTo>
                      <a:pt x="308" y="53"/>
                      <a:pt x="309" y="56"/>
                      <a:pt x="309" y="60"/>
                    </a:cubicBezTo>
                    <a:cubicBezTo>
                      <a:pt x="310" y="64"/>
                      <a:pt x="310" y="69"/>
                      <a:pt x="310" y="75"/>
                    </a:cubicBezTo>
                    <a:cubicBezTo>
                      <a:pt x="310" y="117"/>
                      <a:pt x="310" y="117"/>
                      <a:pt x="310" y="117"/>
                    </a:cubicBezTo>
                    <a:cubicBezTo>
                      <a:pt x="321" y="117"/>
                      <a:pt x="321" y="117"/>
                      <a:pt x="321" y="117"/>
                    </a:cubicBezTo>
                    <a:cubicBezTo>
                      <a:pt x="321" y="75"/>
                      <a:pt x="321" y="75"/>
                      <a:pt x="321" y="75"/>
                    </a:cubicBezTo>
                    <a:cubicBezTo>
                      <a:pt x="321" y="68"/>
                      <a:pt x="321" y="63"/>
                      <a:pt x="320" y="58"/>
                    </a:cubicBezTo>
                    <a:cubicBezTo>
                      <a:pt x="319" y="53"/>
                      <a:pt x="317" y="48"/>
                      <a:pt x="315" y="45"/>
                    </a:cubicBezTo>
                    <a:cubicBezTo>
                      <a:pt x="312" y="42"/>
                      <a:pt x="309" y="40"/>
                      <a:pt x="305" y="38"/>
                    </a:cubicBezTo>
                    <a:cubicBezTo>
                      <a:pt x="301" y="36"/>
                      <a:pt x="296" y="36"/>
                      <a:pt x="289" y="36"/>
                    </a:cubicBezTo>
                    <a:cubicBezTo>
                      <a:pt x="287" y="36"/>
                      <a:pt x="284" y="36"/>
                      <a:pt x="282" y="36"/>
                    </a:cubicBezTo>
                    <a:cubicBezTo>
                      <a:pt x="279" y="36"/>
                      <a:pt x="277" y="36"/>
                      <a:pt x="274" y="37"/>
                    </a:cubicBezTo>
                    <a:cubicBezTo>
                      <a:pt x="272" y="37"/>
                      <a:pt x="269" y="38"/>
                      <a:pt x="266" y="39"/>
                    </a:cubicBezTo>
                    <a:cubicBezTo>
                      <a:pt x="263" y="40"/>
                      <a:pt x="260" y="41"/>
                      <a:pt x="257" y="42"/>
                    </a:cubicBezTo>
                    <a:cubicBezTo>
                      <a:pt x="252" y="38"/>
                      <a:pt x="245" y="35"/>
                      <a:pt x="235" y="35"/>
                    </a:cubicBezTo>
                    <a:cubicBezTo>
                      <a:pt x="229" y="35"/>
                      <a:pt x="224" y="36"/>
                      <a:pt x="219" y="37"/>
                    </a:cubicBezTo>
                    <a:cubicBezTo>
                      <a:pt x="214" y="38"/>
                      <a:pt x="208" y="40"/>
                      <a:pt x="201" y="42"/>
                    </a:cubicBezTo>
                    <a:lnTo>
                      <a:pt x="201" y="117"/>
                    </a:lnTo>
                    <a:close/>
                    <a:moveTo>
                      <a:pt x="169" y="107"/>
                    </a:moveTo>
                    <a:cubicBezTo>
                      <a:pt x="166" y="108"/>
                      <a:pt x="162" y="108"/>
                      <a:pt x="157" y="109"/>
                    </a:cubicBezTo>
                    <a:cubicBezTo>
                      <a:pt x="152" y="110"/>
                      <a:pt x="147" y="111"/>
                      <a:pt x="142" y="111"/>
                    </a:cubicBezTo>
                    <a:cubicBezTo>
                      <a:pt x="138" y="111"/>
                      <a:pt x="134" y="109"/>
                      <a:pt x="132" y="106"/>
                    </a:cubicBezTo>
                    <a:cubicBezTo>
                      <a:pt x="129" y="103"/>
                      <a:pt x="128" y="99"/>
                      <a:pt x="128" y="94"/>
                    </a:cubicBezTo>
                    <a:cubicBezTo>
                      <a:pt x="128" y="90"/>
                      <a:pt x="129" y="86"/>
                      <a:pt x="132" y="83"/>
                    </a:cubicBezTo>
                    <a:cubicBezTo>
                      <a:pt x="134" y="80"/>
                      <a:pt x="138" y="78"/>
                      <a:pt x="144" y="78"/>
                    </a:cubicBezTo>
                    <a:cubicBezTo>
                      <a:pt x="169" y="76"/>
                      <a:pt x="169" y="76"/>
                      <a:pt x="169" y="76"/>
                    </a:cubicBezTo>
                    <a:lnTo>
                      <a:pt x="169" y="107"/>
                    </a:lnTo>
                    <a:close/>
                    <a:moveTo>
                      <a:pt x="125" y="45"/>
                    </a:moveTo>
                    <a:cubicBezTo>
                      <a:pt x="130" y="45"/>
                      <a:pt x="134" y="44"/>
                      <a:pt x="139" y="44"/>
                    </a:cubicBezTo>
                    <a:cubicBezTo>
                      <a:pt x="144" y="43"/>
                      <a:pt x="148" y="43"/>
                      <a:pt x="152" y="43"/>
                    </a:cubicBezTo>
                    <a:cubicBezTo>
                      <a:pt x="158" y="43"/>
                      <a:pt x="162" y="45"/>
                      <a:pt x="165" y="47"/>
                    </a:cubicBezTo>
                    <a:cubicBezTo>
                      <a:pt x="168" y="50"/>
                      <a:pt x="169" y="54"/>
                      <a:pt x="169" y="61"/>
                    </a:cubicBezTo>
                    <a:cubicBezTo>
                      <a:pt x="169" y="69"/>
                      <a:pt x="169" y="69"/>
                      <a:pt x="169" y="69"/>
                    </a:cubicBezTo>
                    <a:cubicBezTo>
                      <a:pt x="143" y="71"/>
                      <a:pt x="143" y="71"/>
                      <a:pt x="143" y="71"/>
                    </a:cubicBezTo>
                    <a:cubicBezTo>
                      <a:pt x="134" y="72"/>
                      <a:pt x="127" y="74"/>
                      <a:pt x="123" y="78"/>
                    </a:cubicBezTo>
                    <a:cubicBezTo>
                      <a:pt x="119" y="82"/>
                      <a:pt x="117" y="88"/>
                      <a:pt x="117" y="94"/>
                    </a:cubicBezTo>
                    <a:cubicBezTo>
                      <a:pt x="117" y="102"/>
                      <a:pt x="120" y="108"/>
                      <a:pt x="124" y="112"/>
                    </a:cubicBezTo>
                    <a:cubicBezTo>
                      <a:pt x="128" y="116"/>
                      <a:pt x="134" y="118"/>
                      <a:pt x="142" y="118"/>
                    </a:cubicBezTo>
                    <a:cubicBezTo>
                      <a:pt x="150" y="118"/>
                      <a:pt x="157" y="117"/>
                      <a:pt x="163" y="116"/>
                    </a:cubicBezTo>
                    <a:cubicBezTo>
                      <a:pt x="169" y="114"/>
                      <a:pt x="175" y="113"/>
                      <a:pt x="180" y="111"/>
                    </a:cubicBezTo>
                    <a:cubicBezTo>
                      <a:pt x="180" y="61"/>
                      <a:pt x="180" y="61"/>
                      <a:pt x="180" y="61"/>
                    </a:cubicBezTo>
                    <a:cubicBezTo>
                      <a:pt x="180" y="53"/>
                      <a:pt x="177" y="46"/>
                      <a:pt x="173" y="42"/>
                    </a:cubicBezTo>
                    <a:cubicBezTo>
                      <a:pt x="169" y="38"/>
                      <a:pt x="162" y="36"/>
                      <a:pt x="152" y="36"/>
                    </a:cubicBezTo>
                    <a:cubicBezTo>
                      <a:pt x="147" y="36"/>
                      <a:pt x="143" y="36"/>
                      <a:pt x="138" y="36"/>
                    </a:cubicBezTo>
                    <a:cubicBezTo>
                      <a:pt x="133" y="37"/>
                      <a:pt x="128" y="37"/>
                      <a:pt x="123" y="38"/>
                    </a:cubicBezTo>
                    <a:lnTo>
                      <a:pt x="125" y="45"/>
                    </a:lnTo>
                    <a:close/>
                    <a:moveTo>
                      <a:pt x="81" y="34"/>
                    </a:moveTo>
                    <a:cubicBezTo>
                      <a:pt x="91" y="34"/>
                      <a:pt x="91" y="34"/>
                      <a:pt x="91" y="34"/>
                    </a:cubicBezTo>
                    <a:cubicBezTo>
                      <a:pt x="100" y="0"/>
                      <a:pt x="100" y="0"/>
                      <a:pt x="100" y="0"/>
                    </a:cubicBezTo>
                    <a:cubicBezTo>
                      <a:pt x="89" y="0"/>
                      <a:pt x="89" y="0"/>
                      <a:pt x="89" y="0"/>
                    </a:cubicBezTo>
                    <a:lnTo>
                      <a:pt x="81" y="34"/>
                    </a:lnTo>
                    <a:close/>
                    <a:moveTo>
                      <a:pt x="70" y="117"/>
                    </a:moveTo>
                    <a:cubicBezTo>
                      <a:pt x="70" y="109"/>
                      <a:pt x="70" y="109"/>
                      <a:pt x="70" y="109"/>
                    </a:cubicBezTo>
                    <a:cubicBezTo>
                      <a:pt x="11" y="109"/>
                      <a:pt x="11" y="109"/>
                      <a:pt x="11" y="109"/>
                    </a:cubicBezTo>
                    <a:cubicBezTo>
                      <a:pt x="11" y="5"/>
                      <a:pt x="11" y="5"/>
                      <a:pt x="11" y="5"/>
                    </a:cubicBezTo>
                    <a:cubicBezTo>
                      <a:pt x="0" y="5"/>
                      <a:pt x="0" y="5"/>
                      <a:pt x="0" y="5"/>
                    </a:cubicBezTo>
                    <a:cubicBezTo>
                      <a:pt x="0" y="117"/>
                      <a:pt x="0" y="117"/>
                      <a:pt x="0" y="117"/>
                    </a:cubicBezTo>
                    <a:lnTo>
                      <a:pt x="70" y="117"/>
                    </a:lnTo>
                    <a:close/>
                  </a:path>
                </a:pathLst>
              </a:custGeom>
              <a:noFill/>
              <a:ln w="0" cap="flat">
                <a:solidFill>
                  <a:srgbClr val="225696"/>
                </a:solidFill>
                <a:prstDash val="solid"/>
                <a:miter lim="800000"/>
                <a:headEnd/>
                <a:tailEnd/>
              </a:ln>
            </p:spPr>
            <p:txBody>
              <a:bodyPr vert="horz" wrap="square" lIns="91440" tIns="45720" rIns="91440" bIns="45720" numCol="1" anchor="t" anchorCtr="0" compatLnSpc="1">
                <a:prstTxWarp prst="textNoShape">
                  <a:avLst/>
                </a:prstTxWarp>
              </a:bodyPr>
              <a:lstStyle/>
              <a:p>
                <a:pPr defTabSz="957816"/>
                <a:endParaRPr lang="fr-FR" sz="1900">
                  <a:solidFill>
                    <a:prstClr val="black"/>
                  </a:solidFill>
                </a:endParaRPr>
              </a:p>
            </p:txBody>
          </p:sp>
        </p:grpSp>
      </p:grpSp>
    </p:spTree>
    <p:extLst>
      <p:ext uri="{BB962C8B-B14F-4D97-AF65-F5344CB8AC3E}">
        <p14:creationId xmlns:p14="http://schemas.microsoft.com/office/powerpoint/2010/main" val="56903734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re &amp; Conten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2466" y="4984"/>
            <a:ext cx="6934759" cy="909416"/>
          </a:xfrm>
        </p:spPr>
        <p:txBody>
          <a:bodyPr/>
          <a:lstStyle/>
          <a:p>
            <a:r>
              <a:rPr lang="fr-FR" noProof="0"/>
              <a:t>Titre</a:t>
            </a:r>
            <a:endParaRPr lang="fr-FR"/>
          </a:p>
        </p:txBody>
      </p:sp>
      <p:sp>
        <p:nvSpPr>
          <p:cNvPr id="3" name="Content Placeholder 2"/>
          <p:cNvSpPr>
            <a:spLocks noGrp="1"/>
          </p:cNvSpPr>
          <p:nvPr>
            <p:ph idx="1" hasCustomPrompt="1"/>
          </p:nvPr>
        </p:nvSpPr>
        <p:spPr/>
        <p:txBody>
          <a:bodyPr/>
          <a:lstStyle>
            <a:lvl3pPr>
              <a:defRPr/>
            </a:lvl3pPr>
            <a:lvl4pPr>
              <a:defRPr/>
            </a:lvl4pPr>
          </a:lstStyle>
          <a:p>
            <a:pPr lvl="0"/>
            <a:r>
              <a:rPr lang="fr-FR" noProof="0"/>
              <a:t>Premier niveau</a:t>
            </a:r>
          </a:p>
          <a:p>
            <a:pPr lvl="1"/>
            <a:r>
              <a:rPr lang="fr-FR" noProof="0"/>
              <a:t>Deuxième niveau</a:t>
            </a:r>
          </a:p>
          <a:p>
            <a:pPr lvl="2"/>
            <a:r>
              <a:rPr lang="fr-FR" noProof="0"/>
              <a:t>Troisième niveau</a:t>
            </a:r>
          </a:p>
          <a:p>
            <a:pPr lvl="3"/>
            <a:r>
              <a:rPr lang="fr-FR" noProof="0"/>
              <a:t>Quatrième niveau</a:t>
            </a:r>
          </a:p>
        </p:txBody>
      </p:sp>
      <p:sp>
        <p:nvSpPr>
          <p:cNvPr id="18" name="Text Placeholder 17"/>
          <p:cNvSpPr>
            <a:spLocks noGrp="1"/>
          </p:cNvSpPr>
          <p:nvPr>
            <p:ph type="body" sz="quarter" idx="11" hasCustomPrompt="1"/>
          </p:nvPr>
        </p:nvSpPr>
        <p:spPr>
          <a:xfrm>
            <a:off x="382466" y="934810"/>
            <a:ext cx="6934759" cy="344606"/>
          </a:xfrm>
        </p:spPr>
        <p:txBody>
          <a:bodyPr>
            <a:noAutofit/>
          </a:bodyPr>
          <a:lstStyle>
            <a:lvl1pPr marL="266700" indent="-266700">
              <a:buClr>
                <a:schemeClr val="accent3"/>
              </a:buClr>
              <a:buFont typeface="Calibri" pitchFamily="34" charset="0"/>
              <a:buChar char="↗"/>
              <a:defRPr sz="2000" b="0"/>
            </a:lvl1pPr>
          </a:lstStyle>
          <a:p>
            <a:r>
              <a:rPr lang="fr-FR"/>
              <a:t>Phrase clé - proposition clé</a:t>
            </a:r>
          </a:p>
        </p:txBody>
      </p:sp>
      <p:cxnSp>
        <p:nvCxnSpPr>
          <p:cNvPr id="17" name="Connecteur droit 8"/>
          <p:cNvCxnSpPr/>
          <p:nvPr userDrawn="1"/>
        </p:nvCxnSpPr>
        <p:spPr>
          <a:xfrm>
            <a:off x="807480" y="6519411"/>
            <a:ext cx="0" cy="238496"/>
          </a:xfrm>
          <a:prstGeom prst="line">
            <a:avLst/>
          </a:prstGeom>
          <a:noFill/>
          <a:ln w="9525" cap="flat" cmpd="sng" algn="ctr">
            <a:solidFill>
              <a:srgbClr val="1F497D"/>
            </a:solidFill>
            <a:prstDash val="solid"/>
          </a:ln>
          <a:effectLst/>
        </p:spPr>
      </p:cxnSp>
      <p:cxnSp>
        <p:nvCxnSpPr>
          <p:cNvPr id="20" name="Connecteur droit 10"/>
          <p:cNvCxnSpPr/>
          <p:nvPr userDrawn="1"/>
        </p:nvCxnSpPr>
        <p:spPr>
          <a:xfrm>
            <a:off x="1612496" y="6519411"/>
            <a:ext cx="0" cy="238496"/>
          </a:xfrm>
          <a:prstGeom prst="line">
            <a:avLst/>
          </a:prstGeom>
          <a:noFill/>
          <a:ln w="9525" cap="flat" cmpd="sng" algn="ctr">
            <a:solidFill>
              <a:srgbClr val="1F497D"/>
            </a:solidFill>
            <a:prstDash val="solid"/>
          </a:ln>
          <a:effectLst/>
        </p:spPr>
      </p:cxnSp>
      <p:cxnSp>
        <p:nvCxnSpPr>
          <p:cNvPr id="21" name="Connecteur droit 12"/>
          <p:cNvCxnSpPr/>
          <p:nvPr userDrawn="1"/>
        </p:nvCxnSpPr>
        <p:spPr>
          <a:xfrm>
            <a:off x="8784581" y="6519411"/>
            <a:ext cx="0" cy="238496"/>
          </a:xfrm>
          <a:prstGeom prst="line">
            <a:avLst/>
          </a:prstGeom>
          <a:noFill/>
          <a:ln w="9525" cap="flat" cmpd="sng" algn="ctr">
            <a:solidFill>
              <a:srgbClr val="1F497D"/>
            </a:solidFill>
            <a:prstDash val="solid"/>
          </a:ln>
          <a:effectLst/>
        </p:spPr>
      </p:cxnSp>
      <p:pic>
        <p:nvPicPr>
          <p:cNvPr id="34" name="Image 3" descr="logo AMAURY.jpg"/>
          <p:cNvPicPr>
            <a:picLocks noChangeAspect="1"/>
          </p:cNvPicPr>
          <p:nvPr userDrawn="1"/>
        </p:nvPicPr>
        <p:blipFill>
          <a:blip r:embed="rId2" cstate="print"/>
          <a:srcRect/>
          <a:stretch>
            <a:fillRect/>
          </a:stretch>
        </p:blipFill>
        <p:spPr bwMode="auto">
          <a:xfrm>
            <a:off x="7620613" y="244695"/>
            <a:ext cx="1256101" cy="353754"/>
          </a:xfrm>
          <a:prstGeom prst="rect">
            <a:avLst/>
          </a:prstGeom>
          <a:noFill/>
          <a:ln w="9525">
            <a:noFill/>
            <a:miter lim="800000"/>
            <a:headEnd/>
            <a:tailEnd/>
          </a:ln>
        </p:spPr>
      </p:pic>
    </p:spTree>
    <p:extLst>
      <p:ext uri="{BB962C8B-B14F-4D97-AF65-F5344CB8AC3E}">
        <p14:creationId xmlns:p14="http://schemas.microsoft.com/office/powerpoint/2010/main" val="418541286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3_Titre &amp; Conten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2466" y="4984"/>
            <a:ext cx="6934759" cy="909416"/>
          </a:xfrm>
        </p:spPr>
        <p:txBody>
          <a:bodyPr/>
          <a:lstStyle/>
          <a:p>
            <a:r>
              <a:rPr lang="fr-FR" noProof="0"/>
              <a:t>Titre</a:t>
            </a:r>
            <a:endParaRPr lang="fr-FR"/>
          </a:p>
        </p:txBody>
      </p:sp>
      <p:sp>
        <p:nvSpPr>
          <p:cNvPr id="3" name="Content Placeholder 2"/>
          <p:cNvSpPr>
            <a:spLocks noGrp="1"/>
          </p:cNvSpPr>
          <p:nvPr>
            <p:ph idx="1" hasCustomPrompt="1"/>
          </p:nvPr>
        </p:nvSpPr>
        <p:spPr/>
        <p:txBody>
          <a:bodyPr/>
          <a:lstStyle>
            <a:lvl3pPr>
              <a:defRPr/>
            </a:lvl3pPr>
            <a:lvl4pPr>
              <a:defRPr/>
            </a:lvl4pPr>
          </a:lstStyle>
          <a:p>
            <a:pPr lvl="0"/>
            <a:r>
              <a:rPr lang="fr-FR" noProof="0"/>
              <a:t>Premier niveau</a:t>
            </a:r>
          </a:p>
          <a:p>
            <a:pPr lvl="1"/>
            <a:r>
              <a:rPr lang="fr-FR" noProof="0"/>
              <a:t>Deuxième niveau</a:t>
            </a:r>
          </a:p>
          <a:p>
            <a:pPr lvl="2"/>
            <a:r>
              <a:rPr lang="fr-FR" noProof="0"/>
              <a:t>Troisième niveau</a:t>
            </a:r>
          </a:p>
          <a:p>
            <a:pPr lvl="3"/>
            <a:r>
              <a:rPr lang="fr-FR" noProof="0"/>
              <a:t>Quatrième niveau</a:t>
            </a:r>
          </a:p>
        </p:txBody>
      </p:sp>
      <p:sp>
        <p:nvSpPr>
          <p:cNvPr id="18" name="Text Placeholder 17"/>
          <p:cNvSpPr>
            <a:spLocks noGrp="1"/>
          </p:cNvSpPr>
          <p:nvPr>
            <p:ph type="body" sz="quarter" idx="11" hasCustomPrompt="1"/>
          </p:nvPr>
        </p:nvSpPr>
        <p:spPr>
          <a:xfrm>
            <a:off x="382466" y="934810"/>
            <a:ext cx="6934759" cy="344606"/>
          </a:xfrm>
        </p:spPr>
        <p:txBody>
          <a:bodyPr>
            <a:noAutofit/>
          </a:bodyPr>
          <a:lstStyle>
            <a:lvl1pPr marL="266700" indent="-266700">
              <a:buClr>
                <a:schemeClr val="accent3"/>
              </a:buClr>
              <a:buFont typeface="Calibri" pitchFamily="34" charset="0"/>
              <a:buChar char="↗"/>
              <a:defRPr sz="2000" b="0"/>
            </a:lvl1pPr>
          </a:lstStyle>
          <a:p>
            <a:r>
              <a:rPr lang="fr-FR"/>
              <a:t>Phrase clé - proposition clé</a:t>
            </a:r>
          </a:p>
        </p:txBody>
      </p:sp>
      <p:cxnSp>
        <p:nvCxnSpPr>
          <p:cNvPr id="17" name="Connecteur droit 8"/>
          <p:cNvCxnSpPr/>
          <p:nvPr userDrawn="1"/>
        </p:nvCxnSpPr>
        <p:spPr>
          <a:xfrm>
            <a:off x="807480" y="6519411"/>
            <a:ext cx="0" cy="238496"/>
          </a:xfrm>
          <a:prstGeom prst="line">
            <a:avLst/>
          </a:prstGeom>
          <a:noFill/>
          <a:ln w="9525" cap="flat" cmpd="sng" algn="ctr">
            <a:solidFill>
              <a:srgbClr val="1F497D"/>
            </a:solidFill>
            <a:prstDash val="solid"/>
          </a:ln>
          <a:effectLst/>
        </p:spPr>
      </p:cxnSp>
      <p:cxnSp>
        <p:nvCxnSpPr>
          <p:cNvPr id="20" name="Connecteur droit 10"/>
          <p:cNvCxnSpPr/>
          <p:nvPr userDrawn="1"/>
        </p:nvCxnSpPr>
        <p:spPr>
          <a:xfrm>
            <a:off x="1612496" y="6519411"/>
            <a:ext cx="0" cy="238496"/>
          </a:xfrm>
          <a:prstGeom prst="line">
            <a:avLst/>
          </a:prstGeom>
          <a:noFill/>
          <a:ln w="9525" cap="flat" cmpd="sng" algn="ctr">
            <a:solidFill>
              <a:srgbClr val="1F497D"/>
            </a:solidFill>
            <a:prstDash val="solid"/>
          </a:ln>
          <a:effectLst/>
        </p:spPr>
      </p:cxnSp>
      <p:cxnSp>
        <p:nvCxnSpPr>
          <p:cNvPr id="21" name="Connecteur droit 12"/>
          <p:cNvCxnSpPr/>
          <p:nvPr userDrawn="1"/>
        </p:nvCxnSpPr>
        <p:spPr>
          <a:xfrm>
            <a:off x="8784581" y="6519411"/>
            <a:ext cx="0" cy="238496"/>
          </a:xfrm>
          <a:prstGeom prst="line">
            <a:avLst/>
          </a:prstGeom>
          <a:noFill/>
          <a:ln w="9525" cap="flat" cmpd="sng" algn="ctr">
            <a:solidFill>
              <a:srgbClr val="1F497D"/>
            </a:solidFill>
            <a:prstDash val="solid"/>
          </a:ln>
          <a:effectLst/>
        </p:spPr>
      </p:cxnSp>
      <p:pic>
        <p:nvPicPr>
          <p:cNvPr id="34" name="Image 3" descr="logo AMAURY.jpg"/>
          <p:cNvPicPr>
            <a:picLocks noChangeAspect="1"/>
          </p:cNvPicPr>
          <p:nvPr userDrawn="1"/>
        </p:nvPicPr>
        <p:blipFill>
          <a:blip r:embed="rId2" cstate="print"/>
          <a:srcRect/>
          <a:stretch>
            <a:fillRect/>
          </a:stretch>
        </p:blipFill>
        <p:spPr bwMode="auto">
          <a:xfrm>
            <a:off x="7620613" y="244695"/>
            <a:ext cx="1256101" cy="353754"/>
          </a:xfrm>
          <a:prstGeom prst="rect">
            <a:avLst/>
          </a:prstGeom>
          <a:noFill/>
          <a:ln w="9525">
            <a:noFill/>
            <a:miter lim="800000"/>
            <a:headEnd/>
            <a:tailEnd/>
          </a:ln>
        </p:spPr>
      </p:pic>
    </p:spTree>
    <p:extLst>
      <p:ext uri="{BB962C8B-B14F-4D97-AF65-F5344CB8AC3E}">
        <p14:creationId xmlns:p14="http://schemas.microsoft.com/office/powerpoint/2010/main" val="257070402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5_Titre &amp; Conten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2466" y="4984"/>
            <a:ext cx="6934759" cy="909416"/>
          </a:xfrm>
        </p:spPr>
        <p:txBody>
          <a:bodyPr/>
          <a:lstStyle/>
          <a:p>
            <a:r>
              <a:rPr lang="fr-FR" noProof="0"/>
              <a:t>Titre</a:t>
            </a:r>
            <a:endParaRPr lang="fr-FR"/>
          </a:p>
        </p:txBody>
      </p:sp>
      <p:sp>
        <p:nvSpPr>
          <p:cNvPr id="3" name="Content Placeholder 2"/>
          <p:cNvSpPr>
            <a:spLocks noGrp="1"/>
          </p:cNvSpPr>
          <p:nvPr>
            <p:ph idx="1" hasCustomPrompt="1"/>
          </p:nvPr>
        </p:nvSpPr>
        <p:spPr/>
        <p:txBody>
          <a:bodyPr/>
          <a:lstStyle>
            <a:lvl3pPr>
              <a:defRPr/>
            </a:lvl3pPr>
            <a:lvl4pPr>
              <a:defRPr/>
            </a:lvl4pPr>
          </a:lstStyle>
          <a:p>
            <a:pPr lvl="0"/>
            <a:r>
              <a:rPr lang="fr-FR" noProof="0"/>
              <a:t>Premier niveau</a:t>
            </a:r>
          </a:p>
          <a:p>
            <a:pPr lvl="1"/>
            <a:r>
              <a:rPr lang="fr-FR" noProof="0"/>
              <a:t>Deuxième niveau</a:t>
            </a:r>
          </a:p>
          <a:p>
            <a:pPr lvl="2"/>
            <a:r>
              <a:rPr lang="fr-FR" noProof="0"/>
              <a:t>Troisième niveau</a:t>
            </a:r>
          </a:p>
          <a:p>
            <a:pPr lvl="3"/>
            <a:r>
              <a:rPr lang="fr-FR" noProof="0"/>
              <a:t>Quatrième niveau</a:t>
            </a:r>
          </a:p>
        </p:txBody>
      </p:sp>
      <p:sp>
        <p:nvSpPr>
          <p:cNvPr id="18" name="Text Placeholder 17"/>
          <p:cNvSpPr>
            <a:spLocks noGrp="1"/>
          </p:cNvSpPr>
          <p:nvPr>
            <p:ph type="body" sz="quarter" idx="11" hasCustomPrompt="1"/>
          </p:nvPr>
        </p:nvSpPr>
        <p:spPr>
          <a:xfrm>
            <a:off x="382466" y="934810"/>
            <a:ext cx="6934759" cy="344606"/>
          </a:xfrm>
        </p:spPr>
        <p:txBody>
          <a:bodyPr>
            <a:noAutofit/>
          </a:bodyPr>
          <a:lstStyle>
            <a:lvl1pPr marL="266700" indent="-266700">
              <a:buClr>
                <a:schemeClr val="accent3"/>
              </a:buClr>
              <a:buFont typeface="Calibri" pitchFamily="34" charset="0"/>
              <a:buChar char="↗"/>
              <a:defRPr sz="2000" b="0"/>
            </a:lvl1pPr>
          </a:lstStyle>
          <a:p>
            <a:r>
              <a:rPr lang="fr-FR"/>
              <a:t>Phrase clé - proposition clé</a:t>
            </a:r>
          </a:p>
        </p:txBody>
      </p:sp>
      <p:cxnSp>
        <p:nvCxnSpPr>
          <p:cNvPr id="17" name="Connecteur droit 8"/>
          <p:cNvCxnSpPr/>
          <p:nvPr userDrawn="1"/>
        </p:nvCxnSpPr>
        <p:spPr>
          <a:xfrm>
            <a:off x="807480" y="6519411"/>
            <a:ext cx="0" cy="238496"/>
          </a:xfrm>
          <a:prstGeom prst="line">
            <a:avLst/>
          </a:prstGeom>
          <a:noFill/>
          <a:ln w="9525" cap="flat" cmpd="sng" algn="ctr">
            <a:solidFill>
              <a:srgbClr val="1F497D"/>
            </a:solidFill>
            <a:prstDash val="solid"/>
          </a:ln>
          <a:effectLst/>
        </p:spPr>
      </p:cxnSp>
      <p:cxnSp>
        <p:nvCxnSpPr>
          <p:cNvPr id="20" name="Connecteur droit 10"/>
          <p:cNvCxnSpPr/>
          <p:nvPr userDrawn="1"/>
        </p:nvCxnSpPr>
        <p:spPr>
          <a:xfrm>
            <a:off x="1612496" y="6519411"/>
            <a:ext cx="0" cy="238496"/>
          </a:xfrm>
          <a:prstGeom prst="line">
            <a:avLst/>
          </a:prstGeom>
          <a:noFill/>
          <a:ln w="9525" cap="flat" cmpd="sng" algn="ctr">
            <a:solidFill>
              <a:srgbClr val="1F497D"/>
            </a:solidFill>
            <a:prstDash val="solid"/>
          </a:ln>
          <a:effectLst/>
        </p:spPr>
      </p:cxnSp>
      <p:cxnSp>
        <p:nvCxnSpPr>
          <p:cNvPr id="21" name="Connecteur droit 12"/>
          <p:cNvCxnSpPr/>
          <p:nvPr userDrawn="1"/>
        </p:nvCxnSpPr>
        <p:spPr>
          <a:xfrm>
            <a:off x="8784581" y="6519411"/>
            <a:ext cx="0" cy="238496"/>
          </a:xfrm>
          <a:prstGeom prst="line">
            <a:avLst/>
          </a:prstGeom>
          <a:noFill/>
          <a:ln w="9525" cap="flat" cmpd="sng" algn="ctr">
            <a:solidFill>
              <a:srgbClr val="1F497D"/>
            </a:solidFill>
            <a:prstDash val="solid"/>
          </a:ln>
          <a:effectLst/>
        </p:spPr>
      </p:cxnSp>
      <p:pic>
        <p:nvPicPr>
          <p:cNvPr id="34" name="Image 3" descr="logo AMAURY.jpg"/>
          <p:cNvPicPr>
            <a:picLocks noChangeAspect="1"/>
          </p:cNvPicPr>
          <p:nvPr userDrawn="1"/>
        </p:nvPicPr>
        <p:blipFill>
          <a:blip r:embed="rId2" cstate="print"/>
          <a:srcRect/>
          <a:stretch>
            <a:fillRect/>
          </a:stretch>
        </p:blipFill>
        <p:spPr bwMode="auto">
          <a:xfrm>
            <a:off x="7620613" y="244695"/>
            <a:ext cx="1256101" cy="353754"/>
          </a:xfrm>
          <a:prstGeom prst="rect">
            <a:avLst/>
          </a:prstGeom>
          <a:noFill/>
          <a:ln w="9525">
            <a:noFill/>
            <a:miter lim="800000"/>
            <a:headEnd/>
            <a:tailEnd/>
          </a:ln>
        </p:spPr>
      </p:pic>
    </p:spTree>
    <p:extLst>
      <p:ext uri="{BB962C8B-B14F-4D97-AF65-F5344CB8AC3E}">
        <p14:creationId xmlns:p14="http://schemas.microsoft.com/office/powerpoint/2010/main" val="297831641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6_Titre &amp; Conten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2466" y="4984"/>
            <a:ext cx="6934759" cy="909416"/>
          </a:xfrm>
        </p:spPr>
        <p:txBody>
          <a:bodyPr/>
          <a:lstStyle/>
          <a:p>
            <a:r>
              <a:rPr lang="fr-FR" noProof="0"/>
              <a:t>Titre</a:t>
            </a:r>
            <a:endParaRPr lang="fr-FR"/>
          </a:p>
        </p:txBody>
      </p:sp>
      <p:sp>
        <p:nvSpPr>
          <p:cNvPr id="3" name="Content Placeholder 2"/>
          <p:cNvSpPr>
            <a:spLocks noGrp="1"/>
          </p:cNvSpPr>
          <p:nvPr>
            <p:ph idx="1" hasCustomPrompt="1"/>
          </p:nvPr>
        </p:nvSpPr>
        <p:spPr/>
        <p:txBody>
          <a:bodyPr/>
          <a:lstStyle>
            <a:lvl3pPr>
              <a:defRPr/>
            </a:lvl3pPr>
            <a:lvl4pPr>
              <a:defRPr/>
            </a:lvl4pPr>
          </a:lstStyle>
          <a:p>
            <a:pPr lvl="0"/>
            <a:r>
              <a:rPr lang="fr-FR" noProof="0"/>
              <a:t>Premier niveau</a:t>
            </a:r>
          </a:p>
          <a:p>
            <a:pPr lvl="1"/>
            <a:r>
              <a:rPr lang="fr-FR" noProof="0"/>
              <a:t>Deuxième niveau</a:t>
            </a:r>
          </a:p>
          <a:p>
            <a:pPr lvl="2"/>
            <a:r>
              <a:rPr lang="fr-FR" noProof="0"/>
              <a:t>Troisième niveau</a:t>
            </a:r>
          </a:p>
          <a:p>
            <a:pPr lvl="3"/>
            <a:r>
              <a:rPr lang="fr-FR" noProof="0"/>
              <a:t>Quatrième niveau</a:t>
            </a:r>
          </a:p>
        </p:txBody>
      </p:sp>
      <p:sp>
        <p:nvSpPr>
          <p:cNvPr id="18" name="Text Placeholder 17"/>
          <p:cNvSpPr>
            <a:spLocks noGrp="1"/>
          </p:cNvSpPr>
          <p:nvPr>
            <p:ph type="body" sz="quarter" idx="11" hasCustomPrompt="1"/>
          </p:nvPr>
        </p:nvSpPr>
        <p:spPr>
          <a:xfrm>
            <a:off x="382466" y="934810"/>
            <a:ext cx="6934759" cy="344606"/>
          </a:xfrm>
        </p:spPr>
        <p:txBody>
          <a:bodyPr>
            <a:noAutofit/>
          </a:bodyPr>
          <a:lstStyle>
            <a:lvl1pPr marL="266700" indent="-266700">
              <a:buClr>
                <a:schemeClr val="accent3"/>
              </a:buClr>
              <a:buFont typeface="Calibri" pitchFamily="34" charset="0"/>
              <a:buChar char="↗"/>
              <a:defRPr sz="2000" b="0"/>
            </a:lvl1pPr>
          </a:lstStyle>
          <a:p>
            <a:r>
              <a:rPr lang="fr-FR"/>
              <a:t>Phrase clé - proposition clé</a:t>
            </a:r>
          </a:p>
        </p:txBody>
      </p:sp>
      <p:cxnSp>
        <p:nvCxnSpPr>
          <p:cNvPr id="17" name="Connecteur droit 8"/>
          <p:cNvCxnSpPr/>
          <p:nvPr userDrawn="1"/>
        </p:nvCxnSpPr>
        <p:spPr>
          <a:xfrm>
            <a:off x="807480" y="6519411"/>
            <a:ext cx="0" cy="238496"/>
          </a:xfrm>
          <a:prstGeom prst="line">
            <a:avLst/>
          </a:prstGeom>
          <a:noFill/>
          <a:ln w="9525" cap="flat" cmpd="sng" algn="ctr">
            <a:solidFill>
              <a:srgbClr val="1F497D"/>
            </a:solidFill>
            <a:prstDash val="solid"/>
          </a:ln>
          <a:effectLst/>
        </p:spPr>
      </p:cxnSp>
      <p:cxnSp>
        <p:nvCxnSpPr>
          <p:cNvPr id="20" name="Connecteur droit 10"/>
          <p:cNvCxnSpPr/>
          <p:nvPr userDrawn="1"/>
        </p:nvCxnSpPr>
        <p:spPr>
          <a:xfrm>
            <a:off x="1612496" y="6519411"/>
            <a:ext cx="0" cy="238496"/>
          </a:xfrm>
          <a:prstGeom prst="line">
            <a:avLst/>
          </a:prstGeom>
          <a:noFill/>
          <a:ln w="9525" cap="flat" cmpd="sng" algn="ctr">
            <a:solidFill>
              <a:srgbClr val="1F497D"/>
            </a:solidFill>
            <a:prstDash val="solid"/>
          </a:ln>
          <a:effectLst/>
        </p:spPr>
      </p:cxnSp>
      <p:cxnSp>
        <p:nvCxnSpPr>
          <p:cNvPr id="21" name="Connecteur droit 12"/>
          <p:cNvCxnSpPr/>
          <p:nvPr userDrawn="1"/>
        </p:nvCxnSpPr>
        <p:spPr>
          <a:xfrm>
            <a:off x="8784581" y="6519411"/>
            <a:ext cx="0" cy="238496"/>
          </a:xfrm>
          <a:prstGeom prst="line">
            <a:avLst/>
          </a:prstGeom>
          <a:noFill/>
          <a:ln w="9525" cap="flat" cmpd="sng" algn="ctr">
            <a:solidFill>
              <a:srgbClr val="1F497D"/>
            </a:solidFill>
            <a:prstDash val="solid"/>
          </a:ln>
          <a:effectLst/>
        </p:spPr>
      </p:cxnSp>
      <p:pic>
        <p:nvPicPr>
          <p:cNvPr id="34" name="Image 3" descr="logo AMAURY.jpg"/>
          <p:cNvPicPr>
            <a:picLocks noChangeAspect="1"/>
          </p:cNvPicPr>
          <p:nvPr userDrawn="1"/>
        </p:nvPicPr>
        <p:blipFill>
          <a:blip r:embed="rId2" cstate="print"/>
          <a:srcRect/>
          <a:stretch>
            <a:fillRect/>
          </a:stretch>
        </p:blipFill>
        <p:spPr bwMode="auto">
          <a:xfrm>
            <a:off x="7620613" y="244695"/>
            <a:ext cx="1256101" cy="353754"/>
          </a:xfrm>
          <a:prstGeom prst="rect">
            <a:avLst/>
          </a:prstGeom>
          <a:noFill/>
          <a:ln w="9525">
            <a:noFill/>
            <a:miter lim="800000"/>
            <a:headEnd/>
            <a:tailEnd/>
          </a:ln>
        </p:spPr>
      </p:pic>
    </p:spTree>
    <p:extLst>
      <p:ext uri="{BB962C8B-B14F-4D97-AF65-F5344CB8AC3E}">
        <p14:creationId xmlns:p14="http://schemas.microsoft.com/office/powerpoint/2010/main" val="23485879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7_Titre &amp; Conten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2466" y="4984"/>
            <a:ext cx="6934759" cy="909416"/>
          </a:xfrm>
        </p:spPr>
        <p:txBody>
          <a:bodyPr/>
          <a:lstStyle/>
          <a:p>
            <a:r>
              <a:rPr lang="fr-FR" noProof="0"/>
              <a:t>Titre</a:t>
            </a:r>
            <a:endParaRPr lang="fr-FR"/>
          </a:p>
        </p:txBody>
      </p:sp>
      <p:sp>
        <p:nvSpPr>
          <p:cNvPr id="3" name="Content Placeholder 2"/>
          <p:cNvSpPr>
            <a:spLocks noGrp="1"/>
          </p:cNvSpPr>
          <p:nvPr>
            <p:ph idx="1" hasCustomPrompt="1"/>
          </p:nvPr>
        </p:nvSpPr>
        <p:spPr/>
        <p:txBody>
          <a:bodyPr/>
          <a:lstStyle>
            <a:lvl3pPr>
              <a:defRPr/>
            </a:lvl3pPr>
            <a:lvl4pPr>
              <a:defRPr/>
            </a:lvl4pPr>
          </a:lstStyle>
          <a:p>
            <a:pPr lvl="0"/>
            <a:r>
              <a:rPr lang="fr-FR" noProof="0"/>
              <a:t>Premier niveau</a:t>
            </a:r>
          </a:p>
          <a:p>
            <a:pPr lvl="1"/>
            <a:r>
              <a:rPr lang="fr-FR" noProof="0"/>
              <a:t>Deuxième niveau</a:t>
            </a:r>
          </a:p>
          <a:p>
            <a:pPr lvl="2"/>
            <a:r>
              <a:rPr lang="fr-FR" noProof="0"/>
              <a:t>Troisième niveau</a:t>
            </a:r>
          </a:p>
          <a:p>
            <a:pPr lvl="3"/>
            <a:r>
              <a:rPr lang="fr-FR" noProof="0"/>
              <a:t>Quatrième niveau</a:t>
            </a:r>
          </a:p>
        </p:txBody>
      </p:sp>
      <p:sp>
        <p:nvSpPr>
          <p:cNvPr id="18" name="Text Placeholder 17"/>
          <p:cNvSpPr>
            <a:spLocks noGrp="1"/>
          </p:cNvSpPr>
          <p:nvPr>
            <p:ph type="body" sz="quarter" idx="11" hasCustomPrompt="1"/>
          </p:nvPr>
        </p:nvSpPr>
        <p:spPr>
          <a:xfrm>
            <a:off x="382466" y="934810"/>
            <a:ext cx="6934759" cy="344606"/>
          </a:xfrm>
        </p:spPr>
        <p:txBody>
          <a:bodyPr>
            <a:noAutofit/>
          </a:bodyPr>
          <a:lstStyle>
            <a:lvl1pPr marL="266700" indent="-266700">
              <a:buClr>
                <a:schemeClr val="accent3"/>
              </a:buClr>
              <a:buFont typeface="Calibri" pitchFamily="34" charset="0"/>
              <a:buChar char="↗"/>
              <a:defRPr sz="2000" b="0"/>
            </a:lvl1pPr>
          </a:lstStyle>
          <a:p>
            <a:r>
              <a:rPr lang="fr-FR"/>
              <a:t>Phrase clé - proposition clé</a:t>
            </a:r>
          </a:p>
        </p:txBody>
      </p:sp>
      <p:cxnSp>
        <p:nvCxnSpPr>
          <p:cNvPr id="17" name="Connecteur droit 8"/>
          <p:cNvCxnSpPr/>
          <p:nvPr userDrawn="1"/>
        </p:nvCxnSpPr>
        <p:spPr>
          <a:xfrm>
            <a:off x="807480" y="6519411"/>
            <a:ext cx="0" cy="238496"/>
          </a:xfrm>
          <a:prstGeom prst="line">
            <a:avLst/>
          </a:prstGeom>
          <a:noFill/>
          <a:ln w="9525" cap="flat" cmpd="sng" algn="ctr">
            <a:solidFill>
              <a:srgbClr val="1F497D"/>
            </a:solidFill>
            <a:prstDash val="solid"/>
          </a:ln>
          <a:effectLst/>
        </p:spPr>
      </p:cxnSp>
      <p:cxnSp>
        <p:nvCxnSpPr>
          <p:cNvPr id="20" name="Connecteur droit 10"/>
          <p:cNvCxnSpPr/>
          <p:nvPr userDrawn="1"/>
        </p:nvCxnSpPr>
        <p:spPr>
          <a:xfrm>
            <a:off x="1612496" y="6519411"/>
            <a:ext cx="0" cy="238496"/>
          </a:xfrm>
          <a:prstGeom prst="line">
            <a:avLst/>
          </a:prstGeom>
          <a:noFill/>
          <a:ln w="9525" cap="flat" cmpd="sng" algn="ctr">
            <a:solidFill>
              <a:srgbClr val="1F497D"/>
            </a:solidFill>
            <a:prstDash val="solid"/>
          </a:ln>
          <a:effectLst/>
        </p:spPr>
      </p:cxnSp>
      <p:cxnSp>
        <p:nvCxnSpPr>
          <p:cNvPr id="21" name="Connecteur droit 12"/>
          <p:cNvCxnSpPr/>
          <p:nvPr userDrawn="1"/>
        </p:nvCxnSpPr>
        <p:spPr>
          <a:xfrm>
            <a:off x="8784581" y="6519411"/>
            <a:ext cx="0" cy="238496"/>
          </a:xfrm>
          <a:prstGeom prst="line">
            <a:avLst/>
          </a:prstGeom>
          <a:noFill/>
          <a:ln w="9525" cap="flat" cmpd="sng" algn="ctr">
            <a:solidFill>
              <a:srgbClr val="1F497D"/>
            </a:solidFill>
            <a:prstDash val="solid"/>
          </a:ln>
          <a:effectLst/>
        </p:spPr>
      </p:cxnSp>
      <p:pic>
        <p:nvPicPr>
          <p:cNvPr id="34" name="Image 3" descr="logo AMAURY.jpg"/>
          <p:cNvPicPr>
            <a:picLocks noChangeAspect="1"/>
          </p:cNvPicPr>
          <p:nvPr userDrawn="1"/>
        </p:nvPicPr>
        <p:blipFill>
          <a:blip r:embed="rId2" cstate="print"/>
          <a:srcRect/>
          <a:stretch>
            <a:fillRect/>
          </a:stretch>
        </p:blipFill>
        <p:spPr bwMode="auto">
          <a:xfrm>
            <a:off x="7620613" y="244695"/>
            <a:ext cx="1256101" cy="353754"/>
          </a:xfrm>
          <a:prstGeom prst="rect">
            <a:avLst/>
          </a:prstGeom>
          <a:noFill/>
          <a:ln w="9525">
            <a:noFill/>
            <a:miter lim="800000"/>
            <a:headEnd/>
            <a:tailEnd/>
          </a:ln>
        </p:spPr>
      </p:pic>
    </p:spTree>
    <p:extLst>
      <p:ext uri="{BB962C8B-B14F-4D97-AF65-F5344CB8AC3E}">
        <p14:creationId xmlns:p14="http://schemas.microsoft.com/office/powerpoint/2010/main" val="357886945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hapitre_visuel">
    <p:spTree>
      <p:nvGrpSpPr>
        <p:cNvPr id="1" name=""/>
        <p:cNvGrpSpPr/>
        <p:nvPr/>
      </p:nvGrpSpPr>
      <p:grpSpPr>
        <a:xfrm>
          <a:off x="0" y="0"/>
          <a:ext cx="0" cy="0"/>
          <a:chOff x="0" y="0"/>
          <a:chExt cx="0" cy="0"/>
        </a:xfrm>
      </p:grpSpPr>
      <p:sp>
        <p:nvSpPr>
          <p:cNvPr id="5" name="Espace réservé du texte 4"/>
          <p:cNvSpPr>
            <a:spLocks noGrp="1"/>
          </p:cNvSpPr>
          <p:nvPr>
            <p:ph type="body" sz="quarter" idx="13" hasCustomPrompt="1"/>
          </p:nvPr>
        </p:nvSpPr>
        <p:spPr bwMode="gray">
          <a:xfrm>
            <a:off x="4103689" y="3428999"/>
            <a:ext cx="4537074" cy="1800000"/>
          </a:xfrm>
        </p:spPr>
        <p:txBody>
          <a:bodyPr/>
          <a:lstStyle>
            <a:lvl1pPr marL="0" indent="0" algn="ctr">
              <a:lnSpc>
                <a:spcPct val="100000"/>
              </a:lnSpc>
              <a:spcAft>
                <a:spcPts val="0"/>
              </a:spcAft>
              <a:buNone/>
              <a:defRPr sz="2450" cap="all" baseline="0"/>
            </a:lvl1pPr>
          </a:lstStyle>
          <a:p>
            <a:pPr lvl="0"/>
            <a:r>
              <a:rPr lang="fr-FR" noProof="0"/>
              <a:t>Titre du chapitre</a:t>
            </a:r>
          </a:p>
        </p:txBody>
      </p:sp>
      <p:sp>
        <p:nvSpPr>
          <p:cNvPr id="4" name="Espace réservé pour une image  3"/>
          <p:cNvSpPr>
            <a:spLocks noGrp="1"/>
          </p:cNvSpPr>
          <p:nvPr>
            <p:ph type="pic" sz="quarter" idx="14"/>
          </p:nvPr>
        </p:nvSpPr>
        <p:spPr bwMode="gray">
          <a:xfrm>
            <a:off x="0" y="0"/>
            <a:ext cx="3600450" cy="6858000"/>
          </a:xfrm>
          <a:solidFill>
            <a:schemeClr val="tx1"/>
          </a:solidFill>
        </p:spPr>
        <p:txBody>
          <a:bodyPr tIns="720000" anchor="ctr" anchorCtr="0"/>
          <a:lstStyle>
            <a:lvl1pPr marL="0" indent="0" algn="ctr">
              <a:buNone/>
              <a:defRPr/>
            </a:lvl1pPr>
          </a:lstStyle>
          <a:p>
            <a:r>
              <a:rPr lang="fr-FR"/>
              <a:t>Cliquez sur l'icône pour ajouter une image</a:t>
            </a:r>
          </a:p>
        </p:txBody>
      </p:sp>
      <p:sp>
        <p:nvSpPr>
          <p:cNvPr id="17" name="Organigramme : Décision 16"/>
          <p:cNvSpPr/>
          <p:nvPr userDrawn="1"/>
        </p:nvSpPr>
        <p:spPr bwMode="gray">
          <a:xfrm>
            <a:off x="5940226" y="1664804"/>
            <a:ext cx="864000" cy="864000"/>
          </a:xfrm>
          <a:prstGeom prst="flowChartDecisi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Titre 2"/>
          <p:cNvSpPr>
            <a:spLocks noGrp="1"/>
          </p:cNvSpPr>
          <p:nvPr>
            <p:ph type="title" hasCustomPrompt="1"/>
          </p:nvPr>
        </p:nvSpPr>
        <p:spPr bwMode="gray">
          <a:xfrm>
            <a:off x="5940226" y="1664804"/>
            <a:ext cx="864000" cy="864000"/>
          </a:xfrm>
        </p:spPr>
        <p:txBody>
          <a:bodyPr anchor="ctr" anchorCtr="0"/>
          <a:lstStyle>
            <a:lvl1pPr algn="ctr">
              <a:defRPr sz="1750">
                <a:solidFill>
                  <a:schemeClr val="bg1"/>
                </a:solidFill>
              </a:defRPr>
            </a:lvl1pPr>
          </a:lstStyle>
          <a:p>
            <a:r>
              <a:rPr lang="fr-FR" noProof="0"/>
              <a:t>00</a:t>
            </a:r>
            <a:endParaRPr lang="fr-FR"/>
          </a:p>
        </p:txBody>
      </p:sp>
      <p:sp>
        <p:nvSpPr>
          <p:cNvPr id="19" name="Espace réservé de la date 18"/>
          <p:cNvSpPr>
            <a:spLocks noGrp="1"/>
          </p:cNvSpPr>
          <p:nvPr>
            <p:ph type="dt" sz="half" idx="15"/>
          </p:nvPr>
        </p:nvSpPr>
        <p:spPr bwMode="gray">
          <a:xfrm>
            <a:off x="4669147" y="6524625"/>
            <a:ext cx="540000" cy="144464"/>
          </a:xfrm>
        </p:spPr>
        <p:txBody>
          <a:bodyPr/>
          <a:lstStyle/>
          <a:p>
            <a:fld id="{2290A44B-2BB7-4208-865D-2CF39874A8A8}" type="datetime1">
              <a:rPr lang="fr-FR" smtClean="0"/>
              <a:t>11/05/2023</a:t>
            </a:fld>
            <a:endParaRPr lang="fr-FR"/>
          </a:p>
        </p:txBody>
      </p:sp>
      <p:sp>
        <p:nvSpPr>
          <p:cNvPr id="20" name="Espace réservé du pied de page 19"/>
          <p:cNvSpPr>
            <a:spLocks noGrp="1"/>
          </p:cNvSpPr>
          <p:nvPr>
            <p:ph type="ftr" sz="quarter" idx="16"/>
          </p:nvPr>
        </p:nvSpPr>
        <p:spPr bwMode="gray">
          <a:xfrm>
            <a:off x="3301195" y="6524625"/>
            <a:ext cx="3600000" cy="144463"/>
          </a:xfrm>
        </p:spPr>
        <p:txBody>
          <a:bodyPr/>
          <a:lstStyle/>
          <a:p>
            <a:r>
              <a:rPr lang="fr-FR"/>
              <a:t>GROUPE ADP -                      - DIFFUSION RESTREINTE</a:t>
            </a:r>
          </a:p>
        </p:txBody>
      </p:sp>
      <p:sp>
        <p:nvSpPr>
          <p:cNvPr id="21" name="Espace réservé du numéro de diapositive 20"/>
          <p:cNvSpPr>
            <a:spLocks noGrp="1"/>
          </p:cNvSpPr>
          <p:nvPr>
            <p:ph type="sldNum" sz="quarter" idx="17"/>
          </p:nvPr>
        </p:nvSpPr>
        <p:spPr bwMode="gray"/>
        <p:txBody>
          <a:bodyPr/>
          <a:lstStyle/>
          <a:p>
            <a:r>
              <a:rPr lang="fr-FR"/>
              <a:t>PAGE </a:t>
            </a:r>
            <a:fld id="{8AF9711C-11F6-40F1-A9C4-511E8DA6BB32}" type="slidenum">
              <a:rPr lang="fr-FR" smtClean="0"/>
              <a:pPr/>
              <a:t>‹N°›</a:t>
            </a:fld>
            <a:endParaRPr lang="fr-F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hapitre_couleur_1">
    <p:spTree>
      <p:nvGrpSpPr>
        <p:cNvPr id="1" name=""/>
        <p:cNvGrpSpPr/>
        <p:nvPr/>
      </p:nvGrpSpPr>
      <p:grpSpPr>
        <a:xfrm>
          <a:off x="0" y="0"/>
          <a:ext cx="0" cy="0"/>
          <a:chOff x="0" y="0"/>
          <a:chExt cx="0" cy="0"/>
        </a:xfrm>
      </p:grpSpPr>
      <p:sp>
        <p:nvSpPr>
          <p:cNvPr id="5" name="Espace réservé du texte 4"/>
          <p:cNvSpPr>
            <a:spLocks noGrp="1"/>
          </p:cNvSpPr>
          <p:nvPr>
            <p:ph type="body" sz="quarter" idx="13" hasCustomPrompt="1"/>
          </p:nvPr>
        </p:nvSpPr>
        <p:spPr bwMode="gray">
          <a:xfrm>
            <a:off x="4103688" y="3428999"/>
            <a:ext cx="4537075" cy="1800000"/>
          </a:xfrm>
        </p:spPr>
        <p:txBody>
          <a:bodyPr/>
          <a:lstStyle>
            <a:lvl1pPr marL="0" indent="0" algn="ctr">
              <a:lnSpc>
                <a:spcPct val="100000"/>
              </a:lnSpc>
              <a:spcAft>
                <a:spcPts val="0"/>
              </a:spcAft>
              <a:buNone/>
              <a:defRPr sz="2450" cap="all" baseline="0"/>
            </a:lvl1pPr>
          </a:lstStyle>
          <a:p>
            <a:pPr lvl="0"/>
            <a:r>
              <a:rPr lang="fr-FR" noProof="0"/>
              <a:t>Titre du chapitre</a:t>
            </a:r>
          </a:p>
        </p:txBody>
      </p:sp>
      <p:sp>
        <p:nvSpPr>
          <p:cNvPr id="17" name="Organigramme : Décision 16"/>
          <p:cNvSpPr/>
          <p:nvPr userDrawn="1"/>
        </p:nvSpPr>
        <p:spPr bwMode="gray">
          <a:xfrm>
            <a:off x="5940225" y="1664804"/>
            <a:ext cx="864000" cy="864000"/>
          </a:xfrm>
          <a:prstGeom prst="flowChartDecisi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Titre 2"/>
          <p:cNvSpPr>
            <a:spLocks noGrp="1"/>
          </p:cNvSpPr>
          <p:nvPr>
            <p:ph type="title" hasCustomPrompt="1"/>
          </p:nvPr>
        </p:nvSpPr>
        <p:spPr bwMode="gray">
          <a:xfrm>
            <a:off x="5940225" y="1664804"/>
            <a:ext cx="864000" cy="864000"/>
          </a:xfrm>
        </p:spPr>
        <p:txBody>
          <a:bodyPr anchor="ctr" anchorCtr="0"/>
          <a:lstStyle>
            <a:lvl1pPr algn="ctr">
              <a:defRPr sz="1750">
                <a:solidFill>
                  <a:schemeClr val="bg1"/>
                </a:solidFill>
              </a:defRPr>
            </a:lvl1pPr>
          </a:lstStyle>
          <a:p>
            <a:r>
              <a:rPr lang="fr-FR" noProof="0"/>
              <a:t>00</a:t>
            </a:r>
            <a:endParaRPr lang="fr-FR"/>
          </a:p>
        </p:txBody>
      </p:sp>
      <p:sp>
        <p:nvSpPr>
          <p:cNvPr id="9" name="Freeform 5"/>
          <p:cNvSpPr>
            <a:spLocks/>
          </p:cNvSpPr>
          <p:nvPr userDrawn="1"/>
        </p:nvSpPr>
        <p:spPr bwMode="gray">
          <a:xfrm>
            <a:off x="0" y="0"/>
            <a:ext cx="3600000" cy="6858000"/>
          </a:xfrm>
          <a:custGeom>
            <a:avLst/>
            <a:gdLst>
              <a:gd name="T0" fmla="*/ 0 w 3779"/>
              <a:gd name="T1" fmla="*/ 7199 h 7199"/>
              <a:gd name="T2" fmla="*/ 0 w 3779"/>
              <a:gd name="T3" fmla="*/ 7199 h 7199"/>
              <a:gd name="T4" fmla="*/ 3779 w 3779"/>
              <a:gd name="T5" fmla="*/ 7199 h 7199"/>
              <a:gd name="T6" fmla="*/ 3779 w 3779"/>
              <a:gd name="T7" fmla="*/ 0 h 7199"/>
              <a:gd name="T8" fmla="*/ 0 w 3779"/>
              <a:gd name="T9" fmla="*/ 0 h 7199"/>
              <a:gd name="T10" fmla="*/ 0 w 3779"/>
              <a:gd name="T11" fmla="*/ 7199 h 7199"/>
            </a:gdLst>
            <a:ahLst/>
            <a:cxnLst>
              <a:cxn ang="0">
                <a:pos x="T0" y="T1"/>
              </a:cxn>
              <a:cxn ang="0">
                <a:pos x="T2" y="T3"/>
              </a:cxn>
              <a:cxn ang="0">
                <a:pos x="T4" y="T5"/>
              </a:cxn>
              <a:cxn ang="0">
                <a:pos x="T6" y="T7"/>
              </a:cxn>
              <a:cxn ang="0">
                <a:pos x="T8" y="T9"/>
              </a:cxn>
              <a:cxn ang="0">
                <a:pos x="T10" y="T11"/>
              </a:cxn>
            </a:cxnLst>
            <a:rect l="0" t="0" r="r" b="b"/>
            <a:pathLst>
              <a:path w="3779" h="7199">
                <a:moveTo>
                  <a:pt x="0" y="7199"/>
                </a:moveTo>
                <a:lnTo>
                  <a:pt x="0" y="7199"/>
                </a:lnTo>
                <a:lnTo>
                  <a:pt x="3779" y="7199"/>
                </a:lnTo>
                <a:lnTo>
                  <a:pt x="3779" y="0"/>
                </a:lnTo>
                <a:lnTo>
                  <a:pt x="0" y="0"/>
                </a:lnTo>
                <a:lnTo>
                  <a:pt x="0" y="7199"/>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grpSp>
        <p:nvGrpSpPr>
          <p:cNvPr id="21" name="Groupe 20"/>
          <p:cNvGrpSpPr/>
          <p:nvPr userDrawn="1"/>
        </p:nvGrpSpPr>
        <p:grpSpPr bwMode="gray">
          <a:xfrm>
            <a:off x="0" y="0"/>
            <a:ext cx="3600000" cy="6681788"/>
            <a:chOff x="0" y="4763"/>
            <a:chExt cx="3609975" cy="6681788"/>
          </a:xfrm>
          <a:solidFill>
            <a:schemeClr val="bg1"/>
          </a:solidFill>
        </p:grpSpPr>
        <p:sp>
          <p:nvSpPr>
            <p:cNvPr id="12" name="Freeform 6"/>
            <p:cNvSpPr>
              <a:spLocks/>
            </p:cNvSpPr>
            <p:nvPr userDrawn="1"/>
          </p:nvSpPr>
          <p:spPr bwMode="gray">
            <a:xfrm>
              <a:off x="0" y="4763"/>
              <a:ext cx="2997200" cy="2725738"/>
            </a:xfrm>
            <a:custGeom>
              <a:avLst/>
              <a:gdLst>
                <a:gd name="T0" fmla="*/ 2233 w 3137"/>
                <a:gd name="T1" fmla="*/ 0 h 2858"/>
                <a:gd name="T2" fmla="*/ 2233 w 3137"/>
                <a:gd name="T3" fmla="*/ 0 h 2858"/>
                <a:gd name="T4" fmla="*/ 0 w 3137"/>
                <a:gd name="T5" fmla="*/ 2036 h 2858"/>
                <a:gd name="T6" fmla="*/ 0 w 3137"/>
                <a:gd name="T7" fmla="*/ 2858 h 2858"/>
                <a:gd name="T8" fmla="*/ 3137 w 3137"/>
                <a:gd name="T9" fmla="*/ 0 h 2858"/>
                <a:gd name="T10" fmla="*/ 2233 w 3137"/>
                <a:gd name="T11" fmla="*/ 0 h 2858"/>
              </a:gdLst>
              <a:ahLst/>
              <a:cxnLst>
                <a:cxn ang="0">
                  <a:pos x="T0" y="T1"/>
                </a:cxn>
                <a:cxn ang="0">
                  <a:pos x="T2" y="T3"/>
                </a:cxn>
                <a:cxn ang="0">
                  <a:pos x="T4" y="T5"/>
                </a:cxn>
                <a:cxn ang="0">
                  <a:pos x="T6" y="T7"/>
                </a:cxn>
                <a:cxn ang="0">
                  <a:pos x="T8" y="T9"/>
                </a:cxn>
                <a:cxn ang="0">
                  <a:pos x="T10" y="T11"/>
                </a:cxn>
              </a:cxnLst>
              <a:rect l="0" t="0" r="r" b="b"/>
              <a:pathLst>
                <a:path w="3137" h="2858">
                  <a:moveTo>
                    <a:pt x="2233" y="0"/>
                  </a:moveTo>
                  <a:lnTo>
                    <a:pt x="2233" y="0"/>
                  </a:lnTo>
                  <a:lnTo>
                    <a:pt x="0" y="2036"/>
                  </a:lnTo>
                  <a:lnTo>
                    <a:pt x="0" y="2858"/>
                  </a:lnTo>
                  <a:lnTo>
                    <a:pt x="3137" y="0"/>
                  </a:lnTo>
                  <a:lnTo>
                    <a:pt x="22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3" name="Freeform 7"/>
            <p:cNvSpPr>
              <a:spLocks/>
            </p:cNvSpPr>
            <p:nvPr userDrawn="1"/>
          </p:nvSpPr>
          <p:spPr bwMode="gray">
            <a:xfrm>
              <a:off x="0" y="504826"/>
              <a:ext cx="3609975" cy="3275013"/>
            </a:xfrm>
            <a:custGeom>
              <a:avLst/>
              <a:gdLst>
                <a:gd name="T0" fmla="*/ 0 w 3779"/>
                <a:gd name="T1" fmla="*/ 2772 h 3432"/>
                <a:gd name="T2" fmla="*/ 0 w 3779"/>
                <a:gd name="T3" fmla="*/ 2772 h 3432"/>
                <a:gd name="T4" fmla="*/ 0 w 3779"/>
                <a:gd name="T5" fmla="*/ 3432 h 3432"/>
                <a:gd name="T6" fmla="*/ 3779 w 3779"/>
                <a:gd name="T7" fmla="*/ 659 h 3432"/>
                <a:gd name="T8" fmla="*/ 3779 w 3779"/>
                <a:gd name="T9" fmla="*/ 0 h 3432"/>
                <a:gd name="T10" fmla="*/ 0 w 3779"/>
                <a:gd name="T11" fmla="*/ 2772 h 3432"/>
              </a:gdLst>
              <a:ahLst/>
              <a:cxnLst>
                <a:cxn ang="0">
                  <a:pos x="T0" y="T1"/>
                </a:cxn>
                <a:cxn ang="0">
                  <a:pos x="T2" y="T3"/>
                </a:cxn>
                <a:cxn ang="0">
                  <a:pos x="T4" y="T5"/>
                </a:cxn>
                <a:cxn ang="0">
                  <a:pos x="T6" y="T7"/>
                </a:cxn>
                <a:cxn ang="0">
                  <a:pos x="T8" y="T9"/>
                </a:cxn>
                <a:cxn ang="0">
                  <a:pos x="T10" y="T11"/>
                </a:cxn>
              </a:cxnLst>
              <a:rect l="0" t="0" r="r" b="b"/>
              <a:pathLst>
                <a:path w="3779" h="3432">
                  <a:moveTo>
                    <a:pt x="0" y="2772"/>
                  </a:moveTo>
                  <a:lnTo>
                    <a:pt x="0" y="2772"/>
                  </a:lnTo>
                  <a:lnTo>
                    <a:pt x="0" y="3432"/>
                  </a:lnTo>
                  <a:lnTo>
                    <a:pt x="3779" y="659"/>
                  </a:lnTo>
                  <a:lnTo>
                    <a:pt x="3779" y="0"/>
                  </a:lnTo>
                  <a:lnTo>
                    <a:pt x="0" y="277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6" name="Freeform 8"/>
            <p:cNvSpPr>
              <a:spLocks/>
            </p:cNvSpPr>
            <p:nvPr userDrawn="1"/>
          </p:nvSpPr>
          <p:spPr bwMode="gray">
            <a:xfrm>
              <a:off x="0" y="1989138"/>
              <a:ext cx="3609975" cy="2590800"/>
            </a:xfrm>
            <a:custGeom>
              <a:avLst/>
              <a:gdLst>
                <a:gd name="T0" fmla="*/ 0 w 3779"/>
                <a:gd name="T1" fmla="*/ 2189 h 2716"/>
                <a:gd name="T2" fmla="*/ 0 w 3779"/>
                <a:gd name="T3" fmla="*/ 2189 h 2716"/>
                <a:gd name="T4" fmla="*/ 0 w 3779"/>
                <a:gd name="T5" fmla="*/ 2716 h 2716"/>
                <a:gd name="T6" fmla="*/ 3779 w 3779"/>
                <a:gd name="T7" fmla="*/ 527 h 2716"/>
                <a:gd name="T8" fmla="*/ 3779 w 3779"/>
                <a:gd name="T9" fmla="*/ 0 h 2716"/>
                <a:gd name="T10" fmla="*/ 0 w 3779"/>
                <a:gd name="T11" fmla="*/ 2189 h 2716"/>
              </a:gdLst>
              <a:ahLst/>
              <a:cxnLst>
                <a:cxn ang="0">
                  <a:pos x="T0" y="T1"/>
                </a:cxn>
                <a:cxn ang="0">
                  <a:pos x="T2" y="T3"/>
                </a:cxn>
                <a:cxn ang="0">
                  <a:pos x="T4" y="T5"/>
                </a:cxn>
                <a:cxn ang="0">
                  <a:pos x="T6" y="T7"/>
                </a:cxn>
                <a:cxn ang="0">
                  <a:pos x="T8" y="T9"/>
                </a:cxn>
                <a:cxn ang="0">
                  <a:pos x="T10" y="T11"/>
                </a:cxn>
              </a:cxnLst>
              <a:rect l="0" t="0" r="r" b="b"/>
              <a:pathLst>
                <a:path w="3779" h="2716">
                  <a:moveTo>
                    <a:pt x="0" y="2189"/>
                  </a:moveTo>
                  <a:lnTo>
                    <a:pt x="0" y="2189"/>
                  </a:lnTo>
                  <a:lnTo>
                    <a:pt x="0" y="2716"/>
                  </a:lnTo>
                  <a:lnTo>
                    <a:pt x="3779" y="527"/>
                  </a:lnTo>
                  <a:lnTo>
                    <a:pt x="3779" y="0"/>
                  </a:lnTo>
                  <a:lnTo>
                    <a:pt x="0" y="218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8" name="Freeform 9"/>
            <p:cNvSpPr>
              <a:spLocks/>
            </p:cNvSpPr>
            <p:nvPr userDrawn="1"/>
          </p:nvSpPr>
          <p:spPr bwMode="gray">
            <a:xfrm>
              <a:off x="0" y="3278188"/>
              <a:ext cx="3609975" cy="2022475"/>
            </a:xfrm>
            <a:custGeom>
              <a:avLst/>
              <a:gdLst>
                <a:gd name="T0" fmla="*/ 0 w 3779"/>
                <a:gd name="T1" fmla="*/ 1704 h 2121"/>
                <a:gd name="T2" fmla="*/ 0 w 3779"/>
                <a:gd name="T3" fmla="*/ 1704 h 2121"/>
                <a:gd name="T4" fmla="*/ 0 w 3779"/>
                <a:gd name="T5" fmla="*/ 2121 h 2121"/>
                <a:gd name="T6" fmla="*/ 3779 w 3779"/>
                <a:gd name="T7" fmla="*/ 417 h 2121"/>
                <a:gd name="T8" fmla="*/ 3779 w 3779"/>
                <a:gd name="T9" fmla="*/ 0 h 2121"/>
                <a:gd name="T10" fmla="*/ 0 w 3779"/>
                <a:gd name="T11" fmla="*/ 1704 h 2121"/>
              </a:gdLst>
              <a:ahLst/>
              <a:cxnLst>
                <a:cxn ang="0">
                  <a:pos x="T0" y="T1"/>
                </a:cxn>
                <a:cxn ang="0">
                  <a:pos x="T2" y="T3"/>
                </a:cxn>
                <a:cxn ang="0">
                  <a:pos x="T4" y="T5"/>
                </a:cxn>
                <a:cxn ang="0">
                  <a:pos x="T6" y="T7"/>
                </a:cxn>
                <a:cxn ang="0">
                  <a:pos x="T8" y="T9"/>
                </a:cxn>
                <a:cxn ang="0">
                  <a:pos x="T10" y="T11"/>
                </a:cxn>
              </a:cxnLst>
              <a:rect l="0" t="0" r="r" b="b"/>
              <a:pathLst>
                <a:path w="3779" h="2121">
                  <a:moveTo>
                    <a:pt x="0" y="1704"/>
                  </a:moveTo>
                  <a:lnTo>
                    <a:pt x="0" y="1704"/>
                  </a:lnTo>
                  <a:lnTo>
                    <a:pt x="0" y="2121"/>
                  </a:lnTo>
                  <a:lnTo>
                    <a:pt x="3779" y="417"/>
                  </a:lnTo>
                  <a:lnTo>
                    <a:pt x="3779" y="0"/>
                  </a:lnTo>
                  <a:lnTo>
                    <a:pt x="0" y="170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9" name="Freeform 10"/>
            <p:cNvSpPr>
              <a:spLocks/>
            </p:cNvSpPr>
            <p:nvPr userDrawn="1"/>
          </p:nvSpPr>
          <p:spPr bwMode="gray">
            <a:xfrm>
              <a:off x="0" y="4479926"/>
              <a:ext cx="3609975" cy="1570038"/>
            </a:xfrm>
            <a:custGeom>
              <a:avLst/>
              <a:gdLst>
                <a:gd name="T0" fmla="*/ 0 w 3779"/>
                <a:gd name="T1" fmla="*/ 1246 h 1646"/>
                <a:gd name="T2" fmla="*/ 0 w 3779"/>
                <a:gd name="T3" fmla="*/ 1246 h 1646"/>
                <a:gd name="T4" fmla="*/ 0 w 3779"/>
                <a:gd name="T5" fmla="*/ 1646 h 1646"/>
                <a:gd name="T6" fmla="*/ 3779 w 3779"/>
                <a:gd name="T7" fmla="*/ 400 h 1646"/>
                <a:gd name="T8" fmla="*/ 3779 w 3779"/>
                <a:gd name="T9" fmla="*/ 0 h 1646"/>
                <a:gd name="T10" fmla="*/ 0 w 3779"/>
                <a:gd name="T11" fmla="*/ 1246 h 1646"/>
              </a:gdLst>
              <a:ahLst/>
              <a:cxnLst>
                <a:cxn ang="0">
                  <a:pos x="T0" y="T1"/>
                </a:cxn>
                <a:cxn ang="0">
                  <a:pos x="T2" y="T3"/>
                </a:cxn>
                <a:cxn ang="0">
                  <a:pos x="T4" y="T5"/>
                </a:cxn>
                <a:cxn ang="0">
                  <a:pos x="T6" y="T7"/>
                </a:cxn>
                <a:cxn ang="0">
                  <a:pos x="T8" y="T9"/>
                </a:cxn>
                <a:cxn ang="0">
                  <a:pos x="T10" y="T11"/>
                </a:cxn>
              </a:cxnLst>
              <a:rect l="0" t="0" r="r" b="b"/>
              <a:pathLst>
                <a:path w="3779" h="1646">
                  <a:moveTo>
                    <a:pt x="0" y="1246"/>
                  </a:moveTo>
                  <a:lnTo>
                    <a:pt x="0" y="1246"/>
                  </a:lnTo>
                  <a:lnTo>
                    <a:pt x="0" y="1646"/>
                  </a:lnTo>
                  <a:lnTo>
                    <a:pt x="3779" y="400"/>
                  </a:lnTo>
                  <a:lnTo>
                    <a:pt x="3779" y="0"/>
                  </a:lnTo>
                  <a:lnTo>
                    <a:pt x="0" y="124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20" name="Freeform 11"/>
            <p:cNvSpPr>
              <a:spLocks/>
            </p:cNvSpPr>
            <p:nvPr userDrawn="1"/>
          </p:nvSpPr>
          <p:spPr bwMode="gray">
            <a:xfrm>
              <a:off x="0" y="5662613"/>
              <a:ext cx="3609975" cy="1023938"/>
            </a:xfrm>
            <a:custGeom>
              <a:avLst/>
              <a:gdLst>
                <a:gd name="T0" fmla="*/ 0 w 3779"/>
                <a:gd name="T1" fmla="*/ 815 h 1074"/>
                <a:gd name="T2" fmla="*/ 0 w 3779"/>
                <a:gd name="T3" fmla="*/ 815 h 1074"/>
                <a:gd name="T4" fmla="*/ 0 w 3779"/>
                <a:gd name="T5" fmla="*/ 1074 h 1074"/>
                <a:gd name="T6" fmla="*/ 3779 w 3779"/>
                <a:gd name="T7" fmla="*/ 259 h 1074"/>
                <a:gd name="T8" fmla="*/ 3779 w 3779"/>
                <a:gd name="T9" fmla="*/ 0 h 1074"/>
                <a:gd name="T10" fmla="*/ 0 w 3779"/>
                <a:gd name="T11" fmla="*/ 815 h 1074"/>
              </a:gdLst>
              <a:ahLst/>
              <a:cxnLst>
                <a:cxn ang="0">
                  <a:pos x="T0" y="T1"/>
                </a:cxn>
                <a:cxn ang="0">
                  <a:pos x="T2" y="T3"/>
                </a:cxn>
                <a:cxn ang="0">
                  <a:pos x="T4" y="T5"/>
                </a:cxn>
                <a:cxn ang="0">
                  <a:pos x="T6" y="T7"/>
                </a:cxn>
                <a:cxn ang="0">
                  <a:pos x="T8" y="T9"/>
                </a:cxn>
                <a:cxn ang="0">
                  <a:pos x="T10" y="T11"/>
                </a:cxn>
              </a:cxnLst>
              <a:rect l="0" t="0" r="r" b="b"/>
              <a:pathLst>
                <a:path w="3779" h="1074">
                  <a:moveTo>
                    <a:pt x="0" y="815"/>
                  </a:moveTo>
                  <a:lnTo>
                    <a:pt x="0" y="815"/>
                  </a:lnTo>
                  <a:lnTo>
                    <a:pt x="0" y="1074"/>
                  </a:lnTo>
                  <a:lnTo>
                    <a:pt x="3779" y="259"/>
                  </a:lnTo>
                  <a:lnTo>
                    <a:pt x="3779" y="0"/>
                  </a:lnTo>
                  <a:lnTo>
                    <a:pt x="0" y="81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grpSp>
      <p:sp>
        <p:nvSpPr>
          <p:cNvPr id="24" name="Espace réservé de la date 18"/>
          <p:cNvSpPr>
            <a:spLocks noGrp="1"/>
          </p:cNvSpPr>
          <p:nvPr userDrawn="1">
            <p:ph type="dt" sz="half" idx="15"/>
          </p:nvPr>
        </p:nvSpPr>
        <p:spPr bwMode="gray">
          <a:xfrm>
            <a:off x="4669147" y="6524625"/>
            <a:ext cx="540000" cy="144464"/>
          </a:xfrm>
        </p:spPr>
        <p:txBody>
          <a:bodyPr/>
          <a:lstStyle/>
          <a:p>
            <a:fld id="{D09541FD-5B6B-4BF6-8C89-AE8A3BC611FB}" type="datetime1">
              <a:rPr lang="fr-FR" smtClean="0"/>
              <a:t>11/05/2023</a:t>
            </a:fld>
            <a:endParaRPr lang="fr-FR"/>
          </a:p>
        </p:txBody>
      </p:sp>
      <p:sp>
        <p:nvSpPr>
          <p:cNvPr id="25" name="Espace réservé du pied de page 19"/>
          <p:cNvSpPr>
            <a:spLocks noGrp="1"/>
          </p:cNvSpPr>
          <p:nvPr userDrawn="1">
            <p:ph type="ftr" sz="quarter" idx="16"/>
          </p:nvPr>
        </p:nvSpPr>
        <p:spPr bwMode="gray">
          <a:xfrm>
            <a:off x="3301195" y="6524625"/>
            <a:ext cx="3600000" cy="144463"/>
          </a:xfrm>
        </p:spPr>
        <p:txBody>
          <a:bodyPr/>
          <a:lstStyle/>
          <a:p>
            <a:r>
              <a:rPr lang="fr-FR"/>
              <a:t>GROUPE ADP -                      - DIFFUSION RESTREINTE</a:t>
            </a:r>
          </a:p>
        </p:txBody>
      </p:sp>
      <p:sp>
        <p:nvSpPr>
          <p:cNvPr id="26" name="Espace réservé du numéro de diapositive 20"/>
          <p:cNvSpPr>
            <a:spLocks noGrp="1"/>
          </p:cNvSpPr>
          <p:nvPr userDrawn="1">
            <p:ph type="sldNum" sz="quarter" idx="17"/>
          </p:nvPr>
        </p:nvSpPr>
        <p:spPr bwMode="gray">
          <a:xfrm>
            <a:off x="8028384" y="6524625"/>
            <a:ext cx="612379" cy="144464"/>
          </a:xfrm>
        </p:spPr>
        <p:txBody>
          <a:bodyPr/>
          <a:lstStyle/>
          <a:p>
            <a:r>
              <a:rPr lang="fr-FR"/>
              <a:t>PAGE </a:t>
            </a:r>
            <a:fld id="{8AF9711C-11F6-40F1-A9C4-511E8DA6BB32}" type="slidenum">
              <a:rPr lang="fr-FR" smtClean="0"/>
              <a:pPr/>
              <a:t>‹N°›</a:t>
            </a:fld>
            <a:endParaRPr lang="fr-FR"/>
          </a:p>
        </p:txBody>
      </p:sp>
    </p:spTree>
    <p:extLst>
      <p:ext uri="{BB962C8B-B14F-4D97-AF65-F5344CB8AC3E}">
        <p14:creationId xmlns:p14="http://schemas.microsoft.com/office/powerpoint/2010/main" val="29861759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hapitre_couleur_2">
    <p:spTree>
      <p:nvGrpSpPr>
        <p:cNvPr id="1" name=""/>
        <p:cNvGrpSpPr/>
        <p:nvPr/>
      </p:nvGrpSpPr>
      <p:grpSpPr>
        <a:xfrm>
          <a:off x="0" y="0"/>
          <a:ext cx="0" cy="0"/>
          <a:chOff x="0" y="0"/>
          <a:chExt cx="0" cy="0"/>
        </a:xfrm>
      </p:grpSpPr>
      <p:sp>
        <p:nvSpPr>
          <p:cNvPr id="5" name="Espace réservé du texte 4"/>
          <p:cNvSpPr>
            <a:spLocks noGrp="1"/>
          </p:cNvSpPr>
          <p:nvPr>
            <p:ph type="body" sz="quarter" idx="13" hasCustomPrompt="1"/>
          </p:nvPr>
        </p:nvSpPr>
        <p:spPr bwMode="gray">
          <a:xfrm>
            <a:off x="4103688" y="3428999"/>
            <a:ext cx="4537075" cy="1800000"/>
          </a:xfrm>
        </p:spPr>
        <p:txBody>
          <a:bodyPr/>
          <a:lstStyle>
            <a:lvl1pPr marL="0" indent="0" algn="ctr">
              <a:lnSpc>
                <a:spcPct val="100000"/>
              </a:lnSpc>
              <a:spcAft>
                <a:spcPts val="0"/>
              </a:spcAft>
              <a:buNone/>
              <a:defRPr sz="2450" cap="all" baseline="0"/>
            </a:lvl1pPr>
          </a:lstStyle>
          <a:p>
            <a:pPr lvl="0"/>
            <a:r>
              <a:rPr lang="fr-FR" noProof="0"/>
              <a:t>Titre du chapitre</a:t>
            </a:r>
          </a:p>
        </p:txBody>
      </p:sp>
      <p:sp>
        <p:nvSpPr>
          <p:cNvPr id="17" name="Organigramme : Décision 16"/>
          <p:cNvSpPr/>
          <p:nvPr userDrawn="1"/>
        </p:nvSpPr>
        <p:spPr bwMode="gray">
          <a:xfrm>
            <a:off x="5940225" y="1664804"/>
            <a:ext cx="864000" cy="864000"/>
          </a:xfrm>
          <a:prstGeom prst="flowChartDecisi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Titre 2"/>
          <p:cNvSpPr>
            <a:spLocks noGrp="1"/>
          </p:cNvSpPr>
          <p:nvPr>
            <p:ph type="title" hasCustomPrompt="1"/>
          </p:nvPr>
        </p:nvSpPr>
        <p:spPr bwMode="gray">
          <a:xfrm>
            <a:off x="5940225" y="1664804"/>
            <a:ext cx="864000" cy="864000"/>
          </a:xfrm>
        </p:spPr>
        <p:txBody>
          <a:bodyPr anchor="ctr" anchorCtr="0"/>
          <a:lstStyle>
            <a:lvl1pPr algn="ctr">
              <a:defRPr sz="1750">
                <a:solidFill>
                  <a:schemeClr val="bg1"/>
                </a:solidFill>
              </a:defRPr>
            </a:lvl1pPr>
          </a:lstStyle>
          <a:p>
            <a:r>
              <a:rPr lang="fr-FR" noProof="0"/>
              <a:t>00</a:t>
            </a:r>
            <a:endParaRPr lang="fr-FR"/>
          </a:p>
        </p:txBody>
      </p:sp>
      <p:sp>
        <p:nvSpPr>
          <p:cNvPr id="9" name="Freeform 5"/>
          <p:cNvSpPr>
            <a:spLocks/>
          </p:cNvSpPr>
          <p:nvPr userDrawn="1"/>
        </p:nvSpPr>
        <p:spPr bwMode="gray">
          <a:xfrm>
            <a:off x="0" y="0"/>
            <a:ext cx="3600000" cy="6858000"/>
          </a:xfrm>
          <a:custGeom>
            <a:avLst/>
            <a:gdLst>
              <a:gd name="T0" fmla="*/ 0 w 3779"/>
              <a:gd name="T1" fmla="*/ 7199 h 7199"/>
              <a:gd name="T2" fmla="*/ 0 w 3779"/>
              <a:gd name="T3" fmla="*/ 7199 h 7199"/>
              <a:gd name="T4" fmla="*/ 3779 w 3779"/>
              <a:gd name="T5" fmla="*/ 7199 h 7199"/>
              <a:gd name="T6" fmla="*/ 3779 w 3779"/>
              <a:gd name="T7" fmla="*/ 0 h 7199"/>
              <a:gd name="T8" fmla="*/ 0 w 3779"/>
              <a:gd name="T9" fmla="*/ 0 h 7199"/>
              <a:gd name="T10" fmla="*/ 0 w 3779"/>
              <a:gd name="T11" fmla="*/ 7199 h 7199"/>
            </a:gdLst>
            <a:ahLst/>
            <a:cxnLst>
              <a:cxn ang="0">
                <a:pos x="T0" y="T1"/>
              </a:cxn>
              <a:cxn ang="0">
                <a:pos x="T2" y="T3"/>
              </a:cxn>
              <a:cxn ang="0">
                <a:pos x="T4" y="T5"/>
              </a:cxn>
              <a:cxn ang="0">
                <a:pos x="T6" y="T7"/>
              </a:cxn>
              <a:cxn ang="0">
                <a:pos x="T8" y="T9"/>
              </a:cxn>
              <a:cxn ang="0">
                <a:pos x="T10" y="T11"/>
              </a:cxn>
            </a:cxnLst>
            <a:rect l="0" t="0" r="r" b="b"/>
            <a:pathLst>
              <a:path w="3779" h="7199">
                <a:moveTo>
                  <a:pt x="0" y="7199"/>
                </a:moveTo>
                <a:lnTo>
                  <a:pt x="0" y="7199"/>
                </a:lnTo>
                <a:lnTo>
                  <a:pt x="3779" y="7199"/>
                </a:lnTo>
                <a:lnTo>
                  <a:pt x="3779" y="0"/>
                </a:lnTo>
                <a:lnTo>
                  <a:pt x="0" y="0"/>
                </a:lnTo>
                <a:lnTo>
                  <a:pt x="0" y="7199"/>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grpSp>
        <p:nvGrpSpPr>
          <p:cNvPr id="21" name="Groupe 20"/>
          <p:cNvGrpSpPr/>
          <p:nvPr userDrawn="1"/>
        </p:nvGrpSpPr>
        <p:grpSpPr bwMode="gray">
          <a:xfrm>
            <a:off x="0" y="0"/>
            <a:ext cx="3600000" cy="6681788"/>
            <a:chOff x="0" y="4763"/>
            <a:chExt cx="3609975" cy="6681788"/>
          </a:xfrm>
          <a:solidFill>
            <a:schemeClr val="accent3"/>
          </a:solidFill>
        </p:grpSpPr>
        <p:sp>
          <p:nvSpPr>
            <p:cNvPr id="12" name="Freeform 6"/>
            <p:cNvSpPr>
              <a:spLocks/>
            </p:cNvSpPr>
            <p:nvPr userDrawn="1"/>
          </p:nvSpPr>
          <p:spPr bwMode="gray">
            <a:xfrm>
              <a:off x="0" y="4763"/>
              <a:ext cx="2997200" cy="2725738"/>
            </a:xfrm>
            <a:custGeom>
              <a:avLst/>
              <a:gdLst>
                <a:gd name="T0" fmla="*/ 2233 w 3137"/>
                <a:gd name="T1" fmla="*/ 0 h 2858"/>
                <a:gd name="T2" fmla="*/ 2233 w 3137"/>
                <a:gd name="T3" fmla="*/ 0 h 2858"/>
                <a:gd name="T4" fmla="*/ 0 w 3137"/>
                <a:gd name="T5" fmla="*/ 2036 h 2858"/>
                <a:gd name="T6" fmla="*/ 0 w 3137"/>
                <a:gd name="T7" fmla="*/ 2858 h 2858"/>
                <a:gd name="T8" fmla="*/ 3137 w 3137"/>
                <a:gd name="T9" fmla="*/ 0 h 2858"/>
                <a:gd name="T10" fmla="*/ 2233 w 3137"/>
                <a:gd name="T11" fmla="*/ 0 h 2858"/>
              </a:gdLst>
              <a:ahLst/>
              <a:cxnLst>
                <a:cxn ang="0">
                  <a:pos x="T0" y="T1"/>
                </a:cxn>
                <a:cxn ang="0">
                  <a:pos x="T2" y="T3"/>
                </a:cxn>
                <a:cxn ang="0">
                  <a:pos x="T4" y="T5"/>
                </a:cxn>
                <a:cxn ang="0">
                  <a:pos x="T6" y="T7"/>
                </a:cxn>
                <a:cxn ang="0">
                  <a:pos x="T8" y="T9"/>
                </a:cxn>
                <a:cxn ang="0">
                  <a:pos x="T10" y="T11"/>
                </a:cxn>
              </a:cxnLst>
              <a:rect l="0" t="0" r="r" b="b"/>
              <a:pathLst>
                <a:path w="3137" h="2858">
                  <a:moveTo>
                    <a:pt x="2233" y="0"/>
                  </a:moveTo>
                  <a:lnTo>
                    <a:pt x="2233" y="0"/>
                  </a:lnTo>
                  <a:lnTo>
                    <a:pt x="0" y="2036"/>
                  </a:lnTo>
                  <a:lnTo>
                    <a:pt x="0" y="2858"/>
                  </a:lnTo>
                  <a:lnTo>
                    <a:pt x="3137" y="0"/>
                  </a:lnTo>
                  <a:lnTo>
                    <a:pt x="22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3" name="Freeform 7"/>
            <p:cNvSpPr>
              <a:spLocks/>
            </p:cNvSpPr>
            <p:nvPr userDrawn="1"/>
          </p:nvSpPr>
          <p:spPr bwMode="gray">
            <a:xfrm>
              <a:off x="0" y="504826"/>
              <a:ext cx="3609975" cy="3275013"/>
            </a:xfrm>
            <a:custGeom>
              <a:avLst/>
              <a:gdLst>
                <a:gd name="T0" fmla="*/ 0 w 3779"/>
                <a:gd name="T1" fmla="*/ 2772 h 3432"/>
                <a:gd name="T2" fmla="*/ 0 w 3779"/>
                <a:gd name="T3" fmla="*/ 2772 h 3432"/>
                <a:gd name="T4" fmla="*/ 0 w 3779"/>
                <a:gd name="T5" fmla="*/ 3432 h 3432"/>
                <a:gd name="T6" fmla="*/ 3779 w 3779"/>
                <a:gd name="T7" fmla="*/ 659 h 3432"/>
                <a:gd name="T8" fmla="*/ 3779 w 3779"/>
                <a:gd name="T9" fmla="*/ 0 h 3432"/>
                <a:gd name="T10" fmla="*/ 0 w 3779"/>
                <a:gd name="T11" fmla="*/ 2772 h 3432"/>
              </a:gdLst>
              <a:ahLst/>
              <a:cxnLst>
                <a:cxn ang="0">
                  <a:pos x="T0" y="T1"/>
                </a:cxn>
                <a:cxn ang="0">
                  <a:pos x="T2" y="T3"/>
                </a:cxn>
                <a:cxn ang="0">
                  <a:pos x="T4" y="T5"/>
                </a:cxn>
                <a:cxn ang="0">
                  <a:pos x="T6" y="T7"/>
                </a:cxn>
                <a:cxn ang="0">
                  <a:pos x="T8" y="T9"/>
                </a:cxn>
                <a:cxn ang="0">
                  <a:pos x="T10" y="T11"/>
                </a:cxn>
              </a:cxnLst>
              <a:rect l="0" t="0" r="r" b="b"/>
              <a:pathLst>
                <a:path w="3779" h="3432">
                  <a:moveTo>
                    <a:pt x="0" y="2772"/>
                  </a:moveTo>
                  <a:lnTo>
                    <a:pt x="0" y="2772"/>
                  </a:lnTo>
                  <a:lnTo>
                    <a:pt x="0" y="3432"/>
                  </a:lnTo>
                  <a:lnTo>
                    <a:pt x="3779" y="659"/>
                  </a:lnTo>
                  <a:lnTo>
                    <a:pt x="3779" y="0"/>
                  </a:lnTo>
                  <a:lnTo>
                    <a:pt x="0" y="277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6" name="Freeform 8"/>
            <p:cNvSpPr>
              <a:spLocks/>
            </p:cNvSpPr>
            <p:nvPr userDrawn="1"/>
          </p:nvSpPr>
          <p:spPr bwMode="gray">
            <a:xfrm>
              <a:off x="0" y="1989138"/>
              <a:ext cx="3609975" cy="2590800"/>
            </a:xfrm>
            <a:custGeom>
              <a:avLst/>
              <a:gdLst>
                <a:gd name="T0" fmla="*/ 0 w 3779"/>
                <a:gd name="T1" fmla="*/ 2189 h 2716"/>
                <a:gd name="T2" fmla="*/ 0 w 3779"/>
                <a:gd name="T3" fmla="*/ 2189 h 2716"/>
                <a:gd name="T4" fmla="*/ 0 w 3779"/>
                <a:gd name="T5" fmla="*/ 2716 h 2716"/>
                <a:gd name="T6" fmla="*/ 3779 w 3779"/>
                <a:gd name="T7" fmla="*/ 527 h 2716"/>
                <a:gd name="T8" fmla="*/ 3779 w 3779"/>
                <a:gd name="T9" fmla="*/ 0 h 2716"/>
                <a:gd name="T10" fmla="*/ 0 w 3779"/>
                <a:gd name="T11" fmla="*/ 2189 h 2716"/>
              </a:gdLst>
              <a:ahLst/>
              <a:cxnLst>
                <a:cxn ang="0">
                  <a:pos x="T0" y="T1"/>
                </a:cxn>
                <a:cxn ang="0">
                  <a:pos x="T2" y="T3"/>
                </a:cxn>
                <a:cxn ang="0">
                  <a:pos x="T4" y="T5"/>
                </a:cxn>
                <a:cxn ang="0">
                  <a:pos x="T6" y="T7"/>
                </a:cxn>
                <a:cxn ang="0">
                  <a:pos x="T8" y="T9"/>
                </a:cxn>
                <a:cxn ang="0">
                  <a:pos x="T10" y="T11"/>
                </a:cxn>
              </a:cxnLst>
              <a:rect l="0" t="0" r="r" b="b"/>
              <a:pathLst>
                <a:path w="3779" h="2716">
                  <a:moveTo>
                    <a:pt x="0" y="2189"/>
                  </a:moveTo>
                  <a:lnTo>
                    <a:pt x="0" y="2189"/>
                  </a:lnTo>
                  <a:lnTo>
                    <a:pt x="0" y="2716"/>
                  </a:lnTo>
                  <a:lnTo>
                    <a:pt x="3779" y="527"/>
                  </a:lnTo>
                  <a:lnTo>
                    <a:pt x="3779" y="0"/>
                  </a:lnTo>
                  <a:lnTo>
                    <a:pt x="0" y="218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8" name="Freeform 9"/>
            <p:cNvSpPr>
              <a:spLocks/>
            </p:cNvSpPr>
            <p:nvPr userDrawn="1"/>
          </p:nvSpPr>
          <p:spPr bwMode="gray">
            <a:xfrm>
              <a:off x="0" y="3278188"/>
              <a:ext cx="3609975" cy="2022475"/>
            </a:xfrm>
            <a:custGeom>
              <a:avLst/>
              <a:gdLst>
                <a:gd name="T0" fmla="*/ 0 w 3779"/>
                <a:gd name="T1" fmla="*/ 1704 h 2121"/>
                <a:gd name="T2" fmla="*/ 0 w 3779"/>
                <a:gd name="T3" fmla="*/ 1704 h 2121"/>
                <a:gd name="T4" fmla="*/ 0 w 3779"/>
                <a:gd name="T5" fmla="*/ 2121 h 2121"/>
                <a:gd name="T6" fmla="*/ 3779 w 3779"/>
                <a:gd name="T7" fmla="*/ 417 h 2121"/>
                <a:gd name="T8" fmla="*/ 3779 w 3779"/>
                <a:gd name="T9" fmla="*/ 0 h 2121"/>
                <a:gd name="T10" fmla="*/ 0 w 3779"/>
                <a:gd name="T11" fmla="*/ 1704 h 2121"/>
              </a:gdLst>
              <a:ahLst/>
              <a:cxnLst>
                <a:cxn ang="0">
                  <a:pos x="T0" y="T1"/>
                </a:cxn>
                <a:cxn ang="0">
                  <a:pos x="T2" y="T3"/>
                </a:cxn>
                <a:cxn ang="0">
                  <a:pos x="T4" y="T5"/>
                </a:cxn>
                <a:cxn ang="0">
                  <a:pos x="T6" y="T7"/>
                </a:cxn>
                <a:cxn ang="0">
                  <a:pos x="T8" y="T9"/>
                </a:cxn>
                <a:cxn ang="0">
                  <a:pos x="T10" y="T11"/>
                </a:cxn>
              </a:cxnLst>
              <a:rect l="0" t="0" r="r" b="b"/>
              <a:pathLst>
                <a:path w="3779" h="2121">
                  <a:moveTo>
                    <a:pt x="0" y="1704"/>
                  </a:moveTo>
                  <a:lnTo>
                    <a:pt x="0" y="1704"/>
                  </a:lnTo>
                  <a:lnTo>
                    <a:pt x="0" y="2121"/>
                  </a:lnTo>
                  <a:lnTo>
                    <a:pt x="3779" y="417"/>
                  </a:lnTo>
                  <a:lnTo>
                    <a:pt x="3779" y="0"/>
                  </a:lnTo>
                  <a:lnTo>
                    <a:pt x="0" y="170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9" name="Freeform 10"/>
            <p:cNvSpPr>
              <a:spLocks/>
            </p:cNvSpPr>
            <p:nvPr userDrawn="1"/>
          </p:nvSpPr>
          <p:spPr bwMode="gray">
            <a:xfrm>
              <a:off x="0" y="4479926"/>
              <a:ext cx="3609975" cy="1570038"/>
            </a:xfrm>
            <a:custGeom>
              <a:avLst/>
              <a:gdLst>
                <a:gd name="T0" fmla="*/ 0 w 3779"/>
                <a:gd name="T1" fmla="*/ 1246 h 1646"/>
                <a:gd name="T2" fmla="*/ 0 w 3779"/>
                <a:gd name="T3" fmla="*/ 1246 h 1646"/>
                <a:gd name="T4" fmla="*/ 0 w 3779"/>
                <a:gd name="T5" fmla="*/ 1646 h 1646"/>
                <a:gd name="T6" fmla="*/ 3779 w 3779"/>
                <a:gd name="T7" fmla="*/ 400 h 1646"/>
                <a:gd name="T8" fmla="*/ 3779 w 3779"/>
                <a:gd name="T9" fmla="*/ 0 h 1646"/>
                <a:gd name="T10" fmla="*/ 0 w 3779"/>
                <a:gd name="T11" fmla="*/ 1246 h 1646"/>
              </a:gdLst>
              <a:ahLst/>
              <a:cxnLst>
                <a:cxn ang="0">
                  <a:pos x="T0" y="T1"/>
                </a:cxn>
                <a:cxn ang="0">
                  <a:pos x="T2" y="T3"/>
                </a:cxn>
                <a:cxn ang="0">
                  <a:pos x="T4" y="T5"/>
                </a:cxn>
                <a:cxn ang="0">
                  <a:pos x="T6" y="T7"/>
                </a:cxn>
                <a:cxn ang="0">
                  <a:pos x="T8" y="T9"/>
                </a:cxn>
                <a:cxn ang="0">
                  <a:pos x="T10" y="T11"/>
                </a:cxn>
              </a:cxnLst>
              <a:rect l="0" t="0" r="r" b="b"/>
              <a:pathLst>
                <a:path w="3779" h="1646">
                  <a:moveTo>
                    <a:pt x="0" y="1246"/>
                  </a:moveTo>
                  <a:lnTo>
                    <a:pt x="0" y="1246"/>
                  </a:lnTo>
                  <a:lnTo>
                    <a:pt x="0" y="1646"/>
                  </a:lnTo>
                  <a:lnTo>
                    <a:pt x="3779" y="400"/>
                  </a:lnTo>
                  <a:lnTo>
                    <a:pt x="3779" y="0"/>
                  </a:lnTo>
                  <a:lnTo>
                    <a:pt x="0" y="124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20" name="Freeform 11"/>
            <p:cNvSpPr>
              <a:spLocks/>
            </p:cNvSpPr>
            <p:nvPr userDrawn="1"/>
          </p:nvSpPr>
          <p:spPr bwMode="gray">
            <a:xfrm>
              <a:off x="0" y="5662613"/>
              <a:ext cx="3609975" cy="1023938"/>
            </a:xfrm>
            <a:custGeom>
              <a:avLst/>
              <a:gdLst>
                <a:gd name="T0" fmla="*/ 0 w 3779"/>
                <a:gd name="T1" fmla="*/ 815 h 1074"/>
                <a:gd name="T2" fmla="*/ 0 w 3779"/>
                <a:gd name="T3" fmla="*/ 815 h 1074"/>
                <a:gd name="T4" fmla="*/ 0 w 3779"/>
                <a:gd name="T5" fmla="*/ 1074 h 1074"/>
                <a:gd name="T6" fmla="*/ 3779 w 3779"/>
                <a:gd name="T7" fmla="*/ 259 h 1074"/>
                <a:gd name="T8" fmla="*/ 3779 w 3779"/>
                <a:gd name="T9" fmla="*/ 0 h 1074"/>
                <a:gd name="T10" fmla="*/ 0 w 3779"/>
                <a:gd name="T11" fmla="*/ 815 h 1074"/>
              </a:gdLst>
              <a:ahLst/>
              <a:cxnLst>
                <a:cxn ang="0">
                  <a:pos x="T0" y="T1"/>
                </a:cxn>
                <a:cxn ang="0">
                  <a:pos x="T2" y="T3"/>
                </a:cxn>
                <a:cxn ang="0">
                  <a:pos x="T4" y="T5"/>
                </a:cxn>
                <a:cxn ang="0">
                  <a:pos x="T6" y="T7"/>
                </a:cxn>
                <a:cxn ang="0">
                  <a:pos x="T8" y="T9"/>
                </a:cxn>
                <a:cxn ang="0">
                  <a:pos x="T10" y="T11"/>
                </a:cxn>
              </a:cxnLst>
              <a:rect l="0" t="0" r="r" b="b"/>
              <a:pathLst>
                <a:path w="3779" h="1074">
                  <a:moveTo>
                    <a:pt x="0" y="815"/>
                  </a:moveTo>
                  <a:lnTo>
                    <a:pt x="0" y="815"/>
                  </a:lnTo>
                  <a:lnTo>
                    <a:pt x="0" y="1074"/>
                  </a:lnTo>
                  <a:lnTo>
                    <a:pt x="3779" y="259"/>
                  </a:lnTo>
                  <a:lnTo>
                    <a:pt x="3779" y="0"/>
                  </a:lnTo>
                  <a:lnTo>
                    <a:pt x="0" y="81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grpSp>
      <p:sp>
        <p:nvSpPr>
          <p:cNvPr id="23" name="Espace réservé de la date 18"/>
          <p:cNvSpPr>
            <a:spLocks noGrp="1"/>
          </p:cNvSpPr>
          <p:nvPr userDrawn="1">
            <p:ph type="dt" sz="half" idx="15"/>
          </p:nvPr>
        </p:nvSpPr>
        <p:spPr bwMode="gray">
          <a:xfrm>
            <a:off x="4669147" y="6524625"/>
            <a:ext cx="540000" cy="144464"/>
          </a:xfrm>
        </p:spPr>
        <p:txBody>
          <a:bodyPr/>
          <a:lstStyle/>
          <a:p>
            <a:fld id="{92A83952-1623-4E48-837C-2FD05EAB1428}" type="datetime1">
              <a:rPr lang="fr-FR" smtClean="0"/>
              <a:t>11/05/2023</a:t>
            </a:fld>
            <a:endParaRPr lang="fr-FR"/>
          </a:p>
        </p:txBody>
      </p:sp>
      <p:sp>
        <p:nvSpPr>
          <p:cNvPr id="24" name="Espace réservé du pied de page 19"/>
          <p:cNvSpPr>
            <a:spLocks noGrp="1"/>
          </p:cNvSpPr>
          <p:nvPr userDrawn="1">
            <p:ph type="ftr" sz="quarter" idx="16"/>
          </p:nvPr>
        </p:nvSpPr>
        <p:spPr bwMode="gray">
          <a:xfrm>
            <a:off x="3301195" y="6524625"/>
            <a:ext cx="3600000" cy="144463"/>
          </a:xfrm>
        </p:spPr>
        <p:txBody>
          <a:bodyPr/>
          <a:lstStyle/>
          <a:p>
            <a:r>
              <a:rPr lang="fr-FR"/>
              <a:t>GROUPE ADP -                      - DIFFUSION RESTREINTE</a:t>
            </a:r>
          </a:p>
        </p:txBody>
      </p:sp>
      <p:sp>
        <p:nvSpPr>
          <p:cNvPr id="25" name="Espace réservé du numéro de diapositive 20"/>
          <p:cNvSpPr>
            <a:spLocks noGrp="1"/>
          </p:cNvSpPr>
          <p:nvPr userDrawn="1">
            <p:ph type="sldNum" sz="quarter" idx="17"/>
          </p:nvPr>
        </p:nvSpPr>
        <p:spPr bwMode="gray">
          <a:xfrm>
            <a:off x="8028384" y="6524625"/>
            <a:ext cx="612379" cy="144464"/>
          </a:xfrm>
        </p:spPr>
        <p:txBody>
          <a:bodyPr/>
          <a:lstStyle/>
          <a:p>
            <a:r>
              <a:rPr lang="fr-FR"/>
              <a:t>PAGE </a:t>
            </a:r>
            <a:fld id="{8AF9711C-11F6-40F1-A9C4-511E8DA6BB32}" type="slidenum">
              <a:rPr lang="fr-FR" smtClean="0"/>
              <a:pPr/>
              <a:t>‹N°›</a:t>
            </a:fld>
            <a:endParaRPr lang="fr-FR"/>
          </a:p>
        </p:txBody>
      </p:sp>
    </p:spTree>
    <p:extLst>
      <p:ext uri="{BB962C8B-B14F-4D97-AF65-F5344CB8AC3E}">
        <p14:creationId xmlns:p14="http://schemas.microsoft.com/office/powerpoint/2010/main" val="18325481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hapitre_couleur_3">
    <p:spTree>
      <p:nvGrpSpPr>
        <p:cNvPr id="1" name=""/>
        <p:cNvGrpSpPr/>
        <p:nvPr/>
      </p:nvGrpSpPr>
      <p:grpSpPr>
        <a:xfrm>
          <a:off x="0" y="0"/>
          <a:ext cx="0" cy="0"/>
          <a:chOff x="0" y="0"/>
          <a:chExt cx="0" cy="0"/>
        </a:xfrm>
      </p:grpSpPr>
      <p:sp>
        <p:nvSpPr>
          <p:cNvPr id="5" name="Espace réservé du texte 4"/>
          <p:cNvSpPr>
            <a:spLocks noGrp="1"/>
          </p:cNvSpPr>
          <p:nvPr>
            <p:ph type="body" sz="quarter" idx="13" hasCustomPrompt="1"/>
          </p:nvPr>
        </p:nvSpPr>
        <p:spPr bwMode="gray">
          <a:xfrm>
            <a:off x="4103688" y="3428999"/>
            <a:ext cx="4537075" cy="1800000"/>
          </a:xfrm>
        </p:spPr>
        <p:txBody>
          <a:bodyPr/>
          <a:lstStyle>
            <a:lvl1pPr marL="0" indent="0" algn="ctr">
              <a:lnSpc>
                <a:spcPct val="100000"/>
              </a:lnSpc>
              <a:spcAft>
                <a:spcPts val="0"/>
              </a:spcAft>
              <a:buNone/>
              <a:defRPr sz="2450" cap="all" baseline="0"/>
            </a:lvl1pPr>
          </a:lstStyle>
          <a:p>
            <a:pPr lvl="0"/>
            <a:r>
              <a:rPr lang="fr-FR" noProof="0"/>
              <a:t>Titre du chapitre</a:t>
            </a:r>
          </a:p>
        </p:txBody>
      </p:sp>
      <p:sp>
        <p:nvSpPr>
          <p:cNvPr id="17" name="Organigramme : Décision 16"/>
          <p:cNvSpPr/>
          <p:nvPr userDrawn="1"/>
        </p:nvSpPr>
        <p:spPr bwMode="gray">
          <a:xfrm>
            <a:off x="5940225" y="1664804"/>
            <a:ext cx="864000" cy="864000"/>
          </a:xfrm>
          <a:prstGeom prst="flowChartDecisi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Titre 2"/>
          <p:cNvSpPr>
            <a:spLocks noGrp="1"/>
          </p:cNvSpPr>
          <p:nvPr>
            <p:ph type="title" hasCustomPrompt="1"/>
          </p:nvPr>
        </p:nvSpPr>
        <p:spPr bwMode="gray">
          <a:xfrm>
            <a:off x="5940225" y="1664804"/>
            <a:ext cx="864000" cy="864000"/>
          </a:xfrm>
        </p:spPr>
        <p:txBody>
          <a:bodyPr anchor="ctr" anchorCtr="0"/>
          <a:lstStyle>
            <a:lvl1pPr algn="ctr">
              <a:defRPr sz="1750">
                <a:solidFill>
                  <a:schemeClr val="bg1"/>
                </a:solidFill>
              </a:defRPr>
            </a:lvl1pPr>
          </a:lstStyle>
          <a:p>
            <a:r>
              <a:rPr lang="fr-FR" noProof="0"/>
              <a:t>00</a:t>
            </a:r>
            <a:endParaRPr lang="fr-FR"/>
          </a:p>
        </p:txBody>
      </p:sp>
      <p:sp>
        <p:nvSpPr>
          <p:cNvPr id="9" name="Freeform 5"/>
          <p:cNvSpPr>
            <a:spLocks/>
          </p:cNvSpPr>
          <p:nvPr userDrawn="1"/>
        </p:nvSpPr>
        <p:spPr bwMode="gray">
          <a:xfrm>
            <a:off x="0" y="0"/>
            <a:ext cx="3600000" cy="6858000"/>
          </a:xfrm>
          <a:custGeom>
            <a:avLst/>
            <a:gdLst>
              <a:gd name="T0" fmla="*/ 0 w 3779"/>
              <a:gd name="T1" fmla="*/ 7199 h 7199"/>
              <a:gd name="T2" fmla="*/ 0 w 3779"/>
              <a:gd name="T3" fmla="*/ 7199 h 7199"/>
              <a:gd name="T4" fmla="*/ 3779 w 3779"/>
              <a:gd name="T5" fmla="*/ 7199 h 7199"/>
              <a:gd name="T6" fmla="*/ 3779 w 3779"/>
              <a:gd name="T7" fmla="*/ 0 h 7199"/>
              <a:gd name="T8" fmla="*/ 0 w 3779"/>
              <a:gd name="T9" fmla="*/ 0 h 7199"/>
              <a:gd name="T10" fmla="*/ 0 w 3779"/>
              <a:gd name="T11" fmla="*/ 7199 h 7199"/>
            </a:gdLst>
            <a:ahLst/>
            <a:cxnLst>
              <a:cxn ang="0">
                <a:pos x="T0" y="T1"/>
              </a:cxn>
              <a:cxn ang="0">
                <a:pos x="T2" y="T3"/>
              </a:cxn>
              <a:cxn ang="0">
                <a:pos x="T4" y="T5"/>
              </a:cxn>
              <a:cxn ang="0">
                <a:pos x="T6" y="T7"/>
              </a:cxn>
              <a:cxn ang="0">
                <a:pos x="T8" y="T9"/>
              </a:cxn>
              <a:cxn ang="0">
                <a:pos x="T10" y="T11"/>
              </a:cxn>
            </a:cxnLst>
            <a:rect l="0" t="0" r="r" b="b"/>
            <a:pathLst>
              <a:path w="3779" h="7199">
                <a:moveTo>
                  <a:pt x="0" y="7199"/>
                </a:moveTo>
                <a:lnTo>
                  <a:pt x="0" y="7199"/>
                </a:lnTo>
                <a:lnTo>
                  <a:pt x="3779" y="7199"/>
                </a:lnTo>
                <a:lnTo>
                  <a:pt x="3779" y="0"/>
                </a:lnTo>
                <a:lnTo>
                  <a:pt x="0" y="0"/>
                </a:lnTo>
                <a:lnTo>
                  <a:pt x="0" y="7199"/>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grpSp>
        <p:nvGrpSpPr>
          <p:cNvPr id="21" name="Groupe 20"/>
          <p:cNvGrpSpPr/>
          <p:nvPr userDrawn="1"/>
        </p:nvGrpSpPr>
        <p:grpSpPr bwMode="gray">
          <a:xfrm>
            <a:off x="0" y="0"/>
            <a:ext cx="3600000" cy="6681788"/>
            <a:chOff x="0" y="4763"/>
            <a:chExt cx="3609975" cy="6681788"/>
          </a:xfrm>
          <a:solidFill>
            <a:schemeClr val="accent2"/>
          </a:solidFill>
        </p:grpSpPr>
        <p:sp>
          <p:nvSpPr>
            <p:cNvPr id="12" name="Freeform 6"/>
            <p:cNvSpPr>
              <a:spLocks/>
            </p:cNvSpPr>
            <p:nvPr userDrawn="1"/>
          </p:nvSpPr>
          <p:spPr bwMode="gray">
            <a:xfrm>
              <a:off x="0" y="4763"/>
              <a:ext cx="2997200" cy="2725738"/>
            </a:xfrm>
            <a:custGeom>
              <a:avLst/>
              <a:gdLst>
                <a:gd name="T0" fmla="*/ 2233 w 3137"/>
                <a:gd name="T1" fmla="*/ 0 h 2858"/>
                <a:gd name="T2" fmla="*/ 2233 w 3137"/>
                <a:gd name="T3" fmla="*/ 0 h 2858"/>
                <a:gd name="T4" fmla="*/ 0 w 3137"/>
                <a:gd name="T5" fmla="*/ 2036 h 2858"/>
                <a:gd name="T6" fmla="*/ 0 w 3137"/>
                <a:gd name="T7" fmla="*/ 2858 h 2858"/>
                <a:gd name="T8" fmla="*/ 3137 w 3137"/>
                <a:gd name="T9" fmla="*/ 0 h 2858"/>
                <a:gd name="T10" fmla="*/ 2233 w 3137"/>
                <a:gd name="T11" fmla="*/ 0 h 2858"/>
              </a:gdLst>
              <a:ahLst/>
              <a:cxnLst>
                <a:cxn ang="0">
                  <a:pos x="T0" y="T1"/>
                </a:cxn>
                <a:cxn ang="0">
                  <a:pos x="T2" y="T3"/>
                </a:cxn>
                <a:cxn ang="0">
                  <a:pos x="T4" y="T5"/>
                </a:cxn>
                <a:cxn ang="0">
                  <a:pos x="T6" y="T7"/>
                </a:cxn>
                <a:cxn ang="0">
                  <a:pos x="T8" y="T9"/>
                </a:cxn>
                <a:cxn ang="0">
                  <a:pos x="T10" y="T11"/>
                </a:cxn>
              </a:cxnLst>
              <a:rect l="0" t="0" r="r" b="b"/>
              <a:pathLst>
                <a:path w="3137" h="2858">
                  <a:moveTo>
                    <a:pt x="2233" y="0"/>
                  </a:moveTo>
                  <a:lnTo>
                    <a:pt x="2233" y="0"/>
                  </a:lnTo>
                  <a:lnTo>
                    <a:pt x="0" y="2036"/>
                  </a:lnTo>
                  <a:lnTo>
                    <a:pt x="0" y="2858"/>
                  </a:lnTo>
                  <a:lnTo>
                    <a:pt x="3137" y="0"/>
                  </a:lnTo>
                  <a:lnTo>
                    <a:pt x="22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3" name="Freeform 7"/>
            <p:cNvSpPr>
              <a:spLocks/>
            </p:cNvSpPr>
            <p:nvPr userDrawn="1"/>
          </p:nvSpPr>
          <p:spPr bwMode="gray">
            <a:xfrm>
              <a:off x="0" y="504826"/>
              <a:ext cx="3609975" cy="3275013"/>
            </a:xfrm>
            <a:custGeom>
              <a:avLst/>
              <a:gdLst>
                <a:gd name="T0" fmla="*/ 0 w 3779"/>
                <a:gd name="T1" fmla="*/ 2772 h 3432"/>
                <a:gd name="T2" fmla="*/ 0 w 3779"/>
                <a:gd name="T3" fmla="*/ 2772 h 3432"/>
                <a:gd name="T4" fmla="*/ 0 w 3779"/>
                <a:gd name="T5" fmla="*/ 3432 h 3432"/>
                <a:gd name="T6" fmla="*/ 3779 w 3779"/>
                <a:gd name="T7" fmla="*/ 659 h 3432"/>
                <a:gd name="T8" fmla="*/ 3779 w 3779"/>
                <a:gd name="T9" fmla="*/ 0 h 3432"/>
                <a:gd name="T10" fmla="*/ 0 w 3779"/>
                <a:gd name="T11" fmla="*/ 2772 h 3432"/>
              </a:gdLst>
              <a:ahLst/>
              <a:cxnLst>
                <a:cxn ang="0">
                  <a:pos x="T0" y="T1"/>
                </a:cxn>
                <a:cxn ang="0">
                  <a:pos x="T2" y="T3"/>
                </a:cxn>
                <a:cxn ang="0">
                  <a:pos x="T4" y="T5"/>
                </a:cxn>
                <a:cxn ang="0">
                  <a:pos x="T6" y="T7"/>
                </a:cxn>
                <a:cxn ang="0">
                  <a:pos x="T8" y="T9"/>
                </a:cxn>
                <a:cxn ang="0">
                  <a:pos x="T10" y="T11"/>
                </a:cxn>
              </a:cxnLst>
              <a:rect l="0" t="0" r="r" b="b"/>
              <a:pathLst>
                <a:path w="3779" h="3432">
                  <a:moveTo>
                    <a:pt x="0" y="2772"/>
                  </a:moveTo>
                  <a:lnTo>
                    <a:pt x="0" y="2772"/>
                  </a:lnTo>
                  <a:lnTo>
                    <a:pt x="0" y="3432"/>
                  </a:lnTo>
                  <a:lnTo>
                    <a:pt x="3779" y="659"/>
                  </a:lnTo>
                  <a:lnTo>
                    <a:pt x="3779" y="0"/>
                  </a:lnTo>
                  <a:lnTo>
                    <a:pt x="0" y="277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6" name="Freeform 8"/>
            <p:cNvSpPr>
              <a:spLocks/>
            </p:cNvSpPr>
            <p:nvPr userDrawn="1"/>
          </p:nvSpPr>
          <p:spPr bwMode="gray">
            <a:xfrm>
              <a:off x="0" y="1989138"/>
              <a:ext cx="3609975" cy="2590800"/>
            </a:xfrm>
            <a:custGeom>
              <a:avLst/>
              <a:gdLst>
                <a:gd name="T0" fmla="*/ 0 w 3779"/>
                <a:gd name="T1" fmla="*/ 2189 h 2716"/>
                <a:gd name="T2" fmla="*/ 0 w 3779"/>
                <a:gd name="T3" fmla="*/ 2189 h 2716"/>
                <a:gd name="T4" fmla="*/ 0 w 3779"/>
                <a:gd name="T5" fmla="*/ 2716 h 2716"/>
                <a:gd name="T6" fmla="*/ 3779 w 3779"/>
                <a:gd name="T7" fmla="*/ 527 h 2716"/>
                <a:gd name="T8" fmla="*/ 3779 w 3779"/>
                <a:gd name="T9" fmla="*/ 0 h 2716"/>
                <a:gd name="T10" fmla="*/ 0 w 3779"/>
                <a:gd name="T11" fmla="*/ 2189 h 2716"/>
              </a:gdLst>
              <a:ahLst/>
              <a:cxnLst>
                <a:cxn ang="0">
                  <a:pos x="T0" y="T1"/>
                </a:cxn>
                <a:cxn ang="0">
                  <a:pos x="T2" y="T3"/>
                </a:cxn>
                <a:cxn ang="0">
                  <a:pos x="T4" y="T5"/>
                </a:cxn>
                <a:cxn ang="0">
                  <a:pos x="T6" y="T7"/>
                </a:cxn>
                <a:cxn ang="0">
                  <a:pos x="T8" y="T9"/>
                </a:cxn>
                <a:cxn ang="0">
                  <a:pos x="T10" y="T11"/>
                </a:cxn>
              </a:cxnLst>
              <a:rect l="0" t="0" r="r" b="b"/>
              <a:pathLst>
                <a:path w="3779" h="2716">
                  <a:moveTo>
                    <a:pt x="0" y="2189"/>
                  </a:moveTo>
                  <a:lnTo>
                    <a:pt x="0" y="2189"/>
                  </a:lnTo>
                  <a:lnTo>
                    <a:pt x="0" y="2716"/>
                  </a:lnTo>
                  <a:lnTo>
                    <a:pt x="3779" y="527"/>
                  </a:lnTo>
                  <a:lnTo>
                    <a:pt x="3779" y="0"/>
                  </a:lnTo>
                  <a:lnTo>
                    <a:pt x="0" y="218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8" name="Freeform 9"/>
            <p:cNvSpPr>
              <a:spLocks/>
            </p:cNvSpPr>
            <p:nvPr userDrawn="1"/>
          </p:nvSpPr>
          <p:spPr bwMode="gray">
            <a:xfrm>
              <a:off x="0" y="3278188"/>
              <a:ext cx="3609975" cy="2022475"/>
            </a:xfrm>
            <a:custGeom>
              <a:avLst/>
              <a:gdLst>
                <a:gd name="T0" fmla="*/ 0 w 3779"/>
                <a:gd name="T1" fmla="*/ 1704 h 2121"/>
                <a:gd name="T2" fmla="*/ 0 w 3779"/>
                <a:gd name="T3" fmla="*/ 1704 h 2121"/>
                <a:gd name="T4" fmla="*/ 0 w 3779"/>
                <a:gd name="T5" fmla="*/ 2121 h 2121"/>
                <a:gd name="T6" fmla="*/ 3779 w 3779"/>
                <a:gd name="T7" fmla="*/ 417 h 2121"/>
                <a:gd name="T8" fmla="*/ 3779 w 3779"/>
                <a:gd name="T9" fmla="*/ 0 h 2121"/>
                <a:gd name="T10" fmla="*/ 0 w 3779"/>
                <a:gd name="T11" fmla="*/ 1704 h 2121"/>
              </a:gdLst>
              <a:ahLst/>
              <a:cxnLst>
                <a:cxn ang="0">
                  <a:pos x="T0" y="T1"/>
                </a:cxn>
                <a:cxn ang="0">
                  <a:pos x="T2" y="T3"/>
                </a:cxn>
                <a:cxn ang="0">
                  <a:pos x="T4" y="T5"/>
                </a:cxn>
                <a:cxn ang="0">
                  <a:pos x="T6" y="T7"/>
                </a:cxn>
                <a:cxn ang="0">
                  <a:pos x="T8" y="T9"/>
                </a:cxn>
                <a:cxn ang="0">
                  <a:pos x="T10" y="T11"/>
                </a:cxn>
              </a:cxnLst>
              <a:rect l="0" t="0" r="r" b="b"/>
              <a:pathLst>
                <a:path w="3779" h="2121">
                  <a:moveTo>
                    <a:pt x="0" y="1704"/>
                  </a:moveTo>
                  <a:lnTo>
                    <a:pt x="0" y="1704"/>
                  </a:lnTo>
                  <a:lnTo>
                    <a:pt x="0" y="2121"/>
                  </a:lnTo>
                  <a:lnTo>
                    <a:pt x="3779" y="417"/>
                  </a:lnTo>
                  <a:lnTo>
                    <a:pt x="3779" y="0"/>
                  </a:lnTo>
                  <a:lnTo>
                    <a:pt x="0" y="170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9" name="Freeform 10"/>
            <p:cNvSpPr>
              <a:spLocks/>
            </p:cNvSpPr>
            <p:nvPr userDrawn="1"/>
          </p:nvSpPr>
          <p:spPr bwMode="gray">
            <a:xfrm>
              <a:off x="0" y="4479926"/>
              <a:ext cx="3609975" cy="1570038"/>
            </a:xfrm>
            <a:custGeom>
              <a:avLst/>
              <a:gdLst>
                <a:gd name="T0" fmla="*/ 0 w 3779"/>
                <a:gd name="T1" fmla="*/ 1246 h 1646"/>
                <a:gd name="T2" fmla="*/ 0 w 3779"/>
                <a:gd name="T3" fmla="*/ 1246 h 1646"/>
                <a:gd name="T4" fmla="*/ 0 w 3779"/>
                <a:gd name="T5" fmla="*/ 1646 h 1646"/>
                <a:gd name="T6" fmla="*/ 3779 w 3779"/>
                <a:gd name="T7" fmla="*/ 400 h 1646"/>
                <a:gd name="T8" fmla="*/ 3779 w 3779"/>
                <a:gd name="T9" fmla="*/ 0 h 1646"/>
                <a:gd name="T10" fmla="*/ 0 w 3779"/>
                <a:gd name="T11" fmla="*/ 1246 h 1646"/>
              </a:gdLst>
              <a:ahLst/>
              <a:cxnLst>
                <a:cxn ang="0">
                  <a:pos x="T0" y="T1"/>
                </a:cxn>
                <a:cxn ang="0">
                  <a:pos x="T2" y="T3"/>
                </a:cxn>
                <a:cxn ang="0">
                  <a:pos x="T4" y="T5"/>
                </a:cxn>
                <a:cxn ang="0">
                  <a:pos x="T6" y="T7"/>
                </a:cxn>
                <a:cxn ang="0">
                  <a:pos x="T8" y="T9"/>
                </a:cxn>
                <a:cxn ang="0">
                  <a:pos x="T10" y="T11"/>
                </a:cxn>
              </a:cxnLst>
              <a:rect l="0" t="0" r="r" b="b"/>
              <a:pathLst>
                <a:path w="3779" h="1646">
                  <a:moveTo>
                    <a:pt x="0" y="1246"/>
                  </a:moveTo>
                  <a:lnTo>
                    <a:pt x="0" y="1246"/>
                  </a:lnTo>
                  <a:lnTo>
                    <a:pt x="0" y="1646"/>
                  </a:lnTo>
                  <a:lnTo>
                    <a:pt x="3779" y="400"/>
                  </a:lnTo>
                  <a:lnTo>
                    <a:pt x="3779" y="0"/>
                  </a:lnTo>
                  <a:lnTo>
                    <a:pt x="0" y="124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20" name="Freeform 11"/>
            <p:cNvSpPr>
              <a:spLocks/>
            </p:cNvSpPr>
            <p:nvPr userDrawn="1"/>
          </p:nvSpPr>
          <p:spPr bwMode="gray">
            <a:xfrm>
              <a:off x="0" y="5662613"/>
              <a:ext cx="3609975" cy="1023938"/>
            </a:xfrm>
            <a:custGeom>
              <a:avLst/>
              <a:gdLst>
                <a:gd name="T0" fmla="*/ 0 w 3779"/>
                <a:gd name="T1" fmla="*/ 815 h 1074"/>
                <a:gd name="T2" fmla="*/ 0 w 3779"/>
                <a:gd name="T3" fmla="*/ 815 h 1074"/>
                <a:gd name="T4" fmla="*/ 0 w 3779"/>
                <a:gd name="T5" fmla="*/ 1074 h 1074"/>
                <a:gd name="T6" fmla="*/ 3779 w 3779"/>
                <a:gd name="T7" fmla="*/ 259 h 1074"/>
                <a:gd name="T8" fmla="*/ 3779 w 3779"/>
                <a:gd name="T9" fmla="*/ 0 h 1074"/>
                <a:gd name="T10" fmla="*/ 0 w 3779"/>
                <a:gd name="T11" fmla="*/ 815 h 1074"/>
              </a:gdLst>
              <a:ahLst/>
              <a:cxnLst>
                <a:cxn ang="0">
                  <a:pos x="T0" y="T1"/>
                </a:cxn>
                <a:cxn ang="0">
                  <a:pos x="T2" y="T3"/>
                </a:cxn>
                <a:cxn ang="0">
                  <a:pos x="T4" y="T5"/>
                </a:cxn>
                <a:cxn ang="0">
                  <a:pos x="T6" y="T7"/>
                </a:cxn>
                <a:cxn ang="0">
                  <a:pos x="T8" y="T9"/>
                </a:cxn>
                <a:cxn ang="0">
                  <a:pos x="T10" y="T11"/>
                </a:cxn>
              </a:cxnLst>
              <a:rect l="0" t="0" r="r" b="b"/>
              <a:pathLst>
                <a:path w="3779" h="1074">
                  <a:moveTo>
                    <a:pt x="0" y="815"/>
                  </a:moveTo>
                  <a:lnTo>
                    <a:pt x="0" y="815"/>
                  </a:lnTo>
                  <a:lnTo>
                    <a:pt x="0" y="1074"/>
                  </a:lnTo>
                  <a:lnTo>
                    <a:pt x="3779" y="259"/>
                  </a:lnTo>
                  <a:lnTo>
                    <a:pt x="3779" y="0"/>
                  </a:lnTo>
                  <a:lnTo>
                    <a:pt x="0" y="81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grpSp>
      <p:sp>
        <p:nvSpPr>
          <p:cNvPr id="23" name="Espace réservé de la date 18"/>
          <p:cNvSpPr>
            <a:spLocks noGrp="1"/>
          </p:cNvSpPr>
          <p:nvPr userDrawn="1">
            <p:ph type="dt" sz="half" idx="15"/>
          </p:nvPr>
        </p:nvSpPr>
        <p:spPr bwMode="gray">
          <a:xfrm>
            <a:off x="4669147" y="6524625"/>
            <a:ext cx="540000" cy="144464"/>
          </a:xfrm>
        </p:spPr>
        <p:txBody>
          <a:bodyPr/>
          <a:lstStyle/>
          <a:p>
            <a:fld id="{885E5834-F1A8-43C3-B0EE-E29AEB0CAA5A}" type="datetime1">
              <a:rPr lang="fr-FR" smtClean="0"/>
              <a:t>11/05/2023</a:t>
            </a:fld>
            <a:endParaRPr lang="fr-FR"/>
          </a:p>
        </p:txBody>
      </p:sp>
      <p:sp>
        <p:nvSpPr>
          <p:cNvPr id="24" name="Espace réservé du pied de page 19"/>
          <p:cNvSpPr>
            <a:spLocks noGrp="1"/>
          </p:cNvSpPr>
          <p:nvPr userDrawn="1">
            <p:ph type="ftr" sz="quarter" idx="16"/>
          </p:nvPr>
        </p:nvSpPr>
        <p:spPr bwMode="gray">
          <a:xfrm>
            <a:off x="3301195" y="6524625"/>
            <a:ext cx="3600000" cy="144463"/>
          </a:xfrm>
        </p:spPr>
        <p:txBody>
          <a:bodyPr/>
          <a:lstStyle/>
          <a:p>
            <a:r>
              <a:rPr lang="fr-FR"/>
              <a:t>GROUPE ADP -                      - DIFFUSION RESTREINTE</a:t>
            </a:r>
          </a:p>
        </p:txBody>
      </p:sp>
      <p:sp>
        <p:nvSpPr>
          <p:cNvPr id="25" name="Espace réservé du numéro de diapositive 20"/>
          <p:cNvSpPr>
            <a:spLocks noGrp="1"/>
          </p:cNvSpPr>
          <p:nvPr userDrawn="1">
            <p:ph type="sldNum" sz="quarter" idx="17"/>
          </p:nvPr>
        </p:nvSpPr>
        <p:spPr bwMode="gray">
          <a:xfrm>
            <a:off x="8028384" y="6524625"/>
            <a:ext cx="612379" cy="144464"/>
          </a:xfrm>
        </p:spPr>
        <p:txBody>
          <a:bodyPr/>
          <a:lstStyle/>
          <a:p>
            <a:r>
              <a:rPr lang="fr-FR"/>
              <a:t>PAGE </a:t>
            </a:r>
            <a:fld id="{8AF9711C-11F6-40F1-A9C4-511E8DA6BB32}" type="slidenum">
              <a:rPr lang="fr-FR" smtClean="0"/>
              <a:pPr/>
              <a:t>‹N°›</a:t>
            </a:fld>
            <a:endParaRPr lang="fr-FR"/>
          </a:p>
        </p:txBody>
      </p:sp>
    </p:spTree>
    <p:extLst>
      <p:ext uri="{BB962C8B-B14F-4D97-AF65-F5344CB8AC3E}">
        <p14:creationId xmlns:p14="http://schemas.microsoft.com/office/powerpoint/2010/main" val="18325481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hapitre_couleur_4">
    <p:spTree>
      <p:nvGrpSpPr>
        <p:cNvPr id="1" name=""/>
        <p:cNvGrpSpPr/>
        <p:nvPr/>
      </p:nvGrpSpPr>
      <p:grpSpPr>
        <a:xfrm>
          <a:off x="0" y="0"/>
          <a:ext cx="0" cy="0"/>
          <a:chOff x="0" y="0"/>
          <a:chExt cx="0" cy="0"/>
        </a:xfrm>
      </p:grpSpPr>
      <p:sp>
        <p:nvSpPr>
          <p:cNvPr id="5" name="Espace réservé du texte 4"/>
          <p:cNvSpPr>
            <a:spLocks noGrp="1"/>
          </p:cNvSpPr>
          <p:nvPr>
            <p:ph type="body" sz="quarter" idx="13" hasCustomPrompt="1"/>
          </p:nvPr>
        </p:nvSpPr>
        <p:spPr bwMode="gray">
          <a:xfrm>
            <a:off x="4103688" y="3428999"/>
            <a:ext cx="4537075" cy="1800000"/>
          </a:xfrm>
        </p:spPr>
        <p:txBody>
          <a:bodyPr/>
          <a:lstStyle>
            <a:lvl1pPr marL="0" indent="0" algn="ctr">
              <a:lnSpc>
                <a:spcPct val="100000"/>
              </a:lnSpc>
              <a:spcAft>
                <a:spcPts val="0"/>
              </a:spcAft>
              <a:buNone/>
              <a:defRPr sz="2450" cap="all" baseline="0"/>
            </a:lvl1pPr>
          </a:lstStyle>
          <a:p>
            <a:pPr lvl="0"/>
            <a:r>
              <a:rPr lang="fr-FR" noProof="0"/>
              <a:t>Titre du chapitre</a:t>
            </a:r>
          </a:p>
        </p:txBody>
      </p:sp>
      <p:sp>
        <p:nvSpPr>
          <p:cNvPr id="17" name="Organigramme : Décision 16"/>
          <p:cNvSpPr/>
          <p:nvPr userDrawn="1"/>
        </p:nvSpPr>
        <p:spPr bwMode="gray">
          <a:xfrm>
            <a:off x="5940225" y="1664804"/>
            <a:ext cx="864000" cy="864000"/>
          </a:xfrm>
          <a:prstGeom prst="flowChartDecisi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Titre 2"/>
          <p:cNvSpPr>
            <a:spLocks noGrp="1"/>
          </p:cNvSpPr>
          <p:nvPr>
            <p:ph type="title" hasCustomPrompt="1"/>
          </p:nvPr>
        </p:nvSpPr>
        <p:spPr bwMode="gray">
          <a:xfrm>
            <a:off x="5940225" y="1664804"/>
            <a:ext cx="864000" cy="864000"/>
          </a:xfrm>
        </p:spPr>
        <p:txBody>
          <a:bodyPr anchor="ctr" anchorCtr="0"/>
          <a:lstStyle>
            <a:lvl1pPr algn="ctr">
              <a:defRPr sz="1750">
                <a:solidFill>
                  <a:schemeClr val="bg1"/>
                </a:solidFill>
              </a:defRPr>
            </a:lvl1pPr>
          </a:lstStyle>
          <a:p>
            <a:r>
              <a:rPr lang="fr-FR" noProof="0"/>
              <a:t>00</a:t>
            </a:r>
            <a:endParaRPr lang="fr-FR"/>
          </a:p>
        </p:txBody>
      </p:sp>
      <p:sp>
        <p:nvSpPr>
          <p:cNvPr id="9" name="Freeform 5"/>
          <p:cNvSpPr>
            <a:spLocks/>
          </p:cNvSpPr>
          <p:nvPr userDrawn="1"/>
        </p:nvSpPr>
        <p:spPr bwMode="gray">
          <a:xfrm>
            <a:off x="0" y="0"/>
            <a:ext cx="3600000" cy="6858000"/>
          </a:xfrm>
          <a:custGeom>
            <a:avLst/>
            <a:gdLst>
              <a:gd name="T0" fmla="*/ 0 w 3779"/>
              <a:gd name="T1" fmla="*/ 7199 h 7199"/>
              <a:gd name="T2" fmla="*/ 0 w 3779"/>
              <a:gd name="T3" fmla="*/ 7199 h 7199"/>
              <a:gd name="T4" fmla="*/ 3779 w 3779"/>
              <a:gd name="T5" fmla="*/ 7199 h 7199"/>
              <a:gd name="T6" fmla="*/ 3779 w 3779"/>
              <a:gd name="T7" fmla="*/ 0 h 7199"/>
              <a:gd name="T8" fmla="*/ 0 w 3779"/>
              <a:gd name="T9" fmla="*/ 0 h 7199"/>
              <a:gd name="T10" fmla="*/ 0 w 3779"/>
              <a:gd name="T11" fmla="*/ 7199 h 7199"/>
            </a:gdLst>
            <a:ahLst/>
            <a:cxnLst>
              <a:cxn ang="0">
                <a:pos x="T0" y="T1"/>
              </a:cxn>
              <a:cxn ang="0">
                <a:pos x="T2" y="T3"/>
              </a:cxn>
              <a:cxn ang="0">
                <a:pos x="T4" y="T5"/>
              </a:cxn>
              <a:cxn ang="0">
                <a:pos x="T6" y="T7"/>
              </a:cxn>
              <a:cxn ang="0">
                <a:pos x="T8" y="T9"/>
              </a:cxn>
              <a:cxn ang="0">
                <a:pos x="T10" y="T11"/>
              </a:cxn>
            </a:cxnLst>
            <a:rect l="0" t="0" r="r" b="b"/>
            <a:pathLst>
              <a:path w="3779" h="7199">
                <a:moveTo>
                  <a:pt x="0" y="7199"/>
                </a:moveTo>
                <a:lnTo>
                  <a:pt x="0" y="7199"/>
                </a:lnTo>
                <a:lnTo>
                  <a:pt x="3779" y="7199"/>
                </a:lnTo>
                <a:lnTo>
                  <a:pt x="3779" y="0"/>
                </a:lnTo>
                <a:lnTo>
                  <a:pt x="0" y="0"/>
                </a:lnTo>
                <a:lnTo>
                  <a:pt x="0" y="7199"/>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grpSp>
        <p:nvGrpSpPr>
          <p:cNvPr id="21" name="Groupe 20"/>
          <p:cNvGrpSpPr/>
          <p:nvPr userDrawn="1"/>
        </p:nvGrpSpPr>
        <p:grpSpPr bwMode="gray">
          <a:xfrm>
            <a:off x="0" y="0"/>
            <a:ext cx="3600000" cy="6681788"/>
            <a:chOff x="0" y="4763"/>
            <a:chExt cx="3609975" cy="6681788"/>
          </a:xfrm>
          <a:solidFill>
            <a:schemeClr val="accent1"/>
          </a:solidFill>
        </p:grpSpPr>
        <p:sp>
          <p:nvSpPr>
            <p:cNvPr id="12" name="Freeform 6"/>
            <p:cNvSpPr>
              <a:spLocks/>
            </p:cNvSpPr>
            <p:nvPr userDrawn="1"/>
          </p:nvSpPr>
          <p:spPr bwMode="gray">
            <a:xfrm>
              <a:off x="0" y="4763"/>
              <a:ext cx="2997200" cy="2725738"/>
            </a:xfrm>
            <a:custGeom>
              <a:avLst/>
              <a:gdLst>
                <a:gd name="T0" fmla="*/ 2233 w 3137"/>
                <a:gd name="T1" fmla="*/ 0 h 2858"/>
                <a:gd name="T2" fmla="*/ 2233 w 3137"/>
                <a:gd name="T3" fmla="*/ 0 h 2858"/>
                <a:gd name="T4" fmla="*/ 0 w 3137"/>
                <a:gd name="T5" fmla="*/ 2036 h 2858"/>
                <a:gd name="T6" fmla="*/ 0 w 3137"/>
                <a:gd name="T7" fmla="*/ 2858 h 2858"/>
                <a:gd name="T8" fmla="*/ 3137 w 3137"/>
                <a:gd name="T9" fmla="*/ 0 h 2858"/>
                <a:gd name="T10" fmla="*/ 2233 w 3137"/>
                <a:gd name="T11" fmla="*/ 0 h 2858"/>
              </a:gdLst>
              <a:ahLst/>
              <a:cxnLst>
                <a:cxn ang="0">
                  <a:pos x="T0" y="T1"/>
                </a:cxn>
                <a:cxn ang="0">
                  <a:pos x="T2" y="T3"/>
                </a:cxn>
                <a:cxn ang="0">
                  <a:pos x="T4" y="T5"/>
                </a:cxn>
                <a:cxn ang="0">
                  <a:pos x="T6" y="T7"/>
                </a:cxn>
                <a:cxn ang="0">
                  <a:pos x="T8" y="T9"/>
                </a:cxn>
                <a:cxn ang="0">
                  <a:pos x="T10" y="T11"/>
                </a:cxn>
              </a:cxnLst>
              <a:rect l="0" t="0" r="r" b="b"/>
              <a:pathLst>
                <a:path w="3137" h="2858">
                  <a:moveTo>
                    <a:pt x="2233" y="0"/>
                  </a:moveTo>
                  <a:lnTo>
                    <a:pt x="2233" y="0"/>
                  </a:lnTo>
                  <a:lnTo>
                    <a:pt x="0" y="2036"/>
                  </a:lnTo>
                  <a:lnTo>
                    <a:pt x="0" y="2858"/>
                  </a:lnTo>
                  <a:lnTo>
                    <a:pt x="3137" y="0"/>
                  </a:lnTo>
                  <a:lnTo>
                    <a:pt x="22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3" name="Freeform 7"/>
            <p:cNvSpPr>
              <a:spLocks/>
            </p:cNvSpPr>
            <p:nvPr userDrawn="1"/>
          </p:nvSpPr>
          <p:spPr bwMode="gray">
            <a:xfrm>
              <a:off x="0" y="504826"/>
              <a:ext cx="3609975" cy="3275013"/>
            </a:xfrm>
            <a:custGeom>
              <a:avLst/>
              <a:gdLst>
                <a:gd name="T0" fmla="*/ 0 w 3779"/>
                <a:gd name="T1" fmla="*/ 2772 h 3432"/>
                <a:gd name="T2" fmla="*/ 0 w 3779"/>
                <a:gd name="T3" fmla="*/ 2772 h 3432"/>
                <a:gd name="T4" fmla="*/ 0 w 3779"/>
                <a:gd name="T5" fmla="*/ 3432 h 3432"/>
                <a:gd name="T6" fmla="*/ 3779 w 3779"/>
                <a:gd name="T7" fmla="*/ 659 h 3432"/>
                <a:gd name="T8" fmla="*/ 3779 w 3779"/>
                <a:gd name="T9" fmla="*/ 0 h 3432"/>
                <a:gd name="T10" fmla="*/ 0 w 3779"/>
                <a:gd name="T11" fmla="*/ 2772 h 3432"/>
              </a:gdLst>
              <a:ahLst/>
              <a:cxnLst>
                <a:cxn ang="0">
                  <a:pos x="T0" y="T1"/>
                </a:cxn>
                <a:cxn ang="0">
                  <a:pos x="T2" y="T3"/>
                </a:cxn>
                <a:cxn ang="0">
                  <a:pos x="T4" y="T5"/>
                </a:cxn>
                <a:cxn ang="0">
                  <a:pos x="T6" y="T7"/>
                </a:cxn>
                <a:cxn ang="0">
                  <a:pos x="T8" y="T9"/>
                </a:cxn>
                <a:cxn ang="0">
                  <a:pos x="T10" y="T11"/>
                </a:cxn>
              </a:cxnLst>
              <a:rect l="0" t="0" r="r" b="b"/>
              <a:pathLst>
                <a:path w="3779" h="3432">
                  <a:moveTo>
                    <a:pt x="0" y="2772"/>
                  </a:moveTo>
                  <a:lnTo>
                    <a:pt x="0" y="2772"/>
                  </a:lnTo>
                  <a:lnTo>
                    <a:pt x="0" y="3432"/>
                  </a:lnTo>
                  <a:lnTo>
                    <a:pt x="3779" y="659"/>
                  </a:lnTo>
                  <a:lnTo>
                    <a:pt x="3779" y="0"/>
                  </a:lnTo>
                  <a:lnTo>
                    <a:pt x="0" y="277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6" name="Freeform 8"/>
            <p:cNvSpPr>
              <a:spLocks/>
            </p:cNvSpPr>
            <p:nvPr userDrawn="1"/>
          </p:nvSpPr>
          <p:spPr bwMode="gray">
            <a:xfrm>
              <a:off x="0" y="1989138"/>
              <a:ext cx="3609975" cy="2590800"/>
            </a:xfrm>
            <a:custGeom>
              <a:avLst/>
              <a:gdLst>
                <a:gd name="T0" fmla="*/ 0 w 3779"/>
                <a:gd name="T1" fmla="*/ 2189 h 2716"/>
                <a:gd name="T2" fmla="*/ 0 w 3779"/>
                <a:gd name="T3" fmla="*/ 2189 h 2716"/>
                <a:gd name="T4" fmla="*/ 0 w 3779"/>
                <a:gd name="T5" fmla="*/ 2716 h 2716"/>
                <a:gd name="T6" fmla="*/ 3779 w 3779"/>
                <a:gd name="T7" fmla="*/ 527 h 2716"/>
                <a:gd name="T8" fmla="*/ 3779 w 3779"/>
                <a:gd name="T9" fmla="*/ 0 h 2716"/>
                <a:gd name="T10" fmla="*/ 0 w 3779"/>
                <a:gd name="T11" fmla="*/ 2189 h 2716"/>
              </a:gdLst>
              <a:ahLst/>
              <a:cxnLst>
                <a:cxn ang="0">
                  <a:pos x="T0" y="T1"/>
                </a:cxn>
                <a:cxn ang="0">
                  <a:pos x="T2" y="T3"/>
                </a:cxn>
                <a:cxn ang="0">
                  <a:pos x="T4" y="T5"/>
                </a:cxn>
                <a:cxn ang="0">
                  <a:pos x="T6" y="T7"/>
                </a:cxn>
                <a:cxn ang="0">
                  <a:pos x="T8" y="T9"/>
                </a:cxn>
                <a:cxn ang="0">
                  <a:pos x="T10" y="T11"/>
                </a:cxn>
              </a:cxnLst>
              <a:rect l="0" t="0" r="r" b="b"/>
              <a:pathLst>
                <a:path w="3779" h="2716">
                  <a:moveTo>
                    <a:pt x="0" y="2189"/>
                  </a:moveTo>
                  <a:lnTo>
                    <a:pt x="0" y="2189"/>
                  </a:lnTo>
                  <a:lnTo>
                    <a:pt x="0" y="2716"/>
                  </a:lnTo>
                  <a:lnTo>
                    <a:pt x="3779" y="527"/>
                  </a:lnTo>
                  <a:lnTo>
                    <a:pt x="3779" y="0"/>
                  </a:lnTo>
                  <a:lnTo>
                    <a:pt x="0" y="218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8" name="Freeform 9"/>
            <p:cNvSpPr>
              <a:spLocks/>
            </p:cNvSpPr>
            <p:nvPr userDrawn="1"/>
          </p:nvSpPr>
          <p:spPr bwMode="gray">
            <a:xfrm>
              <a:off x="0" y="3278188"/>
              <a:ext cx="3609975" cy="2022475"/>
            </a:xfrm>
            <a:custGeom>
              <a:avLst/>
              <a:gdLst>
                <a:gd name="T0" fmla="*/ 0 w 3779"/>
                <a:gd name="T1" fmla="*/ 1704 h 2121"/>
                <a:gd name="T2" fmla="*/ 0 w 3779"/>
                <a:gd name="T3" fmla="*/ 1704 h 2121"/>
                <a:gd name="T4" fmla="*/ 0 w 3779"/>
                <a:gd name="T5" fmla="*/ 2121 h 2121"/>
                <a:gd name="T6" fmla="*/ 3779 w 3779"/>
                <a:gd name="T7" fmla="*/ 417 h 2121"/>
                <a:gd name="T8" fmla="*/ 3779 w 3779"/>
                <a:gd name="T9" fmla="*/ 0 h 2121"/>
                <a:gd name="T10" fmla="*/ 0 w 3779"/>
                <a:gd name="T11" fmla="*/ 1704 h 2121"/>
              </a:gdLst>
              <a:ahLst/>
              <a:cxnLst>
                <a:cxn ang="0">
                  <a:pos x="T0" y="T1"/>
                </a:cxn>
                <a:cxn ang="0">
                  <a:pos x="T2" y="T3"/>
                </a:cxn>
                <a:cxn ang="0">
                  <a:pos x="T4" y="T5"/>
                </a:cxn>
                <a:cxn ang="0">
                  <a:pos x="T6" y="T7"/>
                </a:cxn>
                <a:cxn ang="0">
                  <a:pos x="T8" y="T9"/>
                </a:cxn>
                <a:cxn ang="0">
                  <a:pos x="T10" y="T11"/>
                </a:cxn>
              </a:cxnLst>
              <a:rect l="0" t="0" r="r" b="b"/>
              <a:pathLst>
                <a:path w="3779" h="2121">
                  <a:moveTo>
                    <a:pt x="0" y="1704"/>
                  </a:moveTo>
                  <a:lnTo>
                    <a:pt x="0" y="1704"/>
                  </a:lnTo>
                  <a:lnTo>
                    <a:pt x="0" y="2121"/>
                  </a:lnTo>
                  <a:lnTo>
                    <a:pt x="3779" y="417"/>
                  </a:lnTo>
                  <a:lnTo>
                    <a:pt x="3779" y="0"/>
                  </a:lnTo>
                  <a:lnTo>
                    <a:pt x="0" y="170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9" name="Freeform 10"/>
            <p:cNvSpPr>
              <a:spLocks/>
            </p:cNvSpPr>
            <p:nvPr userDrawn="1"/>
          </p:nvSpPr>
          <p:spPr bwMode="gray">
            <a:xfrm>
              <a:off x="0" y="4479926"/>
              <a:ext cx="3609975" cy="1570038"/>
            </a:xfrm>
            <a:custGeom>
              <a:avLst/>
              <a:gdLst>
                <a:gd name="T0" fmla="*/ 0 w 3779"/>
                <a:gd name="T1" fmla="*/ 1246 h 1646"/>
                <a:gd name="T2" fmla="*/ 0 w 3779"/>
                <a:gd name="T3" fmla="*/ 1246 h 1646"/>
                <a:gd name="T4" fmla="*/ 0 w 3779"/>
                <a:gd name="T5" fmla="*/ 1646 h 1646"/>
                <a:gd name="T6" fmla="*/ 3779 w 3779"/>
                <a:gd name="T7" fmla="*/ 400 h 1646"/>
                <a:gd name="T8" fmla="*/ 3779 w 3779"/>
                <a:gd name="T9" fmla="*/ 0 h 1646"/>
                <a:gd name="T10" fmla="*/ 0 w 3779"/>
                <a:gd name="T11" fmla="*/ 1246 h 1646"/>
              </a:gdLst>
              <a:ahLst/>
              <a:cxnLst>
                <a:cxn ang="0">
                  <a:pos x="T0" y="T1"/>
                </a:cxn>
                <a:cxn ang="0">
                  <a:pos x="T2" y="T3"/>
                </a:cxn>
                <a:cxn ang="0">
                  <a:pos x="T4" y="T5"/>
                </a:cxn>
                <a:cxn ang="0">
                  <a:pos x="T6" y="T7"/>
                </a:cxn>
                <a:cxn ang="0">
                  <a:pos x="T8" y="T9"/>
                </a:cxn>
                <a:cxn ang="0">
                  <a:pos x="T10" y="T11"/>
                </a:cxn>
              </a:cxnLst>
              <a:rect l="0" t="0" r="r" b="b"/>
              <a:pathLst>
                <a:path w="3779" h="1646">
                  <a:moveTo>
                    <a:pt x="0" y="1246"/>
                  </a:moveTo>
                  <a:lnTo>
                    <a:pt x="0" y="1246"/>
                  </a:lnTo>
                  <a:lnTo>
                    <a:pt x="0" y="1646"/>
                  </a:lnTo>
                  <a:lnTo>
                    <a:pt x="3779" y="400"/>
                  </a:lnTo>
                  <a:lnTo>
                    <a:pt x="3779" y="0"/>
                  </a:lnTo>
                  <a:lnTo>
                    <a:pt x="0" y="124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20" name="Freeform 11"/>
            <p:cNvSpPr>
              <a:spLocks/>
            </p:cNvSpPr>
            <p:nvPr userDrawn="1"/>
          </p:nvSpPr>
          <p:spPr bwMode="gray">
            <a:xfrm>
              <a:off x="0" y="5662613"/>
              <a:ext cx="3609975" cy="1023938"/>
            </a:xfrm>
            <a:custGeom>
              <a:avLst/>
              <a:gdLst>
                <a:gd name="T0" fmla="*/ 0 w 3779"/>
                <a:gd name="T1" fmla="*/ 815 h 1074"/>
                <a:gd name="T2" fmla="*/ 0 w 3779"/>
                <a:gd name="T3" fmla="*/ 815 h 1074"/>
                <a:gd name="T4" fmla="*/ 0 w 3779"/>
                <a:gd name="T5" fmla="*/ 1074 h 1074"/>
                <a:gd name="T6" fmla="*/ 3779 w 3779"/>
                <a:gd name="T7" fmla="*/ 259 h 1074"/>
                <a:gd name="T8" fmla="*/ 3779 w 3779"/>
                <a:gd name="T9" fmla="*/ 0 h 1074"/>
                <a:gd name="T10" fmla="*/ 0 w 3779"/>
                <a:gd name="T11" fmla="*/ 815 h 1074"/>
              </a:gdLst>
              <a:ahLst/>
              <a:cxnLst>
                <a:cxn ang="0">
                  <a:pos x="T0" y="T1"/>
                </a:cxn>
                <a:cxn ang="0">
                  <a:pos x="T2" y="T3"/>
                </a:cxn>
                <a:cxn ang="0">
                  <a:pos x="T4" y="T5"/>
                </a:cxn>
                <a:cxn ang="0">
                  <a:pos x="T6" y="T7"/>
                </a:cxn>
                <a:cxn ang="0">
                  <a:pos x="T8" y="T9"/>
                </a:cxn>
                <a:cxn ang="0">
                  <a:pos x="T10" y="T11"/>
                </a:cxn>
              </a:cxnLst>
              <a:rect l="0" t="0" r="r" b="b"/>
              <a:pathLst>
                <a:path w="3779" h="1074">
                  <a:moveTo>
                    <a:pt x="0" y="815"/>
                  </a:moveTo>
                  <a:lnTo>
                    <a:pt x="0" y="815"/>
                  </a:lnTo>
                  <a:lnTo>
                    <a:pt x="0" y="1074"/>
                  </a:lnTo>
                  <a:lnTo>
                    <a:pt x="3779" y="259"/>
                  </a:lnTo>
                  <a:lnTo>
                    <a:pt x="3779" y="0"/>
                  </a:lnTo>
                  <a:lnTo>
                    <a:pt x="0" y="81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grpSp>
      <p:sp>
        <p:nvSpPr>
          <p:cNvPr id="23" name="Espace réservé de la date 18"/>
          <p:cNvSpPr>
            <a:spLocks noGrp="1"/>
          </p:cNvSpPr>
          <p:nvPr userDrawn="1">
            <p:ph type="dt" sz="half" idx="15"/>
          </p:nvPr>
        </p:nvSpPr>
        <p:spPr bwMode="gray">
          <a:xfrm>
            <a:off x="4669147" y="6524625"/>
            <a:ext cx="540000" cy="144464"/>
          </a:xfrm>
        </p:spPr>
        <p:txBody>
          <a:bodyPr/>
          <a:lstStyle/>
          <a:p>
            <a:fld id="{A16D2F2B-AA42-4EF6-853F-472774101D80}" type="datetime1">
              <a:rPr lang="fr-FR" smtClean="0"/>
              <a:t>11/05/2023</a:t>
            </a:fld>
            <a:endParaRPr lang="fr-FR"/>
          </a:p>
        </p:txBody>
      </p:sp>
      <p:sp>
        <p:nvSpPr>
          <p:cNvPr id="24" name="Espace réservé du pied de page 19"/>
          <p:cNvSpPr>
            <a:spLocks noGrp="1"/>
          </p:cNvSpPr>
          <p:nvPr userDrawn="1">
            <p:ph type="ftr" sz="quarter" idx="16"/>
          </p:nvPr>
        </p:nvSpPr>
        <p:spPr bwMode="gray">
          <a:xfrm>
            <a:off x="3301195" y="6524625"/>
            <a:ext cx="3600000" cy="144463"/>
          </a:xfrm>
        </p:spPr>
        <p:txBody>
          <a:bodyPr/>
          <a:lstStyle/>
          <a:p>
            <a:r>
              <a:rPr lang="fr-FR"/>
              <a:t>GROUPE ADP -                      - DIFFUSION RESTREINTE</a:t>
            </a:r>
          </a:p>
        </p:txBody>
      </p:sp>
      <p:sp>
        <p:nvSpPr>
          <p:cNvPr id="25" name="Espace réservé du numéro de diapositive 20"/>
          <p:cNvSpPr>
            <a:spLocks noGrp="1"/>
          </p:cNvSpPr>
          <p:nvPr userDrawn="1">
            <p:ph type="sldNum" sz="quarter" idx="17"/>
          </p:nvPr>
        </p:nvSpPr>
        <p:spPr bwMode="gray">
          <a:xfrm>
            <a:off x="8028384" y="6524625"/>
            <a:ext cx="612379" cy="144464"/>
          </a:xfrm>
        </p:spPr>
        <p:txBody>
          <a:bodyPr/>
          <a:lstStyle/>
          <a:p>
            <a:r>
              <a:rPr lang="fr-FR"/>
              <a:t>PAGE </a:t>
            </a:r>
            <a:fld id="{8AF9711C-11F6-40F1-A9C4-511E8DA6BB32}" type="slidenum">
              <a:rPr lang="fr-FR" smtClean="0"/>
              <a:pPr/>
              <a:t>‹N°›</a:t>
            </a:fld>
            <a:endParaRPr lang="fr-FR"/>
          </a:p>
        </p:txBody>
      </p:sp>
    </p:spTree>
    <p:extLst>
      <p:ext uri="{BB962C8B-B14F-4D97-AF65-F5344CB8AC3E}">
        <p14:creationId xmlns:p14="http://schemas.microsoft.com/office/powerpoint/2010/main" val="18325481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et 2 contenus">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503239" y="1449389"/>
            <a:ext cx="3960000" cy="5003799"/>
          </a:xfrm>
        </p:spPr>
        <p:txBody>
          <a:bodyPr/>
          <a:lstStyle>
            <a:lvl2pPr>
              <a:defRPr/>
            </a:lvl2pPr>
            <a:lvl3pPr>
              <a:defRPr/>
            </a:lvl3pPr>
            <a:lvl4pPr>
              <a:defRPr baseline="0"/>
            </a:lvl4pPr>
            <a:lvl5pPr>
              <a:defRPr/>
            </a:lvl5pPr>
          </a:lstStyle>
          <a:p>
            <a:pPr lvl="0"/>
            <a:r>
              <a:rPr lang="fr-FR" noProof="0"/>
              <a:t>Texte de niveau 1</a:t>
            </a:r>
          </a:p>
          <a:p>
            <a:pPr lvl="1"/>
            <a:r>
              <a:rPr lang="fr-FR" noProof="0"/>
              <a:t>Texte de niveau 2</a:t>
            </a:r>
          </a:p>
          <a:p>
            <a:pPr lvl="2"/>
            <a:r>
              <a:rPr lang="fr-FR" noProof="0"/>
              <a:t>Texte de niveau 3</a:t>
            </a:r>
          </a:p>
          <a:p>
            <a:pPr lvl="3"/>
            <a:r>
              <a:rPr lang="fr-FR" noProof="0"/>
              <a:t>Texte de niveau 4</a:t>
            </a:r>
          </a:p>
          <a:p>
            <a:pPr lvl="4"/>
            <a:r>
              <a:rPr lang="fr-FR" noProof="0"/>
              <a:t>Texte de niveau 5</a:t>
            </a:r>
          </a:p>
        </p:txBody>
      </p:sp>
      <p:sp>
        <p:nvSpPr>
          <p:cNvPr id="4" name="Espace réservé de la date 3"/>
          <p:cNvSpPr>
            <a:spLocks noGrp="1"/>
          </p:cNvSpPr>
          <p:nvPr>
            <p:ph type="dt" sz="half" idx="10"/>
          </p:nvPr>
        </p:nvSpPr>
        <p:spPr bwMode="gray"/>
        <p:txBody>
          <a:bodyPr/>
          <a:lstStyle/>
          <a:p>
            <a:fld id="{D132218F-7D49-49BB-B587-432BFC8F0226}" type="datetime1">
              <a:rPr lang="fr-FR" smtClean="0"/>
              <a:t>11/05/2023</a:t>
            </a:fld>
            <a:endParaRPr lang="fr-FR"/>
          </a:p>
        </p:txBody>
      </p:sp>
      <p:sp>
        <p:nvSpPr>
          <p:cNvPr id="5" name="Espace réservé du pied de page 4"/>
          <p:cNvSpPr>
            <a:spLocks noGrp="1"/>
          </p:cNvSpPr>
          <p:nvPr>
            <p:ph type="ftr" sz="quarter" idx="11"/>
          </p:nvPr>
        </p:nvSpPr>
        <p:spPr bwMode="gray"/>
        <p:txBody>
          <a:bodyPr/>
          <a:lstStyle/>
          <a:p>
            <a:r>
              <a:rPr lang="fr-FR"/>
              <a:t>GROUPE ADP -                      - DIFFUSION RESTREINTE</a:t>
            </a:r>
          </a:p>
        </p:txBody>
      </p:sp>
      <p:sp>
        <p:nvSpPr>
          <p:cNvPr id="6" name="Espace réservé du numéro de diapositive 5"/>
          <p:cNvSpPr>
            <a:spLocks noGrp="1"/>
          </p:cNvSpPr>
          <p:nvPr>
            <p:ph type="sldNum" sz="quarter" idx="12"/>
          </p:nvPr>
        </p:nvSpPr>
        <p:spPr bwMode="gray"/>
        <p:txBody>
          <a:bodyPr/>
          <a:lstStyle/>
          <a:p>
            <a:r>
              <a:rPr lang="fr-FR"/>
              <a:t>PAGE </a:t>
            </a:r>
            <a:fld id="{8AF9711C-11F6-40F1-A9C4-511E8DA6BB32}" type="slidenum">
              <a:rPr lang="fr-FR" smtClean="0"/>
              <a:pPr/>
              <a:t>‹N°›</a:t>
            </a:fld>
            <a:endParaRPr lang="fr-FR"/>
          </a:p>
        </p:txBody>
      </p:sp>
      <p:sp>
        <p:nvSpPr>
          <p:cNvPr id="7" name="Titre 6"/>
          <p:cNvSpPr>
            <a:spLocks noGrp="1"/>
          </p:cNvSpPr>
          <p:nvPr>
            <p:ph type="title" hasCustomPrompt="1"/>
          </p:nvPr>
        </p:nvSpPr>
        <p:spPr bwMode="gray"/>
        <p:txBody>
          <a:bodyPr/>
          <a:lstStyle/>
          <a:p>
            <a:r>
              <a:rPr lang="fr-FR"/>
              <a:t>Titre</a:t>
            </a:r>
          </a:p>
        </p:txBody>
      </p:sp>
      <p:sp>
        <p:nvSpPr>
          <p:cNvPr id="8" name="Espace réservé du contenu 2"/>
          <p:cNvSpPr>
            <a:spLocks noGrp="1"/>
          </p:cNvSpPr>
          <p:nvPr>
            <p:ph idx="13" hasCustomPrompt="1"/>
          </p:nvPr>
        </p:nvSpPr>
        <p:spPr bwMode="gray">
          <a:xfrm>
            <a:off x="4680763" y="1449389"/>
            <a:ext cx="3960000" cy="5003799"/>
          </a:xfrm>
        </p:spPr>
        <p:txBody>
          <a:bodyPr/>
          <a:lstStyle>
            <a:lvl2pPr>
              <a:defRPr/>
            </a:lvl2pPr>
            <a:lvl3pPr>
              <a:defRPr/>
            </a:lvl3pPr>
            <a:lvl4pPr>
              <a:defRPr baseline="0"/>
            </a:lvl4pPr>
            <a:lvl5pPr>
              <a:defRPr/>
            </a:lvl5pPr>
          </a:lstStyle>
          <a:p>
            <a:pPr lvl="0"/>
            <a:r>
              <a:rPr lang="fr-FR" noProof="0"/>
              <a:t>Texte de niveau 1</a:t>
            </a:r>
          </a:p>
          <a:p>
            <a:pPr lvl="1"/>
            <a:r>
              <a:rPr lang="fr-FR" noProof="0"/>
              <a:t>Texte de niveau 2</a:t>
            </a:r>
          </a:p>
          <a:p>
            <a:pPr lvl="2"/>
            <a:r>
              <a:rPr lang="fr-FR" noProof="0"/>
              <a:t>Texte de niveau 3</a:t>
            </a:r>
          </a:p>
          <a:p>
            <a:pPr lvl="3"/>
            <a:r>
              <a:rPr lang="fr-FR" noProof="0"/>
              <a:t>Texte de niveau 4</a:t>
            </a:r>
          </a:p>
          <a:p>
            <a:pPr lvl="4"/>
            <a:r>
              <a:rPr lang="fr-FR" noProof="0"/>
              <a:t>Texte de niveau 5</a:t>
            </a:r>
          </a:p>
        </p:txBody>
      </p:sp>
    </p:spTree>
    <p:extLst>
      <p:ext uri="{BB962C8B-B14F-4D97-AF65-F5344CB8AC3E}">
        <p14:creationId xmlns:p14="http://schemas.microsoft.com/office/powerpoint/2010/main" val="21160534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re et contenu - v2">
    <p:spTree>
      <p:nvGrpSpPr>
        <p:cNvPr id="1" name=""/>
        <p:cNvGrpSpPr/>
        <p:nvPr/>
      </p:nvGrpSpPr>
      <p:grpSpPr>
        <a:xfrm>
          <a:off x="0" y="0"/>
          <a:ext cx="0" cy="0"/>
          <a:chOff x="0" y="0"/>
          <a:chExt cx="0" cy="0"/>
        </a:xfrm>
      </p:grpSpPr>
      <p:sp>
        <p:nvSpPr>
          <p:cNvPr id="2" name="Rectangle 1"/>
          <p:cNvSpPr/>
          <p:nvPr userDrawn="1"/>
        </p:nvSpPr>
        <p:spPr bwMode="gray">
          <a:xfrm>
            <a:off x="0" y="0"/>
            <a:ext cx="914241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8" name="Groupe 7"/>
          <p:cNvGrpSpPr/>
          <p:nvPr userDrawn="1"/>
        </p:nvGrpSpPr>
        <p:grpSpPr bwMode="gray">
          <a:xfrm>
            <a:off x="0" y="0"/>
            <a:ext cx="9144000" cy="6858001"/>
            <a:chOff x="0" y="0"/>
            <a:chExt cx="9155113" cy="6858001"/>
          </a:xfrm>
          <a:solidFill>
            <a:schemeClr val="accent3"/>
          </a:solidFill>
        </p:grpSpPr>
        <p:sp>
          <p:nvSpPr>
            <p:cNvPr id="9" name="Freeform 5"/>
            <p:cNvSpPr>
              <a:spLocks/>
            </p:cNvSpPr>
            <p:nvPr/>
          </p:nvSpPr>
          <p:spPr bwMode="gray">
            <a:xfrm>
              <a:off x="0" y="0"/>
              <a:ext cx="3262313" cy="2847975"/>
            </a:xfrm>
            <a:custGeom>
              <a:avLst/>
              <a:gdLst>
                <a:gd name="T0" fmla="*/ 2167 w 3421"/>
                <a:gd name="T1" fmla="*/ 0 h 2985"/>
                <a:gd name="T2" fmla="*/ 2167 w 3421"/>
                <a:gd name="T3" fmla="*/ 0 h 2985"/>
                <a:gd name="T4" fmla="*/ 0 w 3421"/>
                <a:gd name="T5" fmla="*/ 1891 h 2985"/>
                <a:gd name="T6" fmla="*/ 0 w 3421"/>
                <a:gd name="T7" fmla="*/ 2985 h 2985"/>
                <a:gd name="T8" fmla="*/ 3421 w 3421"/>
                <a:gd name="T9" fmla="*/ 0 h 2985"/>
                <a:gd name="T10" fmla="*/ 2167 w 3421"/>
                <a:gd name="T11" fmla="*/ 0 h 2985"/>
              </a:gdLst>
              <a:ahLst/>
              <a:cxnLst>
                <a:cxn ang="0">
                  <a:pos x="T0" y="T1"/>
                </a:cxn>
                <a:cxn ang="0">
                  <a:pos x="T2" y="T3"/>
                </a:cxn>
                <a:cxn ang="0">
                  <a:pos x="T4" y="T5"/>
                </a:cxn>
                <a:cxn ang="0">
                  <a:pos x="T6" y="T7"/>
                </a:cxn>
                <a:cxn ang="0">
                  <a:pos x="T8" y="T9"/>
                </a:cxn>
                <a:cxn ang="0">
                  <a:pos x="T10" y="T11"/>
                </a:cxn>
              </a:cxnLst>
              <a:rect l="0" t="0" r="r" b="b"/>
              <a:pathLst>
                <a:path w="3421" h="2985">
                  <a:moveTo>
                    <a:pt x="2167" y="0"/>
                  </a:moveTo>
                  <a:lnTo>
                    <a:pt x="2167" y="0"/>
                  </a:lnTo>
                  <a:lnTo>
                    <a:pt x="0" y="1891"/>
                  </a:lnTo>
                  <a:lnTo>
                    <a:pt x="0" y="2985"/>
                  </a:lnTo>
                  <a:lnTo>
                    <a:pt x="3421" y="0"/>
                  </a:lnTo>
                  <a:lnTo>
                    <a:pt x="21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0" name="Freeform 6"/>
            <p:cNvSpPr>
              <a:spLocks/>
            </p:cNvSpPr>
            <p:nvPr/>
          </p:nvSpPr>
          <p:spPr bwMode="gray">
            <a:xfrm>
              <a:off x="0" y="0"/>
              <a:ext cx="6027738" cy="4248150"/>
            </a:xfrm>
            <a:custGeom>
              <a:avLst/>
              <a:gdLst>
                <a:gd name="T0" fmla="*/ 5069 w 6321"/>
                <a:gd name="T1" fmla="*/ 0 h 4454"/>
                <a:gd name="T2" fmla="*/ 5069 w 6321"/>
                <a:gd name="T3" fmla="*/ 0 h 4454"/>
                <a:gd name="T4" fmla="*/ 0 w 6321"/>
                <a:gd name="T5" fmla="*/ 3572 h 4454"/>
                <a:gd name="T6" fmla="*/ 0 w 6321"/>
                <a:gd name="T7" fmla="*/ 4454 h 4454"/>
                <a:gd name="T8" fmla="*/ 6321 w 6321"/>
                <a:gd name="T9" fmla="*/ 0 h 4454"/>
                <a:gd name="T10" fmla="*/ 5069 w 6321"/>
                <a:gd name="T11" fmla="*/ 0 h 4454"/>
              </a:gdLst>
              <a:ahLst/>
              <a:cxnLst>
                <a:cxn ang="0">
                  <a:pos x="T0" y="T1"/>
                </a:cxn>
                <a:cxn ang="0">
                  <a:pos x="T2" y="T3"/>
                </a:cxn>
                <a:cxn ang="0">
                  <a:pos x="T4" y="T5"/>
                </a:cxn>
                <a:cxn ang="0">
                  <a:pos x="T6" y="T7"/>
                </a:cxn>
                <a:cxn ang="0">
                  <a:pos x="T8" y="T9"/>
                </a:cxn>
                <a:cxn ang="0">
                  <a:pos x="T10" y="T11"/>
                </a:cxn>
              </a:cxnLst>
              <a:rect l="0" t="0" r="r" b="b"/>
              <a:pathLst>
                <a:path w="6321" h="4454">
                  <a:moveTo>
                    <a:pt x="5069" y="0"/>
                  </a:moveTo>
                  <a:lnTo>
                    <a:pt x="5069" y="0"/>
                  </a:lnTo>
                  <a:lnTo>
                    <a:pt x="0" y="3572"/>
                  </a:lnTo>
                  <a:lnTo>
                    <a:pt x="0" y="4454"/>
                  </a:lnTo>
                  <a:lnTo>
                    <a:pt x="6321" y="0"/>
                  </a:lnTo>
                  <a:lnTo>
                    <a:pt x="506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1" name="Freeform 7"/>
            <p:cNvSpPr>
              <a:spLocks/>
            </p:cNvSpPr>
            <p:nvPr/>
          </p:nvSpPr>
          <p:spPr bwMode="gray">
            <a:xfrm>
              <a:off x="0" y="0"/>
              <a:ext cx="9153525" cy="5319713"/>
            </a:xfrm>
            <a:custGeom>
              <a:avLst/>
              <a:gdLst>
                <a:gd name="T0" fmla="*/ 8751 w 9599"/>
                <a:gd name="T1" fmla="*/ 0 h 5577"/>
                <a:gd name="T2" fmla="*/ 8751 w 9599"/>
                <a:gd name="T3" fmla="*/ 0 h 5577"/>
                <a:gd name="T4" fmla="*/ 0 w 9599"/>
                <a:gd name="T5" fmla="*/ 4869 h 5577"/>
                <a:gd name="T6" fmla="*/ 0 w 9599"/>
                <a:gd name="T7" fmla="*/ 5577 h 5577"/>
                <a:gd name="T8" fmla="*/ 9599 w 9599"/>
                <a:gd name="T9" fmla="*/ 234 h 5577"/>
                <a:gd name="T10" fmla="*/ 9599 w 9599"/>
                <a:gd name="T11" fmla="*/ 0 h 5577"/>
                <a:gd name="T12" fmla="*/ 8751 w 9599"/>
                <a:gd name="T13" fmla="*/ 0 h 5577"/>
              </a:gdLst>
              <a:ahLst/>
              <a:cxnLst>
                <a:cxn ang="0">
                  <a:pos x="T0" y="T1"/>
                </a:cxn>
                <a:cxn ang="0">
                  <a:pos x="T2" y="T3"/>
                </a:cxn>
                <a:cxn ang="0">
                  <a:pos x="T4" y="T5"/>
                </a:cxn>
                <a:cxn ang="0">
                  <a:pos x="T6" y="T7"/>
                </a:cxn>
                <a:cxn ang="0">
                  <a:pos x="T8" y="T9"/>
                </a:cxn>
                <a:cxn ang="0">
                  <a:pos x="T10" y="T11"/>
                </a:cxn>
                <a:cxn ang="0">
                  <a:pos x="T12" y="T13"/>
                </a:cxn>
              </a:cxnLst>
              <a:rect l="0" t="0" r="r" b="b"/>
              <a:pathLst>
                <a:path w="9599" h="5577">
                  <a:moveTo>
                    <a:pt x="8751" y="0"/>
                  </a:moveTo>
                  <a:lnTo>
                    <a:pt x="8751" y="0"/>
                  </a:lnTo>
                  <a:lnTo>
                    <a:pt x="0" y="4869"/>
                  </a:lnTo>
                  <a:lnTo>
                    <a:pt x="0" y="5577"/>
                  </a:lnTo>
                  <a:lnTo>
                    <a:pt x="9599" y="234"/>
                  </a:lnTo>
                  <a:lnTo>
                    <a:pt x="9599" y="0"/>
                  </a:lnTo>
                  <a:lnTo>
                    <a:pt x="875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2" name="Freeform 8"/>
            <p:cNvSpPr>
              <a:spLocks/>
            </p:cNvSpPr>
            <p:nvPr/>
          </p:nvSpPr>
          <p:spPr bwMode="gray">
            <a:xfrm>
              <a:off x="0" y="1779588"/>
              <a:ext cx="9153525" cy="4502150"/>
            </a:xfrm>
            <a:custGeom>
              <a:avLst/>
              <a:gdLst>
                <a:gd name="T0" fmla="*/ 0 w 9599"/>
                <a:gd name="T1" fmla="*/ 4159 h 4720"/>
                <a:gd name="T2" fmla="*/ 0 w 9599"/>
                <a:gd name="T3" fmla="*/ 4159 h 4720"/>
                <a:gd name="T4" fmla="*/ 0 w 9599"/>
                <a:gd name="T5" fmla="*/ 4720 h 4720"/>
                <a:gd name="T6" fmla="*/ 9599 w 9599"/>
                <a:gd name="T7" fmla="*/ 561 h 4720"/>
                <a:gd name="T8" fmla="*/ 9599 w 9599"/>
                <a:gd name="T9" fmla="*/ 0 h 4720"/>
                <a:gd name="T10" fmla="*/ 0 w 9599"/>
                <a:gd name="T11" fmla="*/ 4159 h 4720"/>
              </a:gdLst>
              <a:ahLst/>
              <a:cxnLst>
                <a:cxn ang="0">
                  <a:pos x="T0" y="T1"/>
                </a:cxn>
                <a:cxn ang="0">
                  <a:pos x="T2" y="T3"/>
                </a:cxn>
                <a:cxn ang="0">
                  <a:pos x="T4" y="T5"/>
                </a:cxn>
                <a:cxn ang="0">
                  <a:pos x="T6" y="T7"/>
                </a:cxn>
                <a:cxn ang="0">
                  <a:pos x="T8" y="T9"/>
                </a:cxn>
                <a:cxn ang="0">
                  <a:pos x="T10" y="T11"/>
                </a:cxn>
              </a:cxnLst>
              <a:rect l="0" t="0" r="r" b="b"/>
              <a:pathLst>
                <a:path w="9599" h="4720">
                  <a:moveTo>
                    <a:pt x="0" y="4159"/>
                  </a:moveTo>
                  <a:lnTo>
                    <a:pt x="0" y="4159"/>
                  </a:lnTo>
                  <a:lnTo>
                    <a:pt x="0" y="4720"/>
                  </a:lnTo>
                  <a:lnTo>
                    <a:pt x="9599" y="561"/>
                  </a:lnTo>
                  <a:lnTo>
                    <a:pt x="9599" y="0"/>
                  </a:lnTo>
                  <a:lnTo>
                    <a:pt x="0" y="415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3" name="Freeform 9"/>
            <p:cNvSpPr>
              <a:spLocks/>
            </p:cNvSpPr>
            <p:nvPr/>
          </p:nvSpPr>
          <p:spPr bwMode="gray">
            <a:xfrm>
              <a:off x="0" y="3865563"/>
              <a:ext cx="9153525" cy="2992438"/>
            </a:xfrm>
            <a:custGeom>
              <a:avLst/>
              <a:gdLst>
                <a:gd name="T0" fmla="*/ 0 w 9599"/>
                <a:gd name="T1" fmla="*/ 3041 h 3136"/>
                <a:gd name="T2" fmla="*/ 0 w 9599"/>
                <a:gd name="T3" fmla="*/ 3041 h 3136"/>
                <a:gd name="T4" fmla="*/ 0 w 9599"/>
                <a:gd name="T5" fmla="*/ 3136 h 3136"/>
                <a:gd name="T6" fmla="*/ 1407 w 9599"/>
                <a:gd name="T7" fmla="*/ 3136 h 3136"/>
                <a:gd name="T8" fmla="*/ 9599 w 9599"/>
                <a:gd name="T9" fmla="*/ 540 h 3136"/>
                <a:gd name="T10" fmla="*/ 9599 w 9599"/>
                <a:gd name="T11" fmla="*/ 0 h 3136"/>
                <a:gd name="T12" fmla="*/ 0 w 9599"/>
                <a:gd name="T13" fmla="*/ 3041 h 3136"/>
              </a:gdLst>
              <a:ahLst/>
              <a:cxnLst>
                <a:cxn ang="0">
                  <a:pos x="T0" y="T1"/>
                </a:cxn>
                <a:cxn ang="0">
                  <a:pos x="T2" y="T3"/>
                </a:cxn>
                <a:cxn ang="0">
                  <a:pos x="T4" y="T5"/>
                </a:cxn>
                <a:cxn ang="0">
                  <a:pos x="T6" y="T7"/>
                </a:cxn>
                <a:cxn ang="0">
                  <a:pos x="T8" y="T9"/>
                </a:cxn>
                <a:cxn ang="0">
                  <a:pos x="T10" y="T11"/>
                </a:cxn>
                <a:cxn ang="0">
                  <a:pos x="T12" y="T13"/>
                </a:cxn>
              </a:cxnLst>
              <a:rect l="0" t="0" r="r" b="b"/>
              <a:pathLst>
                <a:path w="9599" h="3136">
                  <a:moveTo>
                    <a:pt x="0" y="3041"/>
                  </a:moveTo>
                  <a:lnTo>
                    <a:pt x="0" y="3041"/>
                  </a:lnTo>
                  <a:lnTo>
                    <a:pt x="0" y="3136"/>
                  </a:lnTo>
                  <a:lnTo>
                    <a:pt x="1407" y="3136"/>
                  </a:lnTo>
                  <a:lnTo>
                    <a:pt x="9599" y="540"/>
                  </a:lnTo>
                  <a:lnTo>
                    <a:pt x="9599" y="0"/>
                  </a:lnTo>
                  <a:lnTo>
                    <a:pt x="0" y="304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4" name="Freeform 10"/>
            <p:cNvSpPr>
              <a:spLocks/>
            </p:cNvSpPr>
            <p:nvPr/>
          </p:nvSpPr>
          <p:spPr bwMode="gray">
            <a:xfrm>
              <a:off x="3770313" y="5741988"/>
              <a:ext cx="5384800" cy="1116013"/>
            </a:xfrm>
            <a:custGeom>
              <a:avLst/>
              <a:gdLst>
                <a:gd name="T0" fmla="*/ 0 w 5647"/>
                <a:gd name="T1" fmla="*/ 1170 h 1170"/>
                <a:gd name="T2" fmla="*/ 0 w 5647"/>
                <a:gd name="T3" fmla="*/ 1170 h 1170"/>
                <a:gd name="T4" fmla="*/ 1694 w 5647"/>
                <a:gd name="T5" fmla="*/ 1170 h 1170"/>
                <a:gd name="T6" fmla="*/ 5647 w 5647"/>
                <a:gd name="T7" fmla="*/ 351 h 1170"/>
                <a:gd name="T8" fmla="*/ 5647 w 5647"/>
                <a:gd name="T9" fmla="*/ 0 h 1170"/>
                <a:gd name="T10" fmla="*/ 0 w 5647"/>
                <a:gd name="T11" fmla="*/ 1170 h 1170"/>
              </a:gdLst>
              <a:ahLst/>
              <a:cxnLst>
                <a:cxn ang="0">
                  <a:pos x="T0" y="T1"/>
                </a:cxn>
                <a:cxn ang="0">
                  <a:pos x="T2" y="T3"/>
                </a:cxn>
                <a:cxn ang="0">
                  <a:pos x="T4" y="T5"/>
                </a:cxn>
                <a:cxn ang="0">
                  <a:pos x="T6" y="T7"/>
                </a:cxn>
                <a:cxn ang="0">
                  <a:pos x="T8" y="T9"/>
                </a:cxn>
                <a:cxn ang="0">
                  <a:pos x="T10" y="T11"/>
                </a:cxn>
              </a:cxnLst>
              <a:rect l="0" t="0" r="r" b="b"/>
              <a:pathLst>
                <a:path w="5647" h="1170">
                  <a:moveTo>
                    <a:pt x="0" y="1170"/>
                  </a:moveTo>
                  <a:lnTo>
                    <a:pt x="0" y="1170"/>
                  </a:lnTo>
                  <a:lnTo>
                    <a:pt x="1694" y="1170"/>
                  </a:lnTo>
                  <a:lnTo>
                    <a:pt x="5647" y="351"/>
                  </a:lnTo>
                  <a:lnTo>
                    <a:pt x="5647" y="0"/>
                  </a:lnTo>
                  <a:lnTo>
                    <a:pt x="0" y="117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grpSp>
      <p:sp>
        <p:nvSpPr>
          <p:cNvPr id="15" name="Rectangle 14"/>
          <p:cNvSpPr/>
          <p:nvPr userDrawn="1"/>
        </p:nvSpPr>
        <p:spPr bwMode="gray">
          <a:xfrm>
            <a:off x="288000" y="288000"/>
            <a:ext cx="8568000" cy="628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Espace réservé du contenu 2"/>
          <p:cNvSpPr>
            <a:spLocks noGrp="1"/>
          </p:cNvSpPr>
          <p:nvPr>
            <p:ph idx="1" hasCustomPrompt="1"/>
          </p:nvPr>
        </p:nvSpPr>
        <p:spPr bwMode="gray">
          <a:xfrm>
            <a:off x="503239" y="1449389"/>
            <a:ext cx="8137524" cy="4824411"/>
          </a:xfrm>
        </p:spPr>
        <p:txBody>
          <a:bodyPr/>
          <a:lstStyle>
            <a:lvl2pPr>
              <a:defRPr/>
            </a:lvl2pPr>
            <a:lvl3pPr>
              <a:defRPr/>
            </a:lvl3pPr>
            <a:lvl4pPr>
              <a:defRPr baseline="0"/>
            </a:lvl4pPr>
            <a:lvl5pPr>
              <a:defRPr/>
            </a:lvl5pPr>
          </a:lstStyle>
          <a:p>
            <a:pPr lvl="0"/>
            <a:r>
              <a:rPr lang="fr-FR" noProof="0"/>
              <a:t>Texte de niveau 1</a:t>
            </a:r>
          </a:p>
          <a:p>
            <a:pPr lvl="1"/>
            <a:r>
              <a:rPr lang="fr-FR" noProof="0"/>
              <a:t>Texte de niveau 2</a:t>
            </a:r>
          </a:p>
          <a:p>
            <a:pPr lvl="2"/>
            <a:r>
              <a:rPr lang="fr-FR" noProof="0"/>
              <a:t>Texte de niveau 3</a:t>
            </a:r>
          </a:p>
          <a:p>
            <a:pPr lvl="3"/>
            <a:r>
              <a:rPr lang="fr-FR" noProof="0"/>
              <a:t>Texte de niveau 4</a:t>
            </a:r>
          </a:p>
          <a:p>
            <a:pPr lvl="4"/>
            <a:r>
              <a:rPr lang="fr-FR" noProof="0"/>
              <a:t>Texte de niveau 5</a:t>
            </a:r>
          </a:p>
        </p:txBody>
      </p:sp>
      <p:sp>
        <p:nvSpPr>
          <p:cNvPr id="4" name="Espace réservé de la date 3"/>
          <p:cNvSpPr>
            <a:spLocks noGrp="1"/>
          </p:cNvSpPr>
          <p:nvPr>
            <p:ph type="dt" sz="half" idx="10"/>
          </p:nvPr>
        </p:nvSpPr>
        <p:spPr bwMode="gray">
          <a:xfrm>
            <a:off x="4139951" y="6381328"/>
            <a:ext cx="540000" cy="144464"/>
          </a:xfrm>
        </p:spPr>
        <p:txBody>
          <a:bodyPr/>
          <a:lstStyle/>
          <a:p>
            <a:fld id="{9728A8E0-CAF3-46D4-8E2D-4456E50C98FA}" type="datetime1">
              <a:rPr lang="fr-FR" smtClean="0"/>
              <a:t>11/05/2023</a:t>
            </a:fld>
            <a:endParaRPr lang="fr-FR"/>
          </a:p>
        </p:txBody>
      </p:sp>
      <p:sp>
        <p:nvSpPr>
          <p:cNvPr id="5" name="Espace réservé du pied de page 4"/>
          <p:cNvSpPr>
            <a:spLocks noGrp="1"/>
          </p:cNvSpPr>
          <p:nvPr>
            <p:ph type="ftr" sz="quarter" idx="11"/>
          </p:nvPr>
        </p:nvSpPr>
        <p:spPr bwMode="gray">
          <a:xfrm>
            <a:off x="2771999" y="6381328"/>
            <a:ext cx="3600000" cy="144463"/>
          </a:xfrm>
        </p:spPr>
        <p:txBody>
          <a:bodyPr/>
          <a:lstStyle/>
          <a:p>
            <a:r>
              <a:rPr lang="fr-FR"/>
              <a:t>GROUPE ADP -                      - DIFFUSION RESTREINTE</a:t>
            </a:r>
          </a:p>
        </p:txBody>
      </p:sp>
      <p:sp>
        <p:nvSpPr>
          <p:cNvPr id="6" name="Espace réservé du numéro de diapositive 5"/>
          <p:cNvSpPr>
            <a:spLocks noGrp="1"/>
          </p:cNvSpPr>
          <p:nvPr>
            <p:ph type="sldNum" sz="quarter" idx="12"/>
          </p:nvPr>
        </p:nvSpPr>
        <p:spPr bwMode="gray">
          <a:xfrm>
            <a:off x="8028384" y="6381328"/>
            <a:ext cx="612379" cy="144464"/>
          </a:xfrm>
        </p:spPr>
        <p:txBody>
          <a:bodyPr/>
          <a:lstStyle/>
          <a:p>
            <a:r>
              <a:rPr lang="fr-FR"/>
              <a:t>PAGE </a:t>
            </a:r>
            <a:fld id="{8AF9711C-11F6-40F1-A9C4-511E8DA6BB32}" type="slidenum">
              <a:rPr lang="fr-FR" smtClean="0"/>
              <a:pPr/>
              <a:t>‹N°›</a:t>
            </a:fld>
            <a:endParaRPr lang="fr-FR"/>
          </a:p>
        </p:txBody>
      </p:sp>
      <p:sp>
        <p:nvSpPr>
          <p:cNvPr id="7" name="Titre 6"/>
          <p:cNvSpPr>
            <a:spLocks noGrp="1"/>
          </p:cNvSpPr>
          <p:nvPr>
            <p:ph type="title" hasCustomPrompt="1"/>
          </p:nvPr>
        </p:nvSpPr>
        <p:spPr bwMode="gray"/>
        <p:txBody>
          <a:bodyPr/>
          <a:lstStyle>
            <a:lvl1pPr>
              <a:defRPr/>
            </a:lvl1pPr>
          </a:lstStyle>
          <a:p>
            <a:r>
              <a:rPr lang="fr-FR"/>
              <a:t>Titre</a:t>
            </a:r>
          </a:p>
        </p:txBody>
      </p:sp>
    </p:spTree>
    <p:extLst>
      <p:ext uri="{BB962C8B-B14F-4D97-AF65-F5344CB8AC3E}">
        <p14:creationId xmlns:p14="http://schemas.microsoft.com/office/powerpoint/2010/main" val="36282045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image" Target="../media/image11.jpeg"/><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image" Target="../media/image10.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bwMode="gray">
          <a:xfrm>
            <a:off x="503239" y="800100"/>
            <a:ext cx="8137524" cy="649288"/>
          </a:xfrm>
          <a:prstGeom prst="rect">
            <a:avLst/>
          </a:prstGeom>
        </p:spPr>
        <p:txBody>
          <a:bodyPr vert="horz" lIns="0" tIns="0" rIns="0" bIns="0" rtlCol="0" anchor="t" anchorCtr="0">
            <a:noAutofit/>
          </a:bodyPr>
          <a:lstStyle/>
          <a:p>
            <a:r>
              <a:rPr lang="fr-FR" noProof="0"/>
              <a:t>Titre</a:t>
            </a:r>
          </a:p>
        </p:txBody>
      </p:sp>
      <p:sp>
        <p:nvSpPr>
          <p:cNvPr id="3" name="Espace réservé du texte 2"/>
          <p:cNvSpPr>
            <a:spLocks noGrp="1"/>
          </p:cNvSpPr>
          <p:nvPr>
            <p:ph type="body" idx="1"/>
          </p:nvPr>
        </p:nvSpPr>
        <p:spPr bwMode="gray">
          <a:xfrm>
            <a:off x="503239" y="1449389"/>
            <a:ext cx="8137524" cy="5003799"/>
          </a:xfrm>
          <a:prstGeom prst="rect">
            <a:avLst/>
          </a:prstGeom>
        </p:spPr>
        <p:txBody>
          <a:bodyPr vert="horz" lIns="0" tIns="0" rIns="0" bIns="0" rtlCol="0" anchor="t" anchorCtr="0">
            <a:noAutofit/>
          </a:bodyPr>
          <a:lstStyle/>
          <a:p>
            <a:pPr lvl="0"/>
            <a:r>
              <a:rPr lang="fr-FR" noProof="0"/>
              <a:t>Texte de niveau 1</a:t>
            </a:r>
          </a:p>
          <a:p>
            <a:pPr lvl="1"/>
            <a:r>
              <a:rPr lang="fr-FR" noProof="0"/>
              <a:t>Texte de niveau 2</a:t>
            </a:r>
          </a:p>
          <a:p>
            <a:pPr lvl="2"/>
            <a:r>
              <a:rPr lang="fr-FR" noProof="0"/>
              <a:t>Texte de niveau 3</a:t>
            </a:r>
          </a:p>
          <a:p>
            <a:pPr lvl="3"/>
            <a:r>
              <a:rPr lang="fr-FR" noProof="0"/>
              <a:t>Texte de niveau 4</a:t>
            </a:r>
          </a:p>
          <a:p>
            <a:pPr lvl="4"/>
            <a:r>
              <a:rPr lang="fr-FR" noProof="0"/>
              <a:t>Texte de niveau 5</a:t>
            </a:r>
          </a:p>
        </p:txBody>
      </p:sp>
      <p:sp>
        <p:nvSpPr>
          <p:cNvPr id="11" name="Espace réservé du pied de page 10"/>
          <p:cNvSpPr>
            <a:spLocks noGrp="1"/>
          </p:cNvSpPr>
          <p:nvPr>
            <p:ph type="ftr" sz="quarter" idx="3"/>
          </p:nvPr>
        </p:nvSpPr>
        <p:spPr bwMode="gray">
          <a:xfrm>
            <a:off x="2771999" y="6524625"/>
            <a:ext cx="3600000" cy="144463"/>
          </a:xfrm>
          <a:prstGeom prst="rect">
            <a:avLst/>
          </a:prstGeom>
        </p:spPr>
        <p:txBody>
          <a:bodyPr vert="horz" lIns="0" tIns="0" rIns="0" bIns="0" rtlCol="0" anchor="t" anchorCtr="0"/>
          <a:lstStyle>
            <a:lvl1pPr algn="ctr">
              <a:defRPr sz="650">
                <a:solidFill>
                  <a:schemeClr val="tx1"/>
                </a:solidFill>
              </a:defRPr>
            </a:lvl1pPr>
          </a:lstStyle>
          <a:p>
            <a:r>
              <a:rPr lang="fr-FR"/>
              <a:t>GROUPE ADP -                      - DIFFUSION RESTREINTE</a:t>
            </a:r>
          </a:p>
        </p:txBody>
      </p:sp>
      <p:sp>
        <p:nvSpPr>
          <p:cNvPr id="12" name="Espace réservé du numéro de diapositive 11"/>
          <p:cNvSpPr>
            <a:spLocks noGrp="1"/>
          </p:cNvSpPr>
          <p:nvPr>
            <p:ph type="sldNum" sz="quarter" idx="4"/>
          </p:nvPr>
        </p:nvSpPr>
        <p:spPr bwMode="gray">
          <a:xfrm>
            <a:off x="8028384" y="6524625"/>
            <a:ext cx="612379" cy="144464"/>
          </a:xfrm>
          <a:prstGeom prst="rect">
            <a:avLst/>
          </a:prstGeom>
        </p:spPr>
        <p:txBody>
          <a:bodyPr vert="horz" lIns="0" tIns="0" rIns="0" bIns="0" rtlCol="0" anchor="t" anchorCtr="0"/>
          <a:lstStyle>
            <a:lvl1pPr algn="r">
              <a:defRPr sz="650">
                <a:solidFill>
                  <a:schemeClr val="tx1"/>
                </a:solidFill>
              </a:defRPr>
            </a:lvl1pPr>
          </a:lstStyle>
          <a:p>
            <a:r>
              <a:rPr lang="fr-FR"/>
              <a:t>PAGE </a:t>
            </a:r>
            <a:fld id="{8AF9711C-11F6-40F1-A9C4-511E8DA6BB32}" type="slidenum">
              <a:rPr lang="fr-FR" smtClean="0"/>
              <a:pPr/>
              <a:t>‹N°›</a:t>
            </a:fld>
            <a:endParaRPr lang="fr-FR"/>
          </a:p>
        </p:txBody>
      </p:sp>
      <p:sp>
        <p:nvSpPr>
          <p:cNvPr id="10" name="Espace réservé de la date 9"/>
          <p:cNvSpPr>
            <a:spLocks noGrp="1"/>
          </p:cNvSpPr>
          <p:nvPr>
            <p:ph type="dt" sz="half" idx="2"/>
          </p:nvPr>
        </p:nvSpPr>
        <p:spPr bwMode="gray">
          <a:xfrm>
            <a:off x="4139951" y="6524625"/>
            <a:ext cx="540000" cy="144464"/>
          </a:xfrm>
          <a:prstGeom prst="rect">
            <a:avLst/>
          </a:prstGeom>
        </p:spPr>
        <p:txBody>
          <a:bodyPr vert="horz" lIns="0" tIns="0" rIns="0" bIns="0" rtlCol="0" anchor="t" anchorCtr="0"/>
          <a:lstStyle>
            <a:lvl1pPr algn="ctr">
              <a:defRPr sz="650">
                <a:solidFill>
                  <a:schemeClr val="tx1"/>
                </a:solidFill>
              </a:defRPr>
            </a:lvl1pPr>
          </a:lstStyle>
          <a:p>
            <a:fld id="{53944304-8D3E-4FF0-8E15-4BAC9F5C1A3B}" type="datetime1">
              <a:rPr lang="fr-FR" smtClean="0"/>
              <a:t>11/05/2023</a:t>
            </a:fld>
            <a:endParaRPr lang="fr-FR"/>
          </a:p>
        </p:txBody>
      </p:sp>
    </p:spTree>
  </p:cSld>
  <p:clrMap bg1="lt1" tx1="dk1" bg2="lt2" tx2="dk2" accent1="accent1" accent2="accent2" accent3="accent3" accent4="accent4" accent5="accent5" accent6="accent6" hlink="hlink" folHlink="folHlink"/>
  <p:sldLayoutIdLst>
    <p:sldLayoutId id="2147483808" r:id="rId1"/>
    <p:sldLayoutId id="2147483815" r:id="rId2"/>
    <p:sldLayoutId id="2147483799" r:id="rId3"/>
    <p:sldLayoutId id="2147483814" r:id="rId4"/>
    <p:sldLayoutId id="2147483816" r:id="rId5"/>
    <p:sldLayoutId id="2147483817" r:id="rId6"/>
    <p:sldLayoutId id="2147483818" r:id="rId7"/>
    <p:sldLayoutId id="2147483813" r:id="rId8"/>
    <p:sldLayoutId id="2147483819" r:id="rId9"/>
    <p:sldLayoutId id="2147483820" r:id="rId10"/>
    <p:sldLayoutId id="2147483821" r:id="rId11"/>
    <p:sldLayoutId id="2147483825" r:id="rId12"/>
    <p:sldLayoutId id="2147483822" r:id="rId13"/>
    <p:sldLayoutId id="2147483809" r:id="rId14"/>
    <p:sldLayoutId id="2147483810" r:id="rId15"/>
    <p:sldLayoutId id="2147483811" r:id="rId16"/>
    <p:sldLayoutId id="2147483812" r:id="rId17"/>
  </p:sldLayoutIdLst>
  <p:hf hdr="0"/>
  <p:txStyles>
    <p:titleStyle>
      <a:lvl1pPr algn="l" defTabSz="914400" rtl="0" eaLnBrk="1" latinLnBrk="0" hangingPunct="1">
        <a:lnSpc>
          <a:spcPct val="100000"/>
        </a:lnSpc>
        <a:spcBef>
          <a:spcPct val="0"/>
        </a:spcBef>
        <a:buNone/>
        <a:defRPr sz="1600" b="1" kern="1200" cap="all" baseline="0">
          <a:solidFill>
            <a:schemeClr val="accent1"/>
          </a:solidFill>
          <a:latin typeface="+mj-lt"/>
          <a:ea typeface="+mj-ea"/>
          <a:cs typeface="+mj-cs"/>
        </a:defRPr>
      </a:lvl1pPr>
    </p:titleStyle>
    <p:bodyStyle>
      <a:lvl1pPr marL="180000" indent="-180000" algn="l" defTabSz="914400" rtl="0" eaLnBrk="1" latinLnBrk="0" hangingPunct="1">
        <a:lnSpc>
          <a:spcPct val="110000"/>
        </a:lnSpc>
        <a:spcBef>
          <a:spcPts val="0"/>
        </a:spcBef>
        <a:spcAft>
          <a:spcPts val="600"/>
        </a:spcAft>
        <a:buClr>
          <a:schemeClr val="accent3"/>
        </a:buClr>
        <a:buSzPct val="90000"/>
        <a:buFont typeface="Wingdings" pitchFamily="2" charset="2"/>
        <a:buChar char=""/>
        <a:defRPr sz="1250" b="1" kern="1200">
          <a:solidFill>
            <a:schemeClr val="accent1"/>
          </a:solidFill>
          <a:latin typeface="+mn-lt"/>
          <a:ea typeface="+mn-ea"/>
          <a:cs typeface="+mn-cs"/>
        </a:defRPr>
      </a:lvl1pPr>
      <a:lvl2pPr marL="360000" indent="-179388" algn="l" defTabSz="914400" rtl="0" eaLnBrk="1" latinLnBrk="0" hangingPunct="1">
        <a:lnSpc>
          <a:spcPct val="110000"/>
        </a:lnSpc>
        <a:spcBef>
          <a:spcPts val="0"/>
        </a:spcBef>
        <a:spcAft>
          <a:spcPts val="600"/>
        </a:spcAft>
        <a:buClr>
          <a:schemeClr val="accent3"/>
        </a:buClr>
        <a:buSzPct val="100000"/>
        <a:buFont typeface="Wingdings 3" panose="05040102010807070707" pitchFamily="18" charset="2"/>
        <a:buChar char=""/>
        <a:defRPr sz="1250" b="1" kern="1200">
          <a:solidFill>
            <a:schemeClr val="accent1"/>
          </a:solidFill>
          <a:latin typeface="+mn-lt"/>
          <a:ea typeface="+mn-ea"/>
          <a:cs typeface="+mn-cs"/>
        </a:defRPr>
      </a:lvl2pPr>
      <a:lvl3pPr marL="360000" indent="0" algn="just" defTabSz="914400" rtl="0" eaLnBrk="1" latinLnBrk="0" hangingPunct="1">
        <a:lnSpc>
          <a:spcPct val="130000"/>
        </a:lnSpc>
        <a:spcBef>
          <a:spcPts val="0"/>
        </a:spcBef>
        <a:buSzPct val="100000"/>
        <a:buFont typeface="Arial" pitchFamily="34" charset="0"/>
        <a:buNone/>
        <a:defRPr sz="1250" kern="1200">
          <a:solidFill>
            <a:schemeClr val="tx1"/>
          </a:solidFill>
          <a:latin typeface="+mn-lt"/>
          <a:ea typeface="+mn-ea"/>
          <a:cs typeface="+mn-cs"/>
        </a:defRPr>
      </a:lvl3pPr>
      <a:lvl4pPr marL="540000" indent="-180000" algn="l" defTabSz="914400" rtl="0" eaLnBrk="1" latinLnBrk="0" hangingPunct="1">
        <a:lnSpc>
          <a:spcPct val="120000"/>
        </a:lnSpc>
        <a:spcBef>
          <a:spcPts val="0"/>
        </a:spcBef>
        <a:spcAft>
          <a:spcPts val="400"/>
        </a:spcAft>
        <a:buSzPct val="100000"/>
        <a:buFont typeface="Arial" pitchFamily="34" charset="0"/>
        <a:buChar char="•"/>
        <a:defRPr sz="1250" kern="1200">
          <a:solidFill>
            <a:schemeClr val="tx1"/>
          </a:solidFill>
          <a:latin typeface="+mn-lt"/>
          <a:ea typeface="+mn-ea"/>
          <a:cs typeface="+mn-cs"/>
        </a:defRPr>
      </a:lvl4pPr>
      <a:lvl5pPr marL="720000" indent="-180000" algn="l" defTabSz="914400" rtl="0" eaLnBrk="1" latinLnBrk="0" hangingPunct="1">
        <a:lnSpc>
          <a:spcPct val="120000"/>
        </a:lnSpc>
        <a:spcBef>
          <a:spcPts val="0"/>
        </a:spcBef>
        <a:spcAft>
          <a:spcPts val="400"/>
        </a:spcAft>
        <a:buSzPct val="100000"/>
        <a:buFont typeface="Wingdings 3" panose="05040102010807070707" pitchFamily="18" charset="2"/>
        <a:buChar char=""/>
        <a:defRPr sz="125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4" cstate="print">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2466" y="4984"/>
            <a:ext cx="6934759" cy="909416"/>
          </a:xfrm>
          <a:prstGeom prst="rect">
            <a:avLst/>
          </a:prstGeom>
        </p:spPr>
        <p:txBody>
          <a:bodyPr vert="horz" lIns="36000" tIns="45720" rIns="36000" bIns="45720" rtlCol="0" anchor="ctr">
            <a:noAutofit/>
          </a:bodyPr>
          <a:lstStyle/>
          <a:p>
            <a:r>
              <a:rPr lang="fr-FR" noProof="0"/>
              <a:t>Titre</a:t>
            </a:r>
          </a:p>
        </p:txBody>
      </p:sp>
      <p:sp>
        <p:nvSpPr>
          <p:cNvPr id="3" name="Text Placeholder 2"/>
          <p:cNvSpPr>
            <a:spLocks noGrp="1"/>
          </p:cNvSpPr>
          <p:nvPr>
            <p:ph type="body" idx="1"/>
          </p:nvPr>
        </p:nvSpPr>
        <p:spPr>
          <a:xfrm>
            <a:off x="382466" y="1685925"/>
            <a:ext cx="8475785" cy="4410075"/>
          </a:xfrm>
          <a:prstGeom prst="rect">
            <a:avLst/>
          </a:prstGeom>
        </p:spPr>
        <p:txBody>
          <a:bodyPr vert="horz" lIns="36000" tIns="45720" rIns="36000" bIns="45720" rtlCol="0">
            <a:noAutofit/>
          </a:bodyPr>
          <a:lstStyle/>
          <a:p>
            <a:pPr lvl="0"/>
            <a:r>
              <a:rPr lang="fr-FR" noProof="0"/>
              <a:t>Premier niveau</a:t>
            </a:r>
          </a:p>
          <a:p>
            <a:pPr lvl="1"/>
            <a:r>
              <a:rPr lang="fr-FR" noProof="0"/>
              <a:t>Deuxième niveau</a:t>
            </a:r>
          </a:p>
          <a:p>
            <a:pPr lvl="2"/>
            <a:r>
              <a:rPr lang="fr-FR" noProof="0"/>
              <a:t>Troisième niveau</a:t>
            </a:r>
          </a:p>
          <a:p>
            <a:pPr lvl="3"/>
            <a:r>
              <a:rPr lang="fr-FR" noProof="0"/>
              <a:t>Quatrième niveau</a:t>
            </a:r>
          </a:p>
        </p:txBody>
      </p:sp>
      <p:sp>
        <p:nvSpPr>
          <p:cNvPr id="11" name="TextBox 10"/>
          <p:cNvSpPr txBox="1"/>
          <p:nvPr/>
        </p:nvSpPr>
        <p:spPr>
          <a:xfrm>
            <a:off x="8781770" y="6523243"/>
            <a:ext cx="263768" cy="230832"/>
          </a:xfrm>
          <a:prstGeom prst="rect">
            <a:avLst/>
          </a:prstGeom>
          <a:noFill/>
        </p:spPr>
        <p:txBody>
          <a:bodyPr wrap="none" lIns="0" tIns="0" rIns="0" bIns="0" rtlCol="0" anchor="ctr">
            <a:noAutofit/>
          </a:bodyPr>
          <a:lstStyle/>
          <a:p>
            <a:pPr algn="ctr" defTabSz="957816"/>
            <a:fld id="{6A895693-0027-4F28-9367-92E39A51F51C}" type="slidenum">
              <a:rPr lang="fr-FR" sz="800" smtClean="0">
                <a:solidFill>
                  <a:srgbClr val="7F7F7F"/>
                </a:solidFill>
              </a:rPr>
              <a:pPr algn="ctr" defTabSz="957816"/>
              <a:t>‹N°›</a:t>
            </a:fld>
            <a:endParaRPr lang="fr-FR" sz="800">
              <a:solidFill>
                <a:srgbClr val="7F7F7F"/>
              </a:solidFill>
            </a:endParaRPr>
          </a:p>
        </p:txBody>
      </p:sp>
      <p:sp>
        <p:nvSpPr>
          <p:cNvPr id="32" name="ZoneTexte 11"/>
          <p:cNvSpPr txBox="1"/>
          <p:nvPr/>
        </p:nvSpPr>
        <p:spPr>
          <a:xfrm>
            <a:off x="1675267" y="6523243"/>
            <a:ext cx="6880448" cy="230832"/>
          </a:xfrm>
          <a:prstGeom prst="rect">
            <a:avLst/>
          </a:prstGeom>
          <a:noFill/>
        </p:spPr>
        <p:txBody>
          <a:bodyPr wrap="square" rtlCol="0">
            <a:spAutoFit/>
          </a:bodyPr>
          <a:lstStyle/>
          <a:p>
            <a:pPr>
              <a:defRPr/>
            </a:pPr>
            <a:r>
              <a:rPr lang="fr-FR" sz="900" kern="0">
                <a:solidFill>
                  <a:sysClr val="windowText" lastClr="000000">
                    <a:lumMod val="50000"/>
                    <a:lumOff val="50000"/>
                  </a:sysClr>
                </a:solidFill>
              </a:rPr>
              <a:t>PEC PAIE – Comité de suivi</a:t>
            </a:r>
          </a:p>
        </p:txBody>
      </p:sp>
      <p:sp>
        <p:nvSpPr>
          <p:cNvPr id="38" name="TextBox 37"/>
          <p:cNvSpPr txBox="1"/>
          <p:nvPr/>
        </p:nvSpPr>
        <p:spPr>
          <a:xfrm>
            <a:off x="870251" y="6523243"/>
            <a:ext cx="679476" cy="230832"/>
          </a:xfrm>
          <a:prstGeom prst="rect">
            <a:avLst/>
          </a:prstGeom>
          <a:noFill/>
        </p:spPr>
        <p:txBody>
          <a:bodyPr wrap="square" rtlCol="0" anchor="ctr">
            <a:noAutofit/>
          </a:bodyPr>
          <a:lstStyle/>
          <a:p>
            <a:pPr defTabSz="957816"/>
            <a:fld id="{97AE2343-6039-4F61-9D61-ED27A8192115}" type="datetime1">
              <a:rPr lang="fr-FR" sz="900" smtClean="0">
                <a:solidFill>
                  <a:srgbClr val="7F7F7F"/>
                </a:solidFill>
              </a:rPr>
              <a:pPr defTabSz="957816"/>
              <a:t>11/05/2023</a:t>
            </a:fld>
            <a:endParaRPr lang="fr-FR" sz="900">
              <a:solidFill>
                <a:srgbClr val="7F7F7F"/>
              </a:solidFill>
            </a:endParaRPr>
          </a:p>
        </p:txBody>
      </p:sp>
      <p:pic>
        <p:nvPicPr>
          <p:cNvPr id="8" name="Image 3" descr="logo AMAURY.jpg"/>
          <p:cNvPicPr>
            <a:picLocks noChangeAspect="1"/>
          </p:cNvPicPr>
          <p:nvPr userDrawn="1"/>
        </p:nvPicPr>
        <p:blipFill>
          <a:blip r:embed="rId15" cstate="print"/>
          <a:srcRect/>
          <a:stretch>
            <a:fillRect/>
          </a:stretch>
        </p:blipFill>
        <p:spPr bwMode="auto">
          <a:xfrm>
            <a:off x="58616" y="6502264"/>
            <a:ext cx="715108" cy="201395"/>
          </a:xfrm>
          <a:prstGeom prst="rect">
            <a:avLst/>
          </a:prstGeom>
          <a:noFill/>
          <a:ln w="9525">
            <a:noFill/>
            <a:miter lim="800000"/>
            <a:headEnd/>
            <a:tailEnd/>
          </a:ln>
        </p:spPr>
      </p:pic>
    </p:spTree>
    <p:extLst>
      <p:ext uri="{BB962C8B-B14F-4D97-AF65-F5344CB8AC3E}">
        <p14:creationId xmlns:p14="http://schemas.microsoft.com/office/powerpoint/2010/main" val="3962997039"/>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 id="2147483837" r:id="rId11"/>
    <p:sldLayoutId id="2147483838" r:id="rId12"/>
  </p:sldLayoutIdLst>
  <p:transition>
    <p:fade/>
  </p:transition>
  <p:txStyles>
    <p:titleStyle>
      <a:lvl1pPr algn="l" defTabSz="914400" rtl="0" eaLnBrk="1" latinLnBrk="0" hangingPunct="1">
        <a:spcBef>
          <a:spcPct val="0"/>
        </a:spcBef>
        <a:buNone/>
        <a:defRPr sz="2800" kern="1200">
          <a:solidFill>
            <a:schemeClr val="bg2"/>
          </a:solidFill>
          <a:latin typeface="+mj-lt"/>
          <a:ea typeface="+mj-ea"/>
          <a:cs typeface="+mj-cs"/>
        </a:defRPr>
      </a:lvl1pPr>
    </p:titleStyle>
    <p:bodyStyle>
      <a:lvl1pPr marL="0" indent="0" algn="just" defTabSz="914400" rtl="0" eaLnBrk="1" latinLnBrk="0" hangingPunct="1">
        <a:spcBef>
          <a:spcPts val="432"/>
        </a:spcBef>
        <a:buFontTx/>
        <a:buNone/>
        <a:defRPr sz="1800" b="1" kern="1200">
          <a:solidFill>
            <a:schemeClr val="accent3"/>
          </a:solidFill>
          <a:latin typeface="+mn-lt"/>
          <a:ea typeface="+mn-ea"/>
          <a:cs typeface="+mn-cs"/>
        </a:defRPr>
      </a:lvl1pPr>
      <a:lvl2pPr marL="266700" indent="-266700" algn="just" defTabSz="914400" rtl="0" eaLnBrk="1" latinLnBrk="0" hangingPunct="1">
        <a:spcBef>
          <a:spcPts val="432"/>
        </a:spcBef>
        <a:buClr>
          <a:schemeClr val="accent3"/>
        </a:buClr>
        <a:buFont typeface="Wingdings" pitchFamily="2" charset="2"/>
        <a:buChar char="§"/>
        <a:tabLst/>
        <a:defRPr sz="1600" kern="1200">
          <a:solidFill>
            <a:schemeClr val="tx1"/>
          </a:solidFill>
          <a:latin typeface="+mn-lt"/>
          <a:ea typeface="+mn-ea"/>
          <a:cs typeface="+mn-cs"/>
        </a:defRPr>
      </a:lvl2pPr>
      <a:lvl3pPr marL="539750" indent="-263525" algn="just" defTabSz="922338" rtl="0" eaLnBrk="1" latinLnBrk="0" hangingPunct="1">
        <a:spcBef>
          <a:spcPts val="432"/>
        </a:spcBef>
        <a:buClr>
          <a:schemeClr val="bg2"/>
        </a:buClr>
        <a:buFont typeface="Arial" pitchFamily="34" charset="0"/>
        <a:buChar char="–"/>
        <a:defRPr sz="1400" kern="1200">
          <a:solidFill>
            <a:schemeClr val="tx1"/>
          </a:solidFill>
          <a:latin typeface="+mn-lt"/>
          <a:ea typeface="+mn-ea"/>
          <a:cs typeface="+mn-cs"/>
        </a:defRPr>
      </a:lvl3pPr>
      <a:lvl4pPr marL="714375" indent="-176213" algn="just" defTabSz="914400" rtl="0" eaLnBrk="1" latinLnBrk="0" hangingPunct="1">
        <a:spcBef>
          <a:spcPts val="432"/>
        </a:spcBef>
        <a:buClr>
          <a:schemeClr val="bg2"/>
        </a:buClr>
        <a:buFont typeface="Arial" pitchFamily="34" charset="0"/>
        <a:buChar char="•"/>
        <a:defRPr sz="1400" kern="1200" baseline="0">
          <a:solidFill>
            <a:schemeClr val="bg2"/>
          </a:solidFill>
          <a:latin typeface="+mn-lt"/>
          <a:ea typeface="+mn-ea"/>
          <a:cs typeface="+mn-cs"/>
        </a:defRPr>
      </a:lvl4pPr>
      <a:lvl5pPr marL="2057400" indent="-228600" algn="l" defTabSz="914400" rtl="0" eaLnBrk="1" latinLnBrk="0" hangingPunct="1">
        <a:spcBef>
          <a:spcPts val="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94C68E96-28E4-1A2E-092F-D8154C77CC3C}"/>
              </a:ext>
            </a:extLst>
          </p:cNvPr>
          <p:cNvSpPr>
            <a:spLocks noGrp="1"/>
          </p:cNvSpPr>
          <p:nvPr>
            <p:ph type="dt" sz="half" idx="10"/>
          </p:nvPr>
        </p:nvSpPr>
        <p:spPr/>
        <p:txBody>
          <a:bodyPr/>
          <a:lstStyle/>
          <a:p>
            <a:fld id="{80B89F44-81A1-4603-A91A-A0FD009B4122}" type="datetime1">
              <a:rPr lang="fr-FR" smtClean="0"/>
              <a:t>11/05/2023</a:t>
            </a:fld>
            <a:endParaRPr lang="fr-FR"/>
          </a:p>
        </p:txBody>
      </p:sp>
      <p:sp>
        <p:nvSpPr>
          <p:cNvPr id="3" name="Espace réservé du pied de page 2">
            <a:extLst>
              <a:ext uri="{FF2B5EF4-FFF2-40B4-BE49-F238E27FC236}">
                <a16:creationId xmlns:a16="http://schemas.microsoft.com/office/drawing/2014/main" id="{DC5F2205-4CF7-0DAC-FF8F-94DF303237E0}"/>
              </a:ext>
            </a:extLst>
          </p:cNvPr>
          <p:cNvSpPr>
            <a:spLocks noGrp="1"/>
          </p:cNvSpPr>
          <p:nvPr>
            <p:ph type="ftr" sz="quarter" idx="11"/>
          </p:nvPr>
        </p:nvSpPr>
        <p:spPr/>
        <p:txBody>
          <a:bodyPr/>
          <a:lstStyle/>
          <a:p>
            <a:r>
              <a:rPr lang="fr-FR"/>
              <a:t>GROUPE ADP -                      - DIFFUSION RESTREINTE</a:t>
            </a:r>
          </a:p>
        </p:txBody>
      </p:sp>
      <p:sp>
        <p:nvSpPr>
          <p:cNvPr id="4" name="Espace réservé du numéro de diapositive 3">
            <a:extLst>
              <a:ext uri="{FF2B5EF4-FFF2-40B4-BE49-F238E27FC236}">
                <a16:creationId xmlns:a16="http://schemas.microsoft.com/office/drawing/2014/main" id="{E53E2415-5BBD-4D77-F785-823ED51F9EC1}"/>
              </a:ext>
            </a:extLst>
          </p:cNvPr>
          <p:cNvSpPr>
            <a:spLocks noGrp="1"/>
          </p:cNvSpPr>
          <p:nvPr>
            <p:ph type="sldNum" sz="quarter" idx="12"/>
          </p:nvPr>
        </p:nvSpPr>
        <p:spPr/>
        <p:txBody>
          <a:bodyPr/>
          <a:lstStyle/>
          <a:p>
            <a:r>
              <a:rPr lang="fr-FR"/>
              <a:t>PAGE </a:t>
            </a:r>
            <a:fld id="{8AF9711C-11F6-40F1-A9C4-511E8DA6BB32}" type="slidenum">
              <a:rPr lang="fr-FR" smtClean="0"/>
              <a:pPr/>
              <a:t>1</a:t>
            </a:fld>
            <a:endParaRPr lang="fr-FR"/>
          </a:p>
        </p:txBody>
      </p:sp>
      <p:sp>
        <p:nvSpPr>
          <p:cNvPr id="5" name="Titre 4">
            <a:extLst>
              <a:ext uri="{FF2B5EF4-FFF2-40B4-BE49-F238E27FC236}">
                <a16:creationId xmlns:a16="http://schemas.microsoft.com/office/drawing/2014/main" id="{C11685A2-EFA2-8393-3B8D-6525E79BD6C7}"/>
              </a:ext>
            </a:extLst>
          </p:cNvPr>
          <p:cNvSpPr>
            <a:spLocks noGrp="1"/>
          </p:cNvSpPr>
          <p:nvPr>
            <p:ph type="title"/>
          </p:nvPr>
        </p:nvSpPr>
        <p:spPr/>
        <p:txBody>
          <a:bodyPr/>
          <a:lstStyle/>
          <a:p>
            <a:r>
              <a:rPr lang="fr-FR" dirty="0"/>
              <a:t>Gouvernance DevOps</a:t>
            </a:r>
          </a:p>
        </p:txBody>
      </p:sp>
    </p:spTree>
    <p:extLst>
      <p:ext uri="{BB962C8B-B14F-4D97-AF65-F5344CB8AC3E}">
        <p14:creationId xmlns:p14="http://schemas.microsoft.com/office/powerpoint/2010/main" val="17625579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82FF104E-E965-B835-81E1-D7C030DAC987}"/>
              </a:ext>
            </a:extLst>
          </p:cNvPr>
          <p:cNvSpPr>
            <a:spLocks noGrp="1"/>
          </p:cNvSpPr>
          <p:nvPr>
            <p:ph type="body" sz="quarter" idx="13"/>
          </p:nvPr>
        </p:nvSpPr>
        <p:spPr>
          <a:xfrm>
            <a:off x="4103688" y="3428999"/>
            <a:ext cx="4537075" cy="360000"/>
          </a:xfrm>
        </p:spPr>
        <p:txBody>
          <a:bodyPr/>
          <a:lstStyle/>
          <a:p>
            <a:r>
              <a:rPr lang="fr-FR" dirty="0"/>
              <a:t>CI/CD - Cible</a:t>
            </a:r>
          </a:p>
        </p:txBody>
      </p:sp>
      <p:sp>
        <p:nvSpPr>
          <p:cNvPr id="3" name="Titre 2">
            <a:extLst>
              <a:ext uri="{FF2B5EF4-FFF2-40B4-BE49-F238E27FC236}">
                <a16:creationId xmlns:a16="http://schemas.microsoft.com/office/drawing/2014/main" id="{F59F7E39-85B3-DB9D-0007-F51E852208A8}"/>
              </a:ext>
            </a:extLst>
          </p:cNvPr>
          <p:cNvSpPr>
            <a:spLocks noGrp="1"/>
          </p:cNvSpPr>
          <p:nvPr>
            <p:ph type="title"/>
          </p:nvPr>
        </p:nvSpPr>
        <p:spPr/>
        <p:txBody>
          <a:bodyPr/>
          <a:lstStyle/>
          <a:p>
            <a:r>
              <a:rPr lang="fr-FR" dirty="0"/>
              <a:t>04</a:t>
            </a:r>
          </a:p>
        </p:txBody>
      </p:sp>
      <p:sp>
        <p:nvSpPr>
          <p:cNvPr id="4" name="Espace réservé de la date 3">
            <a:extLst>
              <a:ext uri="{FF2B5EF4-FFF2-40B4-BE49-F238E27FC236}">
                <a16:creationId xmlns:a16="http://schemas.microsoft.com/office/drawing/2014/main" id="{D0F418A0-AA3C-76FF-6981-5ED678AB39E2}"/>
              </a:ext>
            </a:extLst>
          </p:cNvPr>
          <p:cNvSpPr>
            <a:spLocks noGrp="1"/>
          </p:cNvSpPr>
          <p:nvPr>
            <p:ph type="dt" sz="half" idx="15"/>
          </p:nvPr>
        </p:nvSpPr>
        <p:spPr/>
        <p:txBody>
          <a:bodyPr/>
          <a:lstStyle/>
          <a:p>
            <a:fld id="{D09541FD-5B6B-4BF6-8C89-AE8A3BC611FB}" type="datetime1">
              <a:rPr lang="fr-FR" smtClean="0"/>
              <a:t>11/05/2023</a:t>
            </a:fld>
            <a:endParaRPr lang="fr-FR"/>
          </a:p>
        </p:txBody>
      </p:sp>
      <p:sp>
        <p:nvSpPr>
          <p:cNvPr id="5" name="Espace réservé du pied de page 4">
            <a:extLst>
              <a:ext uri="{FF2B5EF4-FFF2-40B4-BE49-F238E27FC236}">
                <a16:creationId xmlns:a16="http://schemas.microsoft.com/office/drawing/2014/main" id="{BEADD8FD-D71F-2402-2896-47EDF853F055}"/>
              </a:ext>
            </a:extLst>
          </p:cNvPr>
          <p:cNvSpPr>
            <a:spLocks noGrp="1"/>
          </p:cNvSpPr>
          <p:nvPr>
            <p:ph type="ftr" sz="quarter" idx="16"/>
          </p:nvPr>
        </p:nvSpPr>
        <p:spPr/>
        <p:txBody>
          <a:bodyPr/>
          <a:lstStyle/>
          <a:p>
            <a:r>
              <a:rPr lang="fr-FR"/>
              <a:t>GROUPE ADP -                      - DIFFUSION RESTREINTE</a:t>
            </a:r>
          </a:p>
        </p:txBody>
      </p:sp>
      <p:sp>
        <p:nvSpPr>
          <p:cNvPr id="6" name="Espace réservé du numéro de diapositive 5">
            <a:extLst>
              <a:ext uri="{FF2B5EF4-FFF2-40B4-BE49-F238E27FC236}">
                <a16:creationId xmlns:a16="http://schemas.microsoft.com/office/drawing/2014/main" id="{FE65E7CC-C404-61E8-E46C-7F073326748A}"/>
              </a:ext>
            </a:extLst>
          </p:cNvPr>
          <p:cNvSpPr>
            <a:spLocks noGrp="1"/>
          </p:cNvSpPr>
          <p:nvPr>
            <p:ph type="sldNum" sz="quarter" idx="17"/>
          </p:nvPr>
        </p:nvSpPr>
        <p:spPr/>
        <p:txBody>
          <a:bodyPr/>
          <a:lstStyle/>
          <a:p>
            <a:r>
              <a:rPr lang="fr-FR"/>
              <a:t>PAGE </a:t>
            </a:r>
            <a:fld id="{8AF9711C-11F6-40F1-A9C4-511E8DA6BB32}" type="slidenum">
              <a:rPr lang="fr-FR" smtClean="0"/>
              <a:pPr/>
              <a:t>10</a:t>
            </a:fld>
            <a:endParaRPr lang="fr-FR"/>
          </a:p>
        </p:txBody>
      </p:sp>
      <p:sp>
        <p:nvSpPr>
          <p:cNvPr id="7" name="Espace réservé du texte 1">
            <a:extLst>
              <a:ext uri="{FF2B5EF4-FFF2-40B4-BE49-F238E27FC236}">
                <a16:creationId xmlns:a16="http://schemas.microsoft.com/office/drawing/2014/main" id="{541F7092-EA8B-CBEA-A928-2E637629FF40}"/>
              </a:ext>
            </a:extLst>
          </p:cNvPr>
          <p:cNvSpPr txBox="1">
            <a:spLocks/>
          </p:cNvSpPr>
          <p:nvPr/>
        </p:nvSpPr>
        <p:spPr bwMode="gray">
          <a:xfrm>
            <a:off x="4103688" y="3796688"/>
            <a:ext cx="4537075" cy="2160000"/>
          </a:xfrm>
          <a:prstGeom prst="rect">
            <a:avLst/>
          </a:prstGeom>
        </p:spPr>
        <p:txBody>
          <a:bodyPr vert="horz" lIns="0" tIns="0" rIns="0" bIns="0" rtlCol="0" anchor="t" anchorCtr="0">
            <a:noAutofit/>
          </a:bodyPr>
          <a:lstStyle>
            <a:lvl1pPr marL="0" indent="0" algn="ctr" defTabSz="914400" rtl="0" eaLnBrk="1" latinLnBrk="0" hangingPunct="1">
              <a:lnSpc>
                <a:spcPct val="100000"/>
              </a:lnSpc>
              <a:spcBef>
                <a:spcPts val="0"/>
              </a:spcBef>
              <a:spcAft>
                <a:spcPts val="0"/>
              </a:spcAft>
              <a:buClr>
                <a:schemeClr val="accent3"/>
              </a:buClr>
              <a:buSzPct val="90000"/>
              <a:buFont typeface="Wingdings" pitchFamily="2" charset="2"/>
              <a:buNone/>
              <a:defRPr sz="2450" b="1" kern="1200" cap="all" baseline="0">
                <a:solidFill>
                  <a:schemeClr val="accent1"/>
                </a:solidFill>
                <a:latin typeface="+mn-lt"/>
                <a:ea typeface="+mn-ea"/>
                <a:cs typeface="+mn-cs"/>
              </a:defRPr>
            </a:lvl1pPr>
            <a:lvl2pPr marL="360000" indent="-179388" algn="l" defTabSz="914400" rtl="0" eaLnBrk="1" latinLnBrk="0" hangingPunct="1">
              <a:lnSpc>
                <a:spcPct val="110000"/>
              </a:lnSpc>
              <a:spcBef>
                <a:spcPts val="0"/>
              </a:spcBef>
              <a:spcAft>
                <a:spcPts val="600"/>
              </a:spcAft>
              <a:buClr>
                <a:schemeClr val="accent3"/>
              </a:buClr>
              <a:buSzPct val="100000"/>
              <a:buFont typeface="Wingdings 3" panose="05040102010807070707" pitchFamily="18" charset="2"/>
              <a:buChar char=""/>
              <a:defRPr sz="1250" b="1" kern="1200">
                <a:solidFill>
                  <a:schemeClr val="accent1"/>
                </a:solidFill>
                <a:latin typeface="+mn-lt"/>
                <a:ea typeface="+mn-ea"/>
                <a:cs typeface="+mn-cs"/>
              </a:defRPr>
            </a:lvl2pPr>
            <a:lvl3pPr marL="360000" indent="0" algn="just" defTabSz="914400" rtl="0" eaLnBrk="1" latinLnBrk="0" hangingPunct="1">
              <a:lnSpc>
                <a:spcPct val="130000"/>
              </a:lnSpc>
              <a:spcBef>
                <a:spcPts val="0"/>
              </a:spcBef>
              <a:buSzPct val="100000"/>
              <a:buFont typeface="Arial" pitchFamily="34" charset="0"/>
              <a:buNone/>
              <a:defRPr sz="1250" kern="1200">
                <a:solidFill>
                  <a:schemeClr val="tx1"/>
                </a:solidFill>
                <a:latin typeface="+mn-lt"/>
                <a:ea typeface="+mn-ea"/>
                <a:cs typeface="+mn-cs"/>
              </a:defRPr>
            </a:lvl3pPr>
            <a:lvl4pPr marL="540000" indent="-180000" algn="l" defTabSz="914400" rtl="0" eaLnBrk="1" latinLnBrk="0" hangingPunct="1">
              <a:lnSpc>
                <a:spcPct val="120000"/>
              </a:lnSpc>
              <a:spcBef>
                <a:spcPts val="0"/>
              </a:spcBef>
              <a:spcAft>
                <a:spcPts val="400"/>
              </a:spcAft>
              <a:buSzPct val="100000"/>
              <a:buFont typeface="Arial" pitchFamily="34" charset="0"/>
              <a:buChar char="•"/>
              <a:defRPr sz="1250" kern="1200">
                <a:solidFill>
                  <a:schemeClr val="tx1"/>
                </a:solidFill>
                <a:latin typeface="+mn-lt"/>
                <a:ea typeface="+mn-ea"/>
                <a:cs typeface="+mn-cs"/>
              </a:defRPr>
            </a:lvl4pPr>
            <a:lvl5pPr marL="720000" indent="-180000" algn="l" defTabSz="914400" rtl="0" eaLnBrk="1" latinLnBrk="0" hangingPunct="1">
              <a:lnSpc>
                <a:spcPct val="120000"/>
              </a:lnSpc>
              <a:spcBef>
                <a:spcPts val="0"/>
              </a:spcBef>
              <a:spcAft>
                <a:spcPts val="400"/>
              </a:spcAft>
              <a:buSzPct val="100000"/>
              <a:buFont typeface="Wingdings 3" panose="05040102010807070707" pitchFamily="18" charset="2"/>
              <a:buChar char=""/>
              <a:defRPr sz="125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fr-FR" sz="2000" b="0"/>
          </a:p>
        </p:txBody>
      </p:sp>
    </p:spTree>
    <p:extLst>
      <p:ext uri="{BB962C8B-B14F-4D97-AF65-F5344CB8AC3E}">
        <p14:creationId xmlns:p14="http://schemas.microsoft.com/office/powerpoint/2010/main" val="4588611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e la date 4">
            <a:extLst>
              <a:ext uri="{FF2B5EF4-FFF2-40B4-BE49-F238E27FC236}">
                <a16:creationId xmlns:a16="http://schemas.microsoft.com/office/drawing/2014/main" id="{0B1B4B8E-6FB4-72EE-08B1-274AD18909E1}"/>
              </a:ext>
            </a:extLst>
          </p:cNvPr>
          <p:cNvSpPr>
            <a:spLocks noGrp="1"/>
          </p:cNvSpPr>
          <p:nvPr>
            <p:ph type="dt" sz="half" idx="10"/>
          </p:nvPr>
        </p:nvSpPr>
        <p:spPr/>
        <p:txBody>
          <a:bodyPr/>
          <a:lstStyle/>
          <a:p>
            <a:fld id="{9728A8E0-CAF3-46D4-8E2D-4456E50C98FA}" type="datetime1">
              <a:rPr lang="fr-FR" smtClean="0"/>
              <a:t>11/05/2023</a:t>
            </a:fld>
            <a:endParaRPr lang="fr-FR"/>
          </a:p>
        </p:txBody>
      </p:sp>
      <p:sp>
        <p:nvSpPr>
          <p:cNvPr id="6" name="Espace réservé du pied de page 5">
            <a:extLst>
              <a:ext uri="{FF2B5EF4-FFF2-40B4-BE49-F238E27FC236}">
                <a16:creationId xmlns:a16="http://schemas.microsoft.com/office/drawing/2014/main" id="{B6DC767A-2C13-C7A7-B9CB-97146B0296BD}"/>
              </a:ext>
            </a:extLst>
          </p:cNvPr>
          <p:cNvSpPr>
            <a:spLocks noGrp="1"/>
          </p:cNvSpPr>
          <p:nvPr>
            <p:ph type="ftr" sz="quarter" idx="11"/>
          </p:nvPr>
        </p:nvSpPr>
        <p:spPr/>
        <p:txBody>
          <a:bodyPr/>
          <a:lstStyle/>
          <a:p>
            <a:r>
              <a:rPr lang="fr-FR"/>
              <a:t>GROUPE ADP -                      - DIFFUSION RESTREINTE</a:t>
            </a:r>
          </a:p>
        </p:txBody>
      </p:sp>
      <p:sp>
        <p:nvSpPr>
          <p:cNvPr id="7" name="Espace réservé du numéro de diapositive 6">
            <a:extLst>
              <a:ext uri="{FF2B5EF4-FFF2-40B4-BE49-F238E27FC236}">
                <a16:creationId xmlns:a16="http://schemas.microsoft.com/office/drawing/2014/main" id="{C1AD85BA-3574-9E13-3B0E-0520E2242CE1}"/>
              </a:ext>
            </a:extLst>
          </p:cNvPr>
          <p:cNvSpPr>
            <a:spLocks noGrp="1"/>
          </p:cNvSpPr>
          <p:nvPr>
            <p:ph type="sldNum" sz="quarter" idx="12"/>
          </p:nvPr>
        </p:nvSpPr>
        <p:spPr/>
        <p:txBody>
          <a:bodyPr/>
          <a:lstStyle/>
          <a:p>
            <a:r>
              <a:rPr lang="fr-FR"/>
              <a:t>PAGE </a:t>
            </a:r>
            <a:fld id="{8AF9711C-11F6-40F1-A9C4-511E8DA6BB32}" type="slidenum">
              <a:rPr lang="fr-FR" smtClean="0"/>
              <a:pPr/>
              <a:t>11</a:t>
            </a:fld>
            <a:endParaRPr lang="fr-FR"/>
          </a:p>
        </p:txBody>
      </p:sp>
      <p:sp>
        <p:nvSpPr>
          <p:cNvPr id="8" name="Titre 7">
            <a:extLst>
              <a:ext uri="{FF2B5EF4-FFF2-40B4-BE49-F238E27FC236}">
                <a16:creationId xmlns:a16="http://schemas.microsoft.com/office/drawing/2014/main" id="{5024E53D-FEDB-2B77-67DD-88DF9C85FF0E}"/>
              </a:ext>
            </a:extLst>
          </p:cNvPr>
          <p:cNvSpPr>
            <a:spLocks noGrp="1"/>
          </p:cNvSpPr>
          <p:nvPr>
            <p:ph type="title"/>
          </p:nvPr>
        </p:nvSpPr>
        <p:spPr/>
        <p:txBody>
          <a:bodyPr/>
          <a:lstStyle/>
          <a:p>
            <a:r>
              <a:rPr lang="fr-FR" dirty="0"/>
              <a:t>CI/CD - Cible</a:t>
            </a:r>
          </a:p>
        </p:txBody>
      </p:sp>
    </p:spTree>
    <p:extLst>
      <p:ext uri="{BB962C8B-B14F-4D97-AF65-F5344CB8AC3E}">
        <p14:creationId xmlns:p14="http://schemas.microsoft.com/office/powerpoint/2010/main" val="26697558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82FF104E-E965-B835-81E1-D7C030DAC987}"/>
              </a:ext>
            </a:extLst>
          </p:cNvPr>
          <p:cNvSpPr>
            <a:spLocks noGrp="1"/>
          </p:cNvSpPr>
          <p:nvPr>
            <p:ph type="body" sz="quarter" idx="13"/>
          </p:nvPr>
        </p:nvSpPr>
        <p:spPr>
          <a:xfrm>
            <a:off x="4103688" y="3428999"/>
            <a:ext cx="4537075" cy="360000"/>
          </a:xfrm>
        </p:spPr>
        <p:txBody>
          <a:bodyPr/>
          <a:lstStyle/>
          <a:p>
            <a:r>
              <a:rPr lang="fr-FR" dirty="0"/>
              <a:t>Services IAC &amp; automatisation</a:t>
            </a:r>
          </a:p>
        </p:txBody>
      </p:sp>
      <p:sp>
        <p:nvSpPr>
          <p:cNvPr id="3" name="Titre 2">
            <a:extLst>
              <a:ext uri="{FF2B5EF4-FFF2-40B4-BE49-F238E27FC236}">
                <a16:creationId xmlns:a16="http://schemas.microsoft.com/office/drawing/2014/main" id="{F59F7E39-85B3-DB9D-0007-F51E852208A8}"/>
              </a:ext>
            </a:extLst>
          </p:cNvPr>
          <p:cNvSpPr>
            <a:spLocks noGrp="1"/>
          </p:cNvSpPr>
          <p:nvPr>
            <p:ph type="title"/>
          </p:nvPr>
        </p:nvSpPr>
        <p:spPr/>
        <p:txBody>
          <a:bodyPr/>
          <a:lstStyle/>
          <a:p>
            <a:r>
              <a:rPr lang="fr-FR" dirty="0"/>
              <a:t>05</a:t>
            </a:r>
          </a:p>
        </p:txBody>
      </p:sp>
      <p:sp>
        <p:nvSpPr>
          <p:cNvPr id="4" name="Espace réservé de la date 3">
            <a:extLst>
              <a:ext uri="{FF2B5EF4-FFF2-40B4-BE49-F238E27FC236}">
                <a16:creationId xmlns:a16="http://schemas.microsoft.com/office/drawing/2014/main" id="{D0F418A0-AA3C-76FF-6981-5ED678AB39E2}"/>
              </a:ext>
            </a:extLst>
          </p:cNvPr>
          <p:cNvSpPr>
            <a:spLocks noGrp="1"/>
          </p:cNvSpPr>
          <p:nvPr>
            <p:ph type="dt" sz="half" idx="15"/>
          </p:nvPr>
        </p:nvSpPr>
        <p:spPr/>
        <p:txBody>
          <a:bodyPr/>
          <a:lstStyle/>
          <a:p>
            <a:fld id="{D09541FD-5B6B-4BF6-8C89-AE8A3BC611FB}" type="datetime1">
              <a:rPr lang="fr-FR" smtClean="0"/>
              <a:t>11/05/2023</a:t>
            </a:fld>
            <a:endParaRPr lang="fr-FR"/>
          </a:p>
        </p:txBody>
      </p:sp>
      <p:sp>
        <p:nvSpPr>
          <p:cNvPr id="5" name="Espace réservé du pied de page 4">
            <a:extLst>
              <a:ext uri="{FF2B5EF4-FFF2-40B4-BE49-F238E27FC236}">
                <a16:creationId xmlns:a16="http://schemas.microsoft.com/office/drawing/2014/main" id="{BEADD8FD-D71F-2402-2896-47EDF853F055}"/>
              </a:ext>
            </a:extLst>
          </p:cNvPr>
          <p:cNvSpPr>
            <a:spLocks noGrp="1"/>
          </p:cNvSpPr>
          <p:nvPr>
            <p:ph type="ftr" sz="quarter" idx="16"/>
          </p:nvPr>
        </p:nvSpPr>
        <p:spPr/>
        <p:txBody>
          <a:bodyPr/>
          <a:lstStyle/>
          <a:p>
            <a:r>
              <a:rPr lang="fr-FR"/>
              <a:t>GROUPE ADP -                      - DIFFUSION RESTREINTE</a:t>
            </a:r>
          </a:p>
        </p:txBody>
      </p:sp>
      <p:sp>
        <p:nvSpPr>
          <p:cNvPr id="6" name="Espace réservé du numéro de diapositive 5">
            <a:extLst>
              <a:ext uri="{FF2B5EF4-FFF2-40B4-BE49-F238E27FC236}">
                <a16:creationId xmlns:a16="http://schemas.microsoft.com/office/drawing/2014/main" id="{FE65E7CC-C404-61E8-E46C-7F073326748A}"/>
              </a:ext>
            </a:extLst>
          </p:cNvPr>
          <p:cNvSpPr>
            <a:spLocks noGrp="1"/>
          </p:cNvSpPr>
          <p:nvPr>
            <p:ph type="sldNum" sz="quarter" idx="17"/>
          </p:nvPr>
        </p:nvSpPr>
        <p:spPr/>
        <p:txBody>
          <a:bodyPr/>
          <a:lstStyle/>
          <a:p>
            <a:r>
              <a:rPr lang="fr-FR"/>
              <a:t>PAGE </a:t>
            </a:r>
            <a:fld id="{8AF9711C-11F6-40F1-A9C4-511E8DA6BB32}" type="slidenum">
              <a:rPr lang="fr-FR" smtClean="0"/>
              <a:pPr/>
              <a:t>12</a:t>
            </a:fld>
            <a:endParaRPr lang="fr-FR"/>
          </a:p>
        </p:txBody>
      </p:sp>
      <p:sp>
        <p:nvSpPr>
          <p:cNvPr id="7" name="Espace réservé du texte 1">
            <a:extLst>
              <a:ext uri="{FF2B5EF4-FFF2-40B4-BE49-F238E27FC236}">
                <a16:creationId xmlns:a16="http://schemas.microsoft.com/office/drawing/2014/main" id="{541F7092-EA8B-CBEA-A928-2E637629FF40}"/>
              </a:ext>
            </a:extLst>
          </p:cNvPr>
          <p:cNvSpPr txBox="1">
            <a:spLocks/>
          </p:cNvSpPr>
          <p:nvPr/>
        </p:nvSpPr>
        <p:spPr bwMode="gray">
          <a:xfrm>
            <a:off x="4103688" y="3796688"/>
            <a:ext cx="4537075" cy="2160000"/>
          </a:xfrm>
          <a:prstGeom prst="rect">
            <a:avLst/>
          </a:prstGeom>
        </p:spPr>
        <p:txBody>
          <a:bodyPr vert="horz" lIns="0" tIns="0" rIns="0" bIns="0" rtlCol="0" anchor="t" anchorCtr="0">
            <a:noAutofit/>
          </a:bodyPr>
          <a:lstStyle>
            <a:lvl1pPr marL="0" indent="0" algn="ctr" defTabSz="914400" rtl="0" eaLnBrk="1" latinLnBrk="0" hangingPunct="1">
              <a:lnSpc>
                <a:spcPct val="100000"/>
              </a:lnSpc>
              <a:spcBef>
                <a:spcPts val="0"/>
              </a:spcBef>
              <a:spcAft>
                <a:spcPts val="0"/>
              </a:spcAft>
              <a:buClr>
                <a:schemeClr val="accent3"/>
              </a:buClr>
              <a:buSzPct val="90000"/>
              <a:buFont typeface="Wingdings" pitchFamily="2" charset="2"/>
              <a:buNone/>
              <a:defRPr sz="2450" b="1" kern="1200" cap="all" baseline="0">
                <a:solidFill>
                  <a:schemeClr val="accent1"/>
                </a:solidFill>
                <a:latin typeface="+mn-lt"/>
                <a:ea typeface="+mn-ea"/>
                <a:cs typeface="+mn-cs"/>
              </a:defRPr>
            </a:lvl1pPr>
            <a:lvl2pPr marL="360000" indent="-179388" algn="l" defTabSz="914400" rtl="0" eaLnBrk="1" latinLnBrk="0" hangingPunct="1">
              <a:lnSpc>
                <a:spcPct val="110000"/>
              </a:lnSpc>
              <a:spcBef>
                <a:spcPts val="0"/>
              </a:spcBef>
              <a:spcAft>
                <a:spcPts val="600"/>
              </a:spcAft>
              <a:buClr>
                <a:schemeClr val="accent3"/>
              </a:buClr>
              <a:buSzPct val="100000"/>
              <a:buFont typeface="Wingdings 3" panose="05040102010807070707" pitchFamily="18" charset="2"/>
              <a:buChar char=""/>
              <a:defRPr sz="1250" b="1" kern="1200">
                <a:solidFill>
                  <a:schemeClr val="accent1"/>
                </a:solidFill>
                <a:latin typeface="+mn-lt"/>
                <a:ea typeface="+mn-ea"/>
                <a:cs typeface="+mn-cs"/>
              </a:defRPr>
            </a:lvl2pPr>
            <a:lvl3pPr marL="360000" indent="0" algn="just" defTabSz="914400" rtl="0" eaLnBrk="1" latinLnBrk="0" hangingPunct="1">
              <a:lnSpc>
                <a:spcPct val="130000"/>
              </a:lnSpc>
              <a:spcBef>
                <a:spcPts val="0"/>
              </a:spcBef>
              <a:buSzPct val="100000"/>
              <a:buFont typeface="Arial" pitchFamily="34" charset="0"/>
              <a:buNone/>
              <a:defRPr sz="1250" kern="1200">
                <a:solidFill>
                  <a:schemeClr val="tx1"/>
                </a:solidFill>
                <a:latin typeface="+mn-lt"/>
                <a:ea typeface="+mn-ea"/>
                <a:cs typeface="+mn-cs"/>
              </a:defRPr>
            </a:lvl3pPr>
            <a:lvl4pPr marL="540000" indent="-180000" algn="l" defTabSz="914400" rtl="0" eaLnBrk="1" latinLnBrk="0" hangingPunct="1">
              <a:lnSpc>
                <a:spcPct val="120000"/>
              </a:lnSpc>
              <a:spcBef>
                <a:spcPts val="0"/>
              </a:spcBef>
              <a:spcAft>
                <a:spcPts val="400"/>
              </a:spcAft>
              <a:buSzPct val="100000"/>
              <a:buFont typeface="Arial" pitchFamily="34" charset="0"/>
              <a:buChar char="•"/>
              <a:defRPr sz="1250" kern="1200">
                <a:solidFill>
                  <a:schemeClr val="tx1"/>
                </a:solidFill>
                <a:latin typeface="+mn-lt"/>
                <a:ea typeface="+mn-ea"/>
                <a:cs typeface="+mn-cs"/>
              </a:defRPr>
            </a:lvl4pPr>
            <a:lvl5pPr marL="720000" indent="-180000" algn="l" defTabSz="914400" rtl="0" eaLnBrk="1" latinLnBrk="0" hangingPunct="1">
              <a:lnSpc>
                <a:spcPct val="120000"/>
              </a:lnSpc>
              <a:spcBef>
                <a:spcPts val="0"/>
              </a:spcBef>
              <a:spcAft>
                <a:spcPts val="400"/>
              </a:spcAft>
              <a:buSzPct val="100000"/>
              <a:buFont typeface="Wingdings 3" panose="05040102010807070707" pitchFamily="18" charset="2"/>
              <a:buChar char=""/>
              <a:defRPr sz="125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fr-FR" sz="2000" b="0"/>
          </a:p>
        </p:txBody>
      </p:sp>
    </p:spTree>
    <p:extLst>
      <p:ext uri="{BB962C8B-B14F-4D97-AF65-F5344CB8AC3E}">
        <p14:creationId xmlns:p14="http://schemas.microsoft.com/office/powerpoint/2010/main" val="19474378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e la date 4">
            <a:extLst>
              <a:ext uri="{FF2B5EF4-FFF2-40B4-BE49-F238E27FC236}">
                <a16:creationId xmlns:a16="http://schemas.microsoft.com/office/drawing/2014/main" id="{0B1B4B8E-6FB4-72EE-08B1-274AD18909E1}"/>
              </a:ext>
            </a:extLst>
          </p:cNvPr>
          <p:cNvSpPr>
            <a:spLocks noGrp="1"/>
          </p:cNvSpPr>
          <p:nvPr>
            <p:ph type="dt" sz="half" idx="10"/>
          </p:nvPr>
        </p:nvSpPr>
        <p:spPr/>
        <p:txBody>
          <a:bodyPr/>
          <a:lstStyle/>
          <a:p>
            <a:fld id="{9728A8E0-CAF3-46D4-8E2D-4456E50C98FA}" type="datetime1">
              <a:rPr lang="fr-FR" smtClean="0"/>
              <a:t>11/05/2023</a:t>
            </a:fld>
            <a:endParaRPr lang="fr-FR"/>
          </a:p>
        </p:txBody>
      </p:sp>
      <p:sp>
        <p:nvSpPr>
          <p:cNvPr id="6" name="Espace réservé du pied de page 5">
            <a:extLst>
              <a:ext uri="{FF2B5EF4-FFF2-40B4-BE49-F238E27FC236}">
                <a16:creationId xmlns:a16="http://schemas.microsoft.com/office/drawing/2014/main" id="{B6DC767A-2C13-C7A7-B9CB-97146B0296BD}"/>
              </a:ext>
            </a:extLst>
          </p:cNvPr>
          <p:cNvSpPr>
            <a:spLocks noGrp="1"/>
          </p:cNvSpPr>
          <p:nvPr>
            <p:ph type="ftr" sz="quarter" idx="11"/>
          </p:nvPr>
        </p:nvSpPr>
        <p:spPr/>
        <p:txBody>
          <a:bodyPr/>
          <a:lstStyle/>
          <a:p>
            <a:r>
              <a:rPr lang="fr-FR"/>
              <a:t>GROUPE ADP -                      - DIFFUSION RESTREINTE</a:t>
            </a:r>
          </a:p>
        </p:txBody>
      </p:sp>
      <p:sp>
        <p:nvSpPr>
          <p:cNvPr id="7" name="Espace réservé du numéro de diapositive 6">
            <a:extLst>
              <a:ext uri="{FF2B5EF4-FFF2-40B4-BE49-F238E27FC236}">
                <a16:creationId xmlns:a16="http://schemas.microsoft.com/office/drawing/2014/main" id="{C1AD85BA-3574-9E13-3B0E-0520E2242CE1}"/>
              </a:ext>
            </a:extLst>
          </p:cNvPr>
          <p:cNvSpPr>
            <a:spLocks noGrp="1"/>
          </p:cNvSpPr>
          <p:nvPr>
            <p:ph type="sldNum" sz="quarter" idx="12"/>
          </p:nvPr>
        </p:nvSpPr>
        <p:spPr/>
        <p:txBody>
          <a:bodyPr/>
          <a:lstStyle/>
          <a:p>
            <a:r>
              <a:rPr lang="fr-FR"/>
              <a:t>PAGE </a:t>
            </a:r>
            <a:fld id="{8AF9711C-11F6-40F1-A9C4-511E8DA6BB32}" type="slidenum">
              <a:rPr lang="fr-FR" smtClean="0"/>
              <a:pPr/>
              <a:t>13</a:t>
            </a:fld>
            <a:endParaRPr lang="fr-FR"/>
          </a:p>
        </p:txBody>
      </p:sp>
      <p:sp>
        <p:nvSpPr>
          <p:cNvPr id="8" name="Titre 7">
            <a:extLst>
              <a:ext uri="{FF2B5EF4-FFF2-40B4-BE49-F238E27FC236}">
                <a16:creationId xmlns:a16="http://schemas.microsoft.com/office/drawing/2014/main" id="{5024E53D-FEDB-2B77-67DD-88DF9C85FF0E}"/>
              </a:ext>
            </a:extLst>
          </p:cNvPr>
          <p:cNvSpPr>
            <a:spLocks noGrp="1"/>
          </p:cNvSpPr>
          <p:nvPr>
            <p:ph type="title"/>
          </p:nvPr>
        </p:nvSpPr>
        <p:spPr/>
        <p:txBody>
          <a:bodyPr/>
          <a:lstStyle/>
          <a:p>
            <a:r>
              <a:rPr lang="fr-FR" dirty="0"/>
              <a:t>Services </a:t>
            </a:r>
            <a:r>
              <a:rPr lang="fr-FR" dirty="0" err="1"/>
              <a:t>iac</a:t>
            </a:r>
            <a:endParaRPr lang="fr-FR" dirty="0"/>
          </a:p>
        </p:txBody>
      </p:sp>
      <p:sp>
        <p:nvSpPr>
          <p:cNvPr id="2" name="Espace réservé du contenu 8">
            <a:extLst>
              <a:ext uri="{FF2B5EF4-FFF2-40B4-BE49-F238E27FC236}">
                <a16:creationId xmlns:a16="http://schemas.microsoft.com/office/drawing/2014/main" id="{8B3CC45E-6263-C8E2-76E5-AD4245C6C17C}"/>
              </a:ext>
            </a:extLst>
          </p:cNvPr>
          <p:cNvSpPr txBox="1">
            <a:spLocks/>
          </p:cNvSpPr>
          <p:nvPr/>
        </p:nvSpPr>
        <p:spPr bwMode="gray">
          <a:xfrm>
            <a:off x="503239" y="1581924"/>
            <a:ext cx="7345672" cy="4475976"/>
          </a:xfrm>
          <a:prstGeom prst="rect">
            <a:avLst/>
          </a:prstGeom>
        </p:spPr>
        <p:txBody>
          <a:bodyPr vert="horz" lIns="0" tIns="0" rIns="0" bIns="0" rtlCol="0" anchor="t" anchorCtr="0">
            <a:noAutofit/>
          </a:bodyPr>
          <a:lstStyle>
            <a:lvl1pPr marL="180000" indent="-180000" algn="l" defTabSz="914400" rtl="0" eaLnBrk="1" latinLnBrk="0" hangingPunct="1">
              <a:lnSpc>
                <a:spcPct val="110000"/>
              </a:lnSpc>
              <a:spcBef>
                <a:spcPts val="0"/>
              </a:spcBef>
              <a:spcAft>
                <a:spcPts val="600"/>
              </a:spcAft>
              <a:buClr>
                <a:schemeClr val="accent3"/>
              </a:buClr>
              <a:buSzPct val="90000"/>
              <a:buFont typeface="Wingdings" pitchFamily="2" charset="2"/>
              <a:buChar char=""/>
              <a:defRPr sz="1250" b="1" kern="1200">
                <a:solidFill>
                  <a:schemeClr val="accent1"/>
                </a:solidFill>
                <a:latin typeface="+mn-lt"/>
                <a:ea typeface="+mn-ea"/>
                <a:cs typeface="+mn-cs"/>
              </a:defRPr>
            </a:lvl1pPr>
            <a:lvl2pPr marL="360000" indent="-179388" algn="l" defTabSz="914400" rtl="0" eaLnBrk="1" latinLnBrk="0" hangingPunct="1">
              <a:lnSpc>
                <a:spcPct val="110000"/>
              </a:lnSpc>
              <a:spcBef>
                <a:spcPts val="0"/>
              </a:spcBef>
              <a:spcAft>
                <a:spcPts val="600"/>
              </a:spcAft>
              <a:buClr>
                <a:schemeClr val="accent3"/>
              </a:buClr>
              <a:buSzPct val="100000"/>
              <a:buFont typeface="Wingdings 3" panose="05040102010807070707" pitchFamily="18" charset="2"/>
              <a:buChar char=""/>
              <a:defRPr sz="1250" b="1" kern="1200">
                <a:solidFill>
                  <a:schemeClr val="accent1"/>
                </a:solidFill>
                <a:latin typeface="+mn-lt"/>
                <a:ea typeface="+mn-ea"/>
                <a:cs typeface="+mn-cs"/>
              </a:defRPr>
            </a:lvl2pPr>
            <a:lvl3pPr marL="360000" indent="0" algn="just" defTabSz="914400" rtl="0" eaLnBrk="1" latinLnBrk="0" hangingPunct="1">
              <a:lnSpc>
                <a:spcPct val="130000"/>
              </a:lnSpc>
              <a:spcBef>
                <a:spcPts val="0"/>
              </a:spcBef>
              <a:buSzPct val="100000"/>
              <a:buFont typeface="Arial" pitchFamily="34" charset="0"/>
              <a:buNone/>
              <a:defRPr sz="1250" kern="1200">
                <a:solidFill>
                  <a:schemeClr val="tx1"/>
                </a:solidFill>
                <a:latin typeface="+mn-lt"/>
                <a:ea typeface="+mn-ea"/>
                <a:cs typeface="+mn-cs"/>
              </a:defRPr>
            </a:lvl3pPr>
            <a:lvl4pPr marL="540000" indent="-180000" algn="l" defTabSz="914400" rtl="0" eaLnBrk="1" latinLnBrk="0" hangingPunct="1">
              <a:lnSpc>
                <a:spcPct val="120000"/>
              </a:lnSpc>
              <a:spcBef>
                <a:spcPts val="0"/>
              </a:spcBef>
              <a:spcAft>
                <a:spcPts val="400"/>
              </a:spcAft>
              <a:buSzPct val="100000"/>
              <a:buFont typeface="Arial" pitchFamily="34" charset="0"/>
              <a:buChar char="•"/>
              <a:defRPr sz="1250" kern="1200" baseline="0">
                <a:solidFill>
                  <a:schemeClr val="tx1"/>
                </a:solidFill>
                <a:latin typeface="+mn-lt"/>
                <a:ea typeface="+mn-ea"/>
                <a:cs typeface="+mn-cs"/>
              </a:defRPr>
            </a:lvl4pPr>
            <a:lvl5pPr marL="720000" indent="-180000" algn="l" defTabSz="914400" rtl="0" eaLnBrk="1" latinLnBrk="0" hangingPunct="1">
              <a:lnSpc>
                <a:spcPct val="120000"/>
              </a:lnSpc>
              <a:spcBef>
                <a:spcPts val="0"/>
              </a:spcBef>
              <a:spcAft>
                <a:spcPts val="400"/>
              </a:spcAft>
              <a:buSzPct val="100000"/>
              <a:buFont typeface="Wingdings 3" panose="05040102010807070707" pitchFamily="18" charset="2"/>
              <a:buChar char=""/>
              <a:defRPr sz="125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Font typeface="Wingdings" pitchFamily="2" charset="2"/>
              <a:buNone/>
            </a:pPr>
            <a:r>
              <a:rPr lang="fr-FR" sz="1400" dirty="0"/>
              <a:t>Des services IAC sont mis à disposition pour automatiser le déploiement des projets Azure DevOps :</a:t>
            </a:r>
          </a:p>
          <a:p>
            <a:pPr>
              <a:lnSpc>
                <a:spcPct val="100000"/>
              </a:lnSpc>
            </a:pPr>
            <a:r>
              <a:rPr lang="fr-FR" sz="1400" b="0" dirty="0"/>
              <a:t>Mise en place d’une configuration </a:t>
            </a:r>
            <a:r>
              <a:rPr lang="fr-FR" sz="1400" b="0" dirty="0" err="1"/>
              <a:t>terraform</a:t>
            </a:r>
            <a:r>
              <a:rPr lang="fr-FR" sz="1400" b="0" dirty="0"/>
              <a:t> permettant de déployer un projet Azure DevOps regroupant toutes les bonnes pratiques mises en place dans le cadre de la gouvernance.</a:t>
            </a:r>
          </a:p>
          <a:p>
            <a:pPr marL="0" indent="0">
              <a:lnSpc>
                <a:spcPct val="100000"/>
              </a:lnSpc>
              <a:buNone/>
            </a:pPr>
            <a:endParaRPr lang="fr-FR" sz="1400" b="0" dirty="0"/>
          </a:p>
          <a:p>
            <a:pPr marL="0" indent="0">
              <a:lnSpc>
                <a:spcPct val="100000"/>
              </a:lnSpc>
              <a:buNone/>
            </a:pPr>
            <a:endParaRPr lang="fr-FR" sz="1400" b="0" dirty="0"/>
          </a:p>
          <a:p>
            <a:pPr marL="0" indent="0">
              <a:lnSpc>
                <a:spcPct val="100000"/>
              </a:lnSpc>
              <a:buNone/>
            </a:pPr>
            <a:endParaRPr lang="fr-FR" sz="1400" b="0" dirty="0"/>
          </a:p>
          <a:p>
            <a:pPr>
              <a:lnSpc>
                <a:spcPct val="100000"/>
              </a:lnSpc>
            </a:pPr>
            <a:r>
              <a:rPr lang="fr-FR" sz="1400" b="0" dirty="0"/>
              <a:t>Une Chaine CI/CD est mise en place pour automatiser de déploiement de l’IAC via du </a:t>
            </a:r>
            <a:r>
              <a:rPr lang="fr-FR" sz="1400" b="0" dirty="0" err="1"/>
              <a:t>terraform</a:t>
            </a:r>
            <a:r>
              <a:rPr lang="fr-FR" sz="1400" b="0" dirty="0"/>
              <a:t> vers le portail azure ainsi que le déploiement de projets Azure DevOps. </a:t>
            </a:r>
          </a:p>
        </p:txBody>
      </p:sp>
      <p:sp>
        <p:nvSpPr>
          <p:cNvPr id="3" name="Titre 7">
            <a:extLst>
              <a:ext uri="{FF2B5EF4-FFF2-40B4-BE49-F238E27FC236}">
                <a16:creationId xmlns:a16="http://schemas.microsoft.com/office/drawing/2014/main" id="{80DE93A0-CD68-82EE-7D7A-C92EC8D77C3C}"/>
              </a:ext>
            </a:extLst>
          </p:cNvPr>
          <p:cNvSpPr txBox="1">
            <a:spLocks/>
          </p:cNvSpPr>
          <p:nvPr/>
        </p:nvSpPr>
        <p:spPr bwMode="gray">
          <a:xfrm>
            <a:off x="503237" y="2941426"/>
            <a:ext cx="8137524" cy="649288"/>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1600" b="1" kern="1200" cap="all" baseline="0">
                <a:solidFill>
                  <a:schemeClr val="accent1"/>
                </a:solidFill>
                <a:latin typeface="+mj-lt"/>
                <a:ea typeface="+mj-ea"/>
                <a:cs typeface="+mj-cs"/>
              </a:defRPr>
            </a:lvl1pPr>
          </a:lstStyle>
          <a:p>
            <a:r>
              <a:rPr lang="fr-FR" dirty="0"/>
              <a:t>Automatisation</a:t>
            </a:r>
          </a:p>
        </p:txBody>
      </p:sp>
    </p:spTree>
    <p:extLst>
      <p:ext uri="{BB962C8B-B14F-4D97-AF65-F5344CB8AC3E}">
        <p14:creationId xmlns:p14="http://schemas.microsoft.com/office/powerpoint/2010/main" val="103099740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Espace réservé du contenu 8">
            <a:extLst>
              <a:ext uri="{FF2B5EF4-FFF2-40B4-BE49-F238E27FC236}">
                <a16:creationId xmlns:a16="http://schemas.microsoft.com/office/drawing/2014/main" id="{8F9A8C7B-0110-014D-C57D-D9247DC77DDB}"/>
              </a:ext>
            </a:extLst>
          </p:cNvPr>
          <p:cNvSpPr>
            <a:spLocks noGrp="1"/>
          </p:cNvSpPr>
          <p:nvPr>
            <p:ph idx="1"/>
          </p:nvPr>
        </p:nvSpPr>
        <p:spPr/>
        <p:txBody>
          <a:bodyPr/>
          <a:lstStyle/>
          <a:p>
            <a:pPr marL="342900" indent="-342900">
              <a:lnSpc>
                <a:spcPct val="100000"/>
              </a:lnSpc>
              <a:buFont typeface="+mj-lt"/>
              <a:buAutoNum type="arabicPeriod"/>
            </a:pPr>
            <a:r>
              <a:rPr lang="fr-FR" sz="1800" b="0" dirty="0"/>
              <a:t>Introduction</a:t>
            </a:r>
          </a:p>
          <a:p>
            <a:pPr marL="342900" indent="-342900">
              <a:lnSpc>
                <a:spcPct val="100000"/>
              </a:lnSpc>
              <a:buFont typeface="+mj-lt"/>
              <a:buAutoNum type="arabicPeriod"/>
            </a:pPr>
            <a:r>
              <a:rPr lang="fr-FR" sz="1800" b="0" dirty="0"/>
              <a:t>CI/CD Actuelle</a:t>
            </a:r>
          </a:p>
          <a:p>
            <a:pPr marL="342900" indent="-342900">
              <a:lnSpc>
                <a:spcPct val="100000"/>
              </a:lnSpc>
              <a:buFont typeface="+mj-lt"/>
              <a:buAutoNum type="arabicPeriod"/>
            </a:pPr>
            <a:r>
              <a:rPr lang="fr-FR" sz="1800" b="0" dirty="0"/>
              <a:t>CI/CD fin 2023</a:t>
            </a:r>
          </a:p>
          <a:p>
            <a:pPr marL="342900" indent="-342900">
              <a:lnSpc>
                <a:spcPct val="100000"/>
              </a:lnSpc>
              <a:buFont typeface="+mj-lt"/>
              <a:buAutoNum type="arabicPeriod"/>
            </a:pPr>
            <a:r>
              <a:rPr lang="fr-FR" sz="1800" b="0" dirty="0"/>
              <a:t>CI/CD Cible</a:t>
            </a:r>
          </a:p>
          <a:p>
            <a:pPr marL="342900" indent="-342900">
              <a:lnSpc>
                <a:spcPct val="100000"/>
              </a:lnSpc>
              <a:buFont typeface="+mj-lt"/>
              <a:buAutoNum type="arabicPeriod"/>
            </a:pPr>
            <a:r>
              <a:rPr lang="fr-FR" sz="1800" b="0" dirty="0"/>
              <a:t>Services IAC &amp; autre automatisation </a:t>
            </a:r>
          </a:p>
          <a:p>
            <a:pPr marL="0" indent="0">
              <a:lnSpc>
                <a:spcPct val="100000"/>
              </a:lnSpc>
              <a:buNone/>
            </a:pPr>
            <a:endParaRPr lang="fr-FR" sz="1800" b="0" dirty="0"/>
          </a:p>
        </p:txBody>
      </p:sp>
      <p:sp>
        <p:nvSpPr>
          <p:cNvPr id="5" name="Espace réservé de la date 4">
            <a:extLst>
              <a:ext uri="{FF2B5EF4-FFF2-40B4-BE49-F238E27FC236}">
                <a16:creationId xmlns:a16="http://schemas.microsoft.com/office/drawing/2014/main" id="{0B1B4B8E-6FB4-72EE-08B1-274AD18909E1}"/>
              </a:ext>
            </a:extLst>
          </p:cNvPr>
          <p:cNvSpPr>
            <a:spLocks noGrp="1"/>
          </p:cNvSpPr>
          <p:nvPr>
            <p:ph type="dt" sz="half" idx="10"/>
          </p:nvPr>
        </p:nvSpPr>
        <p:spPr/>
        <p:txBody>
          <a:bodyPr/>
          <a:lstStyle/>
          <a:p>
            <a:fld id="{9728A8E0-CAF3-46D4-8E2D-4456E50C98FA}" type="datetime1">
              <a:rPr lang="fr-FR" smtClean="0"/>
              <a:t>11/05/2023</a:t>
            </a:fld>
            <a:endParaRPr lang="fr-FR"/>
          </a:p>
        </p:txBody>
      </p:sp>
      <p:sp>
        <p:nvSpPr>
          <p:cNvPr id="6" name="Espace réservé du pied de page 5">
            <a:extLst>
              <a:ext uri="{FF2B5EF4-FFF2-40B4-BE49-F238E27FC236}">
                <a16:creationId xmlns:a16="http://schemas.microsoft.com/office/drawing/2014/main" id="{B6DC767A-2C13-C7A7-B9CB-97146B0296BD}"/>
              </a:ext>
            </a:extLst>
          </p:cNvPr>
          <p:cNvSpPr>
            <a:spLocks noGrp="1"/>
          </p:cNvSpPr>
          <p:nvPr>
            <p:ph type="ftr" sz="quarter" idx="11"/>
          </p:nvPr>
        </p:nvSpPr>
        <p:spPr/>
        <p:txBody>
          <a:bodyPr/>
          <a:lstStyle/>
          <a:p>
            <a:r>
              <a:rPr lang="fr-FR"/>
              <a:t>GROUPE ADP -                      - DIFFUSION RESTREINTE</a:t>
            </a:r>
          </a:p>
        </p:txBody>
      </p:sp>
      <p:sp>
        <p:nvSpPr>
          <p:cNvPr id="7" name="Espace réservé du numéro de diapositive 6">
            <a:extLst>
              <a:ext uri="{FF2B5EF4-FFF2-40B4-BE49-F238E27FC236}">
                <a16:creationId xmlns:a16="http://schemas.microsoft.com/office/drawing/2014/main" id="{C1AD85BA-3574-9E13-3B0E-0520E2242CE1}"/>
              </a:ext>
            </a:extLst>
          </p:cNvPr>
          <p:cNvSpPr>
            <a:spLocks noGrp="1"/>
          </p:cNvSpPr>
          <p:nvPr>
            <p:ph type="sldNum" sz="quarter" idx="12"/>
          </p:nvPr>
        </p:nvSpPr>
        <p:spPr/>
        <p:txBody>
          <a:bodyPr/>
          <a:lstStyle/>
          <a:p>
            <a:r>
              <a:rPr lang="fr-FR"/>
              <a:t>PAGE </a:t>
            </a:r>
            <a:fld id="{8AF9711C-11F6-40F1-A9C4-511E8DA6BB32}" type="slidenum">
              <a:rPr lang="fr-FR" smtClean="0"/>
              <a:pPr/>
              <a:t>2</a:t>
            </a:fld>
            <a:endParaRPr lang="fr-FR"/>
          </a:p>
        </p:txBody>
      </p:sp>
      <p:sp>
        <p:nvSpPr>
          <p:cNvPr id="8" name="Titre 7">
            <a:extLst>
              <a:ext uri="{FF2B5EF4-FFF2-40B4-BE49-F238E27FC236}">
                <a16:creationId xmlns:a16="http://schemas.microsoft.com/office/drawing/2014/main" id="{5024E53D-FEDB-2B77-67DD-88DF9C85FF0E}"/>
              </a:ext>
            </a:extLst>
          </p:cNvPr>
          <p:cNvSpPr>
            <a:spLocks noGrp="1"/>
          </p:cNvSpPr>
          <p:nvPr>
            <p:ph type="title"/>
          </p:nvPr>
        </p:nvSpPr>
        <p:spPr/>
        <p:txBody>
          <a:bodyPr/>
          <a:lstStyle/>
          <a:p>
            <a:r>
              <a:rPr lang="fr-FR" dirty="0"/>
              <a:t>SOMMAIRE</a:t>
            </a:r>
          </a:p>
        </p:txBody>
      </p:sp>
    </p:spTree>
    <p:extLst>
      <p:ext uri="{BB962C8B-B14F-4D97-AF65-F5344CB8AC3E}">
        <p14:creationId xmlns:p14="http://schemas.microsoft.com/office/powerpoint/2010/main" val="34935578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82FF104E-E965-B835-81E1-D7C030DAC987}"/>
              </a:ext>
            </a:extLst>
          </p:cNvPr>
          <p:cNvSpPr>
            <a:spLocks noGrp="1"/>
          </p:cNvSpPr>
          <p:nvPr>
            <p:ph type="body" sz="quarter" idx="13"/>
          </p:nvPr>
        </p:nvSpPr>
        <p:spPr>
          <a:xfrm>
            <a:off x="4103688" y="3428999"/>
            <a:ext cx="4537075" cy="360000"/>
          </a:xfrm>
        </p:spPr>
        <p:txBody>
          <a:bodyPr/>
          <a:lstStyle/>
          <a:p>
            <a:r>
              <a:rPr lang="fr-FR" dirty="0"/>
              <a:t>Introduction</a:t>
            </a:r>
          </a:p>
        </p:txBody>
      </p:sp>
      <p:sp>
        <p:nvSpPr>
          <p:cNvPr id="3" name="Titre 2">
            <a:extLst>
              <a:ext uri="{FF2B5EF4-FFF2-40B4-BE49-F238E27FC236}">
                <a16:creationId xmlns:a16="http://schemas.microsoft.com/office/drawing/2014/main" id="{F59F7E39-85B3-DB9D-0007-F51E852208A8}"/>
              </a:ext>
            </a:extLst>
          </p:cNvPr>
          <p:cNvSpPr>
            <a:spLocks noGrp="1"/>
          </p:cNvSpPr>
          <p:nvPr>
            <p:ph type="title"/>
          </p:nvPr>
        </p:nvSpPr>
        <p:spPr/>
        <p:txBody>
          <a:bodyPr/>
          <a:lstStyle/>
          <a:p>
            <a:r>
              <a:rPr lang="fr-FR" dirty="0"/>
              <a:t>01</a:t>
            </a:r>
          </a:p>
        </p:txBody>
      </p:sp>
      <p:sp>
        <p:nvSpPr>
          <p:cNvPr id="4" name="Espace réservé de la date 3">
            <a:extLst>
              <a:ext uri="{FF2B5EF4-FFF2-40B4-BE49-F238E27FC236}">
                <a16:creationId xmlns:a16="http://schemas.microsoft.com/office/drawing/2014/main" id="{D0F418A0-AA3C-76FF-6981-5ED678AB39E2}"/>
              </a:ext>
            </a:extLst>
          </p:cNvPr>
          <p:cNvSpPr>
            <a:spLocks noGrp="1"/>
          </p:cNvSpPr>
          <p:nvPr>
            <p:ph type="dt" sz="half" idx="15"/>
          </p:nvPr>
        </p:nvSpPr>
        <p:spPr/>
        <p:txBody>
          <a:bodyPr/>
          <a:lstStyle/>
          <a:p>
            <a:fld id="{D09541FD-5B6B-4BF6-8C89-AE8A3BC611FB}" type="datetime1">
              <a:rPr lang="fr-FR" smtClean="0"/>
              <a:t>11/05/2023</a:t>
            </a:fld>
            <a:endParaRPr lang="fr-FR"/>
          </a:p>
        </p:txBody>
      </p:sp>
      <p:sp>
        <p:nvSpPr>
          <p:cNvPr id="5" name="Espace réservé du pied de page 4">
            <a:extLst>
              <a:ext uri="{FF2B5EF4-FFF2-40B4-BE49-F238E27FC236}">
                <a16:creationId xmlns:a16="http://schemas.microsoft.com/office/drawing/2014/main" id="{BEADD8FD-D71F-2402-2896-47EDF853F055}"/>
              </a:ext>
            </a:extLst>
          </p:cNvPr>
          <p:cNvSpPr>
            <a:spLocks noGrp="1"/>
          </p:cNvSpPr>
          <p:nvPr>
            <p:ph type="ftr" sz="quarter" idx="16"/>
          </p:nvPr>
        </p:nvSpPr>
        <p:spPr/>
        <p:txBody>
          <a:bodyPr/>
          <a:lstStyle/>
          <a:p>
            <a:r>
              <a:rPr lang="fr-FR"/>
              <a:t>GROUPE ADP -                      - DIFFUSION RESTREINTE</a:t>
            </a:r>
          </a:p>
        </p:txBody>
      </p:sp>
      <p:sp>
        <p:nvSpPr>
          <p:cNvPr id="6" name="Espace réservé du numéro de diapositive 5">
            <a:extLst>
              <a:ext uri="{FF2B5EF4-FFF2-40B4-BE49-F238E27FC236}">
                <a16:creationId xmlns:a16="http://schemas.microsoft.com/office/drawing/2014/main" id="{FE65E7CC-C404-61E8-E46C-7F073326748A}"/>
              </a:ext>
            </a:extLst>
          </p:cNvPr>
          <p:cNvSpPr>
            <a:spLocks noGrp="1"/>
          </p:cNvSpPr>
          <p:nvPr>
            <p:ph type="sldNum" sz="quarter" idx="17"/>
          </p:nvPr>
        </p:nvSpPr>
        <p:spPr/>
        <p:txBody>
          <a:bodyPr/>
          <a:lstStyle/>
          <a:p>
            <a:r>
              <a:rPr lang="fr-FR"/>
              <a:t>PAGE </a:t>
            </a:r>
            <a:fld id="{8AF9711C-11F6-40F1-A9C4-511E8DA6BB32}" type="slidenum">
              <a:rPr lang="fr-FR" smtClean="0"/>
              <a:pPr/>
              <a:t>3</a:t>
            </a:fld>
            <a:endParaRPr lang="fr-FR"/>
          </a:p>
        </p:txBody>
      </p:sp>
      <p:sp>
        <p:nvSpPr>
          <p:cNvPr id="7" name="Espace réservé du texte 1">
            <a:extLst>
              <a:ext uri="{FF2B5EF4-FFF2-40B4-BE49-F238E27FC236}">
                <a16:creationId xmlns:a16="http://schemas.microsoft.com/office/drawing/2014/main" id="{541F7092-EA8B-CBEA-A928-2E637629FF40}"/>
              </a:ext>
            </a:extLst>
          </p:cNvPr>
          <p:cNvSpPr txBox="1">
            <a:spLocks/>
          </p:cNvSpPr>
          <p:nvPr/>
        </p:nvSpPr>
        <p:spPr bwMode="gray">
          <a:xfrm>
            <a:off x="4103688" y="3796688"/>
            <a:ext cx="4537075" cy="2160000"/>
          </a:xfrm>
          <a:prstGeom prst="rect">
            <a:avLst/>
          </a:prstGeom>
        </p:spPr>
        <p:txBody>
          <a:bodyPr vert="horz" lIns="0" tIns="0" rIns="0" bIns="0" rtlCol="0" anchor="t" anchorCtr="0">
            <a:noAutofit/>
          </a:bodyPr>
          <a:lstStyle>
            <a:lvl1pPr marL="0" indent="0" algn="ctr" defTabSz="914400" rtl="0" eaLnBrk="1" latinLnBrk="0" hangingPunct="1">
              <a:lnSpc>
                <a:spcPct val="100000"/>
              </a:lnSpc>
              <a:spcBef>
                <a:spcPts val="0"/>
              </a:spcBef>
              <a:spcAft>
                <a:spcPts val="0"/>
              </a:spcAft>
              <a:buClr>
                <a:schemeClr val="accent3"/>
              </a:buClr>
              <a:buSzPct val="90000"/>
              <a:buFont typeface="Wingdings" pitchFamily="2" charset="2"/>
              <a:buNone/>
              <a:defRPr sz="2450" b="1" kern="1200" cap="all" baseline="0">
                <a:solidFill>
                  <a:schemeClr val="accent1"/>
                </a:solidFill>
                <a:latin typeface="+mn-lt"/>
                <a:ea typeface="+mn-ea"/>
                <a:cs typeface="+mn-cs"/>
              </a:defRPr>
            </a:lvl1pPr>
            <a:lvl2pPr marL="360000" indent="-179388" algn="l" defTabSz="914400" rtl="0" eaLnBrk="1" latinLnBrk="0" hangingPunct="1">
              <a:lnSpc>
                <a:spcPct val="110000"/>
              </a:lnSpc>
              <a:spcBef>
                <a:spcPts val="0"/>
              </a:spcBef>
              <a:spcAft>
                <a:spcPts val="600"/>
              </a:spcAft>
              <a:buClr>
                <a:schemeClr val="accent3"/>
              </a:buClr>
              <a:buSzPct val="100000"/>
              <a:buFont typeface="Wingdings 3" panose="05040102010807070707" pitchFamily="18" charset="2"/>
              <a:buChar char=""/>
              <a:defRPr sz="1250" b="1" kern="1200">
                <a:solidFill>
                  <a:schemeClr val="accent1"/>
                </a:solidFill>
                <a:latin typeface="+mn-lt"/>
                <a:ea typeface="+mn-ea"/>
                <a:cs typeface="+mn-cs"/>
              </a:defRPr>
            </a:lvl2pPr>
            <a:lvl3pPr marL="360000" indent="0" algn="just" defTabSz="914400" rtl="0" eaLnBrk="1" latinLnBrk="0" hangingPunct="1">
              <a:lnSpc>
                <a:spcPct val="130000"/>
              </a:lnSpc>
              <a:spcBef>
                <a:spcPts val="0"/>
              </a:spcBef>
              <a:buSzPct val="100000"/>
              <a:buFont typeface="Arial" pitchFamily="34" charset="0"/>
              <a:buNone/>
              <a:defRPr sz="1250" kern="1200">
                <a:solidFill>
                  <a:schemeClr val="tx1"/>
                </a:solidFill>
                <a:latin typeface="+mn-lt"/>
                <a:ea typeface="+mn-ea"/>
                <a:cs typeface="+mn-cs"/>
              </a:defRPr>
            </a:lvl3pPr>
            <a:lvl4pPr marL="540000" indent="-180000" algn="l" defTabSz="914400" rtl="0" eaLnBrk="1" latinLnBrk="0" hangingPunct="1">
              <a:lnSpc>
                <a:spcPct val="120000"/>
              </a:lnSpc>
              <a:spcBef>
                <a:spcPts val="0"/>
              </a:spcBef>
              <a:spcAft>
                <a:spcPts val="400"/>
              </a:spcAft>
              <a:buSzPct val="100000"/>
              <a:buFont typeface="Arial" pitchFamily="34" charset="0"/>
              <a:buChar char="•"/>
              <a:defRPr sz="1250" kern="1200">
                <a:solidFill>
                  <a:schemeClr val="tx1"/>
                </a:solidFill>
                <a:latin typeface="+mn-lt"/>
                <a:ea typeface="+mn-ea"/>
                <a:cs typeface="+mn-cs"/>
              </a:defRPr>
            </a:lvl4pPr>
            <a:lvl5pPr marL="720000" indent="-180000" algn="l" defTabSz="914400" rtl="0" eaLnBrk="1" latinLnBrk="0" hangingPunct="1">
              <a:lnSpc>
                <a:spcPct val="120000"/>
              </a:lnSpc>
              <a:spcBef>
                <a:spcPts val="0"/>
              </a:spcBef>
              <a:spcAft>
                <a:spcPts val="400"/>
              </a:spcAft>
              <a:buSzPct val="100000"/>
              <a:buFont typeface="Wingdings 3" panose="05040102010807070707" pitchFamily="18" charset="2"/>
              <a:buChar char=""/>
              <a:defRPr sz="125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fr-FR" sz="2000" b="0"/>
          </a:p>
        </p:txBody>
      </p:sp>
    </p:spTree>
    <p:extLst>
      <p:ext uri="{BB962C8B-B14F-4D97-AF65-F5344CB8AC3E}">
        <p14:creationId xmlns:p14="http://schemas.microsoft.com/office/powerpoint/2010/main" val="8011438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e la date 4">
            <a:extLst>
              <a:ext uri="{FF2B5EF4-FFF2-40B4-BE49-F238E27FC236}">
                <a16:creationId xmlns:a16="http://schemas.microsoft.com/office/drawing/2014/main" id="{0B1B4B8E-6FB4-72EE-08B1-274AD18909E1}"/>
              </a:ext>
            </a:extLst>
          </p:cNvPr>
          <p:cNvSpPr>
            <a:spLocks noGrp="1"/>
          </p:cNvSpPr>
          <p:nvPr>
            <p:ph type="dt" sz="half" idx="10"/>
          </p:nvPr>
        </p:nvSpPr>
        <p:spPr/>
        <p:txBody>
          <a:bodyPr/>
          <a:lstStyle/>
          <a:p>
            <a:fld id="{9728A8E0-CAF3-46D4-8E2D-4456E50C98FA}" type="datetime1">
              <a:rPr lang="fr-FR" smtClean="0"/>
              <a:t>11/05/2023</a:t>
            </a:fld>
            <a:endParaRPr lang="fr-FR"/>
          </a:p>
        </p:txBody>
      </p:sp>
      <p:sp>
        <p:nvSpPr>
          <p:cNvPr id="6" name="Espace réservé du pied de page 5">
            <a:extLst>
              <a:ext uri="{FF2B5EF4-FFF2-40B4-BE49-F238E27FC236}">
                <a16:creationId xmlns:a16="http://schemas.microsoft.com/office/drawing/2014/main" id="{B6DC767A-2C13-C7A7-B9CB-97146B0296BD}"/>
              </a:ext>
            </a:extLst>
          </p:cNvPr>
          <p:cNvSpPr>
            <a:spLocks noGrp="1"/>
          </p:cNvSpPr>
          <p:nvPr>
            <p:ph type="ftr" sz="quarter" idx="11"/>
          </p:nvPr>
        </p:nvSpPr>
        <p:spPr/>
        <p:txBody>
          <a:bodyPr/>
          <a:lstStyle/>
          <a:p>
            <a:r>
              <a:rPr lang="fr-FR"/>
              <a:t>GROUPE ADP -                      - DIFFUSION RESTREINTE</a:t>
            </a:r>
          </a:p>
        </p:txBody>
      </p:sp>
      <p:sp>
        <p:nvSpPr>
          <p:cNvPr id="7" name="Espace réservé du numéro de diapositive 6">
            <a:extLst>
              <a:ext uri="{FF2B5EF4-FFF2-40B4-BE49-F238E27FC236}">
                <a16:creationId xmlns:a16="http://schemas.microsoft.com/office/drawing/2014/main" id="{C1AD85BA-3574-9E13-3B0E-0520E2242CE1}"/>
              </a:ext>
            </a:extLst>
          </p:cNvPr>
          <p:cNvSpPr>
            <a:spLocks noGrp="1"/>
          </p:cNvSpPr>
          <p:nvPr>
            <p:ph type="sldNum" sz="quarter" idx="12"/>
          </p:nvPr>
        </p:nvSpPr>
        <p:spPr/>
        <p:txBody>
          <a:bodyPr/>
          <a:lstStyle/>
          <a:p>
            <a:r>
              <a:rPr lang="fr-FR"/>
              <a:t>PAGE </a:t>
            </a:r>
            <a:fld id="{8AF9711C-11F6-40F1-A9C4-511E8DA6BB32}" type="slidenum">
              <a:rPr lang="fr-FR" smtClean="0"/>
              <a:pPr/>
              <a:t>4</a:t>
            </a:fld>
            <a:endParaRPr lang="fr-FR"/>
          </a:p>
        </p:txBody>
      </p:sp>
      <p:sp>
        <p:nvSpPr>
          <p:cNvPr id="8" name="Titre 7">
            <a:extLst>
              <a:ext uri="{FF2B5EF4-FFF2-40B4-BE49-F238E27FC236}">
                <a16:creationId xmlns:a16="http://schemas.microsoft.com/office/drawing/2014/main" id="{5024E53D-FEDB-2B77-67DD-88DF9C85FF0E}"/>
              </a:ext>
            </a:extLst>
          </p:cNvPr>
          <p:cNvSpPr>
            <a:spLocks noGrp="1"/>
          </p:cNvSpPr>
          <p:nvPr>
            <p:ph type="title"/>
          </p:nvPr>
        </p:nvSpPr>
        <p:spPr/>
        <p:txBody>
          <a:bodyPr/>
          <a:lstStyle/>
          <a:p>
            <a:r>
              <a:rPr lang="fr-FR" dirty="0"/>
              <a:t>Azure pipelines</a:t>
            </a:r>
          </a:p>
        </p:txBody>
      </p:sp>
      <p:sp>
        <p:nvSpPr>
          <p:cNvPr id="2" name="Espace réservé du contenu 8">
            <a:extLst>
              <a:ext uri="{FF2B5EF4-FFF2-40B4-BE49-F238E27FC236}">
                <a16:creationId xmlns:a16="http://schemas.microsoft.com/office/drawing/2014/main" id="{C1C1ED81-826F-DF07-AEC1-6625FBAA89B5}"/>
              </a:ext>
            </a:extLst>
          </p:cNvPr>
          <p:cNvSpPr txBox="1">
            <a:spLocks/>
          </p:cNvSpPr>
          <p:nvPr/>
        </p:nvSpPr>
        <p:spPr bwMode="gray">
          <a:xfrm>
            <a:off x="503237" y="1449388"/>
            <a:ext cx="7345672" cy="4475976"/>
          </a:xfrm>
          <a:prstGeom prst="rect">
            <a:avLst/>
          </a:prstGeom>
        </p:spPr>
        <p:txBody>
          <a:bodyPr vert="horz" lIns="0" tIns="0" rIns="0" bIns="0" rtlCol="0" anchor="t" anchorCtr="0">
            <a:noAutofit/>
          </a:bodyPr>
          <a:lstStyle>
            <a:lvl1pPr marL="180000" indent="-180000" algn="l" defTabSz="914400" rtl="0" eaLnBrk="1" latinLnBrk="0" hangingPunct="1">
              <a:lnSpc>
                <a:spcPct val="110000"/>
              </a:lnSpc>
              <a:spcBef>
                <a:spcPts val="0"/>
              </a:spcBef>
              <a:spcAft>
                <a:spcPts val="600"/>
              </a:spcAft>
              <a:buClr>
                <a:schemeClr val="accent3"/>
              </a:buClr>
              <a:buSzPct val="90000"/>
              <a:buFont typeface="Wingdings" pitchFamily="2" charset="2"/>
              <a:buChar char=""/>
              <a:defRPr sz="1250" b="1" kern="1200">
                <a:solidFill>
                  <a:schemeClr val="accent1"/>
                </a:solidFill>
                <a:latin typeface="+mn-lt"/>
                <a:ea typeface="+mn-ea"/>
                <a:cs typeface="+mn-cs"/>
              </a:defRPr>
            </a:lvl1pPr>
            <a:lvl2pPr marL="360000" indent="-179388" algn="l" defTabSz="914400" rtl="0" eaLnBrk="1" latinLnBrk="0" hangingPunct="1">
              <a:lnSpc>
                <a:spcPct val="110000"/>
              </a:lnSpc>
              <a:spcBef>
                <a:spcPts val="0"/>
              </a:spcBef>
              <a:spcAft>
                <a:spcPts val="600"/>
              </a:spcAft>
              <a:buClr>
                <a:schemeClr val="accent3"/>
              </a:buClr>
              <a:buSzPct val="100000"/>
              <a:buFont typeface="Wingdings 3" panose="05040102010807070707" pitchFamily="18" charset="2"/>
              <a:buChar char=""/>
              <a:defRPr sz="1250" b="1" kern="1200">
                <a:solidFill>
                  <a:schemeClr val="accent1"/>
                </a:solidFill>
                <a:latin typeface="+mn-lt"/>
                <a:ea typeface="+mn-ea"/>
                <a:cs typeface="+mn-cs"/>
              </a:defRPr>
            </a:lvl2pPr>
            <a:lvl3pPr marL="360000" indent="0" algn="just" defTabSz="914400" rtl="0" eaLnBrk="1" latinLnBrk="0" hangingPunct="1">
              <a:lnSpc>
                <a:spcPct val="130000"/>
              </a:lnSpc>
              <a:spcBef>
                <a:spcPts val="0"/>
              </a:spcBef>
              <a:buSzPct val="100000"/>
              <a:buFont typeface="Arial" pitchFamily="34" charset="0"/>
              <a:buNone/>
              <a:defRPr sz="1250" kern="1200">
                <a:solidFill>
                  <a:schemeClr val="tx1"/>
                </a:solidFill>
                <a:latin typeface="+mn-lt"/>
                <a:ea typeface="+mn-ea"/>
                <a:cs typeface="+mn-cs"/>
              </a:defRPr>
            </a:lvl3pPr>
            <a:lvl4pPr marL="540000" indent="-180000" algn="l" defTabSz="914400" rtl="0" eaLnBrk="1" latinLnBrk="0" hangingPunct="1">
              <a:lnSpc>
                <a:spcPct val="120000"/>
              </a:lnSpc>
              <a:spcBef>
                <a:spcPts val="0"/>
              </a:spcBef>
              <a:spcAft>
                <a:spcPts val="400"/>
              </a:spcAft>
              <a:buSzPct val="100000"/>
              <a:buFont typeface="Arial" pitchFamily="34" charset="0"/>
              <a:buChar char="•"/>
              <a:defRPr sz="1250" kern="1200" baseline="0">
                <a:solidFill>
                  <a:schemeClr val="tx1"/>
                </a:solidFill>
                <a:latin typeface="+mn-lt"/>
                <a:ea typeface="+mn-ea"/>
                <a:cs typeface="+mn-cs"/>
              </a:defRPr>
            </a:lvl4pPr>
            <a:lvl5pPr marL="720000" indent="-180000" algn="l" defTabSz="914400" rtl="0" eaLnBrk="1" latinLnBrk="0" hangingPunct="1">
              <a:lnSpc>
                <a:spcPct val="120000"/>
              </a:lnSpc>
              <a:spcBef>
                <a:spcPts val="0"/>
              </a:spcBef>
              <a:spcAft>
                <a:spcPts val="400"/>
              </a:spcAft>
              <a:buSzPct val="100000"/>
              <a:buFont typeface="Wingdings 3" panose="05040102010807070707" pitchFamily="18" charset="2"/>
              <a:buChar char=""/>
              <a:defRPr sz="125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00000"/>
              </a:lnSpc>
              <a:buFont typeface="Wingdings" pitchFamily="2" charset="2"/>
              <a:buNone/>
            </a:pPr>
            <a:r>
              <a:rPr lang="fr-FR" sz="1600" b="0" i="0" dirty="0">
                <a:effectLst/>
                <a:latin typeface="Segoe UI VSS (Regular)"/>
              </a:rPr>
              <a:t>La solution Azure Pipelines génère et teste automatiquement des projets de code. Il prend en charge tous les principaux langages et types de projets et combine l’intégration continue, la livraison continue et les tests continus pour générer, tester et livrer votre code à n’importe quelle destination.</a:t>
            </a:r>
          </a:p>
          <a:p>
            <a:pPr marL="0" indent="0" algn="just">
              <a:lnSpc>
                <a:spcPct val="100000"/>
              </a:lnSpc>
              <a:buFont typeface="Wingdings" pitchFamily="2" charset="2"/>
              <a:buNone/>
            </a:pPr>
            <a:endParaRPr lang="fr-FR" sz="1600" b="0" dirty="0">
              <a:latin typeface="Segoe UI VSS (Regular)"/>
            </a:endParaRPr>
          </a:p>
          <a:p>
            <a:pPr marL="0" indent="0" algn="just">
              <a:lnSpc>
                <a:spcPct val="100000"/>
              </a:lnSpc>
              <a:buFont typeface="Wingdings" pitchFamily="2" charset="2"/>
              <a:buNone/>
            </a:pPr>
            <a:r>
              <a:rPr lang="fr-FR" sz="1600" b="0" i="0" dirty="0">
                <a:effectLst/>
                <a:latin typeface="Segoe UI VSS (Regular)"/>
              </a:rPr>
              <a:t>Dans le cadre de ce projet, des </a:t>
            </a:r>
            <a:r>
              <a:rPr lang="fr-FR" sz="1600" b="0" i="0" dirty="0" err="1">
                <a:effectLst/>
                <a:latin typeface="Segoe UI VSS (Regular)"/>
              </a:rPr>
              <a:t>templates</a:t>
            </a:r>
            <a:r>
              <a:rPr lang="fr-FR" sz="1600" b="0" i="0" dirty="0">
                <a:effectLst/>
                <a:latin typeface="Segoe UI VSS (Regular)"/>
              </a:rPr>
              <a:t> sont mise en place dans un repos dédié </a:t>
            </a:r>
            <a:r>
              <a:rPr lang="fr-FR" sz="1600" b="1" i="0" dirty="0">
                <a:effectLst/>
                <a:latin typeface="Segoe UI VSS (Regular)"/>
              </a:rPr>
              <a:t>pipelines</a:t>
            </a:r>
            <a:r>
              <a:rPr lang="fr-FR" sz="1600" b="0" i="0" dirty="0">
                <a:effectLst/>
                <a:latin typeface="Segoe UI VSS (Regular)"/>
              </a:rPr>
              <a:t>. Ces </a:t>
            </a:r>
            <a:r>
              <a:rPr lang="fr-FR" sz="1600" b="0" i="0" dirty="0" err="1">
                <a:effectLst/>
                <a:latin typeface="Segoe UI VSS (Regular)"/>
              </a:rPr>
              <a:t>templates</a:t>
            </a:r>
            <a:r>
              <a:rPr lang="fr-FR" sz="1600" b="0" i="0" dirty="0">
                <a:effectLst/>
                <a:latin typeface="Segoe UI VSS (Regular)"/>
              </a:rPr>
              <a:t> sont réutilisables pour déployer de l'infra as code via du </a:t>
            </a:r>
            <a:r>
              <a:rPr lang="fr-FR" sz="1600" b="0" i="0" dirty="0" err="1">
                <a:effectLst/>
                <a:latin typeface="Segoe UI VSS (Regular)"/>
              </a:rPr>
              <a:t>terraform</a:t>
            </a:r>
            <a:r>
              <a:rPr lang="fr-FR" sz="1600" b="0" i="0" dirty="0">
                <a:effectLst/>
                <a:latin typeface="Segoe UI VSS (Regular)"/>
              </a:rPr>
              <a:t>.</a:t>
            </a:r>
            <a:endParaRPr lang="fr-FR" sz="1200" dirty="0"/>
          </a:p>
          <a:p>
            <a:pPr marL="0" indent="0" algn="just">
              <a:lnSpc>
                <a:spcPct val="100000"/>
              </a:lnSpc>
              <a:buFont typeface="Wingdings" pitchFamily="2" charset="2"/>
              <a:buNone/>
            </a:pPr>
            <a:endParaRPr lang="fr-FR" sz="1200" dirty="0"/>
          </a:p>
          <a:p>
            <a:pPr marL="0" indent="0" algn="just">
              <a:lnSpc>
                <a:spcPct val="100000"/>
              </a:lnSpc>
              <a:buFont typeface="Wingdings" pitchFamily="2" charset="2"/>
              <a:buNone/>
            </a:pPr>
            <a:r>
              <a:rPr lang="fr-FR" sz="1200" dirty="0"/>
              <a:t> </a:t>
            </a:r>
          </a:p>
          <a:p>
            <a:pPr marL="0" indent="0" algn="just">
              <a:lnSpc>
                <a:spcPct val="100000"/>
              </a:lnSpc>
              <a:buFont typeface="Wingdings" pitchFamily="2" charset="2"/>
              <a:buNone/>
            </a:pPr>
            <a:endParaRPr lang="fr-FR" sz="1200" dirty="0"/>
          </a:p>
          <a:p>
            <a:pPr marL="0" indent="0" algn="just">
              <a:lnSpc>
                <a:spcPct val="100000"/>
              </a:lnSpc>
              <a:buFont typeface="Wingdings" pitchFamily="2" charset="2"/>
              <a:buNone/>
            </a:pPr>
            <a:endParaRPr lang="fr-FR" sz="1200" dirty="0"/>
          </a:p>
          <a:p>
            <a:pPr marL="0" indent="0" algn="just">
              <a:lnSpc>
                <a:spcPct val="100000"/>
              </a:lnSpc>
              <a:buFont typeface="Wingdings" pitchFamily="2" charset="2"/>
              <a:buNone/>
            </a:pPr>
            <a:endParaRPr lang="fr-FR" sz="1200" dirty="0"/>
          </a:p>
          <a:p>
            <a:pPr marL="0" indent="0" algn="just">
              <a:lnSpc>
                <a:spcPct val="100000"/>
              </a:lnSpc>
              <a:buFont typeface="Wingdings" pitchFamily="2" charset="2"/>
              <a:buNone/>
            </a:pPr>
            <a:endParaRPr lang="fr-FR" sz="1200" dirty="0"/>
          </a:p>
        </p:txBody>
      </p:sp>
    </p:spTree>
    <p:extLst>
      <p:ext uri="{BB962C8B-B14F-4D97-AF65-F5344CB8AC3E}">
        <p14:creationId xmlns:p14="http://schemas.microsoft.com/office/powerpoint/2010/main" val="30389752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82FF104E-E965-B835-81E1-D7C030DAC987}"/>
              </a:ext>
            </a:extLst>
          </p:cNvPr>
          <p:cNvSpPr>
            <a:spLocks noGrp="1"/>
          </p:cNvSpPr>
          <p:nvPr>
            <p:ph type="body" sz="quarter" idx="13"/>
          </p:nvPr>
        </p:nvSpPr>
        <p:spPr>
          <a:xfrm>
            <a:off x="4103688" y="3428999"/>
            <a:ext cx="4537075" cy="360000"/>
          </a:xfrm>
        </p:spPr>
        <p:txBody>
          <a:bodyPr/>
          <a:lstStyle/>
          <a:p>
            <a:r>
              <a:rPr lang="fr-FR" dirty="0"/>
              <a:t>CI/CD - </a:t>
            </a:r>
            <a:r>
              <a:rPr lang="fr-FR" dirty="0" err="1"/>
              <a:t>ActuelLE</a:t>
            </a:r>
            <a:endParaRPr lang="fr-FR" dirty="0"/>
          </a:p>
        </p:txBody>
      </p:sp>
      <p:sp>
        <p:nvSpPr>
          <p:cNvPr id="3" name="Titre 2">
            <a:extLst>
              <a:ext uri="{FF2B5EF4-FFF2-40B4-BE49-F238E27FC236}">
                <a16:creationId xmlns:a16="http://schemas.microsoft.com/office/drawing/2014/main" id="{F59F7E39-85B3-DB9D-0007-F51E852208A8}"/>
              </a:ext>
            </a:extLst>
          </p:cNvPr>
          <p:cNvSpPr>
            <a:spLocks noGrp="1"/>
          </p:cNvSpPr>
          <p:nvPr>
            <p:ph type="title"/>
          </p:nvPr>
        </p:nvSpPr>
        <p:spPr/>
        <p:txBody>
          <a:bodyPr/>
          <a:lstStyle/>
          <a:p>
            <a:r>
              <a:rPr lang="fr-FR" dirty="0"/>
              <a:t>02</a:t>
            </a:r>
          </a:p>
        </p:txBody>
      </p:sp>
      <p:sp>
        <p:nvSpPr>
          <p:cNvPr id="4" name="Espace réservé de la date 3">
            <a:extLst>
              <a:ext uri="{FF2B5EF4-FFF2-40B4-BE49-F238E27FC236}">
                <a16:creationId xmlns:a16="http://schemas.microsoft.com/office/drawing/2014/main" id="{D0F418A0-AA3C-76FF-6981-5ED678AB39E2}"/>
              </a:ext>
            </a:extLst>
          </p:cNvPr>
          <p:cNvSpPr>
            <a:spLocks noGrp="1"/>
          </p:cNvSpPr>
          <p:nvPr>
            <p:ph type="dt" sz="half" idx="15"/>
          </p:nvPr>
        </p:nvSpPr>
        <p:spPr/>
        <p:txBody>
          <a:bodyPr/>
          <a:lstStyle/>
          <a:p>
            <a:fld id="{D09541FD-5B6B-4BF6-8C89-AE8A3BC611FB}" type="datetime1">
              <a:rPr lang="fr-FR" smtClean="0"/>
              <a:t>11/05/2023</a:t>
            </a:fld>
            <a:endParaRPr lang="fr-FR"/>
          </a:p>
        </p:txBody>
      </p:sp>
      <p:sp>
        <p:nvSpPr>
          <p:cNvPr id="5" name="Espace réservé du pied de page 4">
            <a:extLst>
              <a:ext uri="{FF2B5EF4-FFF2-40B4-BE49-F238E27FC236}">
                <a16:creationId xmlns:a16="http://schemas.microsoft.com/office/drawing/2014/main" id="{BEADD8FD-D71F-2402-2896-47EDF853F055}"/>
              </a:ext>
            </a:extLst>
          </p:cNvPr>
          <p:cNvSpPr>
            <a:spLocks noGrp="1"/>
          </p:cNvSpPr>
          <p:nvPr>
            <p:ph type="ftr" sz="quarter" idx="16"/>
          </p:nvPr>
        </p:nvSpPr>
        <p:spPr/>
        <p:txBody>
          <a:bodyPr/>
          <a:lstStyle/>
          <a:p>
            <a:r>
              <a:rPr lang="fr-FR"/>
              <a:t>GROUPE ADP -                      - DIFFUSION RESTREINTE</a:t>
            </a:r>
          </a:p>
        </p:txBody>
      </p:sp>
      <p:sp>
        <p:nvSpPr>
          <p:cNvPr id="6" name="Espace réservé du numéro de diapositive 5">
            <a:extLst>
              <a:ext uri="{FF2B5EF4-FFF2-40B4-BE49-F238E27FC236}">
                <a16:creationId xmlns:a16="http://schemas.microsoft.com/office/drawing/2014/main" id="{FE65E7CC-C404-61E8-E46C-7F073326748A}"/>
              </a:ext>
            </a:extLst>
          </p:cNvPr>
          <p:cNvSpPr>
            <a:spLocks noGrp="1"/>
          </p:cNvSpPr>
          <p:nvPr>
            <p:ph type="sldNum" sz="quarter" idx="17"/>
          </p:nvPr>
        </p:nvSpPr>
        <p:spPr/>
        <p:txBody>
          <a:bodyPr/>
          <a:lstStyle/>
          <a:p>
            <a:r>
              <a:rPr lang="fr-FR"/>
              <a:t>PAGE </a:t>
            </a:r>
            <a:fld id="{8AF9711C-11F6-40F1-A9C4-511E8DA6BB32}" type="slidenum">
              <a:rPr lang="fr-FR" smtClean="0"/>
              <a:pPr/>
              <a:t>5</a:t>
            </a:fld>
            <a:endParaRPr lang="fr-FR"/>
          </a:p>
        </p:txBody>
      </p:sp>
      <p:sp>
        <p:nvSpPr>
          <p:cNvPr id="7" name="Espace réservé du texte 1">
            <a:extLst>
              <a:ext uri="{FF2B5EF4-FFF2-40B4-BE49-F238E27FC236}">
                <a16:creationId xmlns:a16="http://schemas.microsoft.com/office/drawing/2014/main" id="{541F7092-EA8B-CBEA-A928-2E637629FF40}"/>
              </a:ext>
            </a:extLst>
          </p:cNvPr>
          <p:cNvSpPr txBox="1">
            <a:spLocks/>
          </p:cNvSpPr>
          <p:nvPr/>
        </p:nvSpPr>
        <p:spPr bwMode="gray">
          <a:xfrm>
            <a:off x="4103688" y="3796688"/>
            <a:ext cx="4537075" cy="2160000"/>
          </a:xfrm>
          <a:prstGeom prst="rect">
            <a:avLst/>
          </a:prstGeom>
        </p:spPr>
        <p:txBody>
          <a:bodyPr vert="horz" lIns="0" tIns="0" rIns="0" bIns="0" rtlCol="0" anchor="t" anchorCtr="0">
            <a:noAutofit/>
          </a:bodyPr>
          <a:lstStyle>
            <a:lvl1pPr marL="0" indent="0" algn="ctr" defTabSz="914400" rtl="0" eaLnBrk="1" latinLnBrk="0" hangingPunct="1">
              <a:lnSpc>
                <a:spcPct val="100000"/>
              </a:lnSpc>
              <a:spcBef>
                <a:spcPts val="0"/>
              </a:spcBef>
              <a:spcAft>
                <a:spcPts val="0"/>
              </a:spcAft>
              <a:buClr>
                <a:schemeClr val="accent3"/>
              </a:buClr>
              <a:buSzPct val="90000"/>
              <a:buFont typeface="Wingdings" pitchFamily="2" charset="2"/>
              <a:buNone/>
              <a:defRPr sz="2450" b="1" kern="1200" cap="all" baseline="0">
                <a:solidFill>
                  <a:schemeClr val="accent1"/>
                </a:solidFill>
                <a:latin typeface="+mn-lt"/>
                <a:ea typeface="+mn-ea"/>
                <a:cs typeface="+mn-cs"/>
              </a:defRPr>
            </a:lvl1pPr>
            <a:lvl2pPr marL="360000" indent="-179388" algn="l" defTabSz="914400" rtl="0" eaLnBrk="1" latinLnBrk="0" hangingPunct="1">
              <a:lnSpc>
                <a:spcPct val="110000"/>
              </a:lnSpc>
              <a:spcBef>
                <a:spcPts val="0"/>
              </a:spcBef>
              <a:spcAft>
                <a:spcPts val="600"/>
              </a:spcAft>
              <a:buClr>
                <a:schemeClr val="accent3"/>
              </a:buClr>
              <a:buSzPct val="100000"/>
              <a:buFont typeface="Wingdings 3" panose="05040102010807070707" pitchFamily="18" charset="2"/>
              <a:buChar char=""/>
              <a:defRPr sz="1250" b="1" kern="1200">
                <a:solidFill>
                  <a:schemeClr val="accent1"/>
                </a:solidFill>
                <a:latin typeface="+mn-lt"/>
                <a:ea typeface="+mn-ea"/>
                <a:cs typeface="+mn-cs"/>
              </a:defRPr>
            </a:lvl2pPr>
            <a:lvl3pPr marL="360000" indent="0" algn="just" defTabSz="914400" rtl="0" eaLnBrk="1" latinLnBrk="0" hangingPunct="1">
              <a:lnSpc>
                <a:spcPct val="130000"/>
              </a:lnSpc>
              <a:spcBef>
                <a:spcPts val="0"/>
              </a:spcBef>
              <a:buSzPct val="100000"/>
              <a:buFont typeface="Arial" pitchFamily="34" charset="0"/>
              <a:buNone/>
              <a:defRPr sz="1250" kern="1200">
                <a:solidFill>
                  <a:schemeClr val="tx1"/>
                </a:solidFill>
                <a:latin typeface="+mn-lt"/>
                <a:ea typeface="+mn-ea"/>
                <a:cs typeface="+mn-cs"/>
              </a:defRPr>
            </a:lvl3pPr>
            <a:lvl4pPr marL="540000" indent="-180000" algn="l" defTabSz="914400" rtl="0" eaLnBrk="1" latinLnBrk="0" hangingPunct="1">
              <a:lnSpc>
                <a:spcPct val="120000"/>
              </a:lnSpc>
              <a:spcBef>
                <a:spcPts val="0"/>
              </a:spcBef>
              <a:spcAft>
                <a:spcPts val="400"/>
              </a:spcAft>
              <a:buSzPct val="100000"/>
              <a:buFont typeface="Arial" pitchFamily="34" charset="0"/>
              <a:buChar char="•"/>
              <a:defRPr sz="1250" kern="1200">
                <a:solidFill>
                  <a:schemeClr val="tx1"/>
                </a:solidFill>
                <a:latin typeface="+mn-lt"/>
                <a:ea typeface="+mn-ea"/>
                <a:cs typeface="+mn-cs"/>
              </a:defRPr>
            </a:lvl4pPr>
            <a:lvl5pPr marL="720000" indent="-180000" algn="l" defTabSz="914400" rtl="0" eaLnBrk="1" latinLnBrk="0" hangingPunct="1">
              <a:lnSpc>
                <a:spcPct val="120000"/>
              </a:lnSpc>
              <a:spcBef>
                <a:spcPts val="0"/>
              </a:spcBef>
              <a:spcAft>
                <a:spcPts val="400"/>
              </a:spcAft>
              <a:buSzPct val="100000"/>
              <a:buFont typeface="Wingdings 3" panose="05040102010807070707" pitchFamily="18" charset="2"/>
              <a:buChar char=""/>
              <a:defRPr sz="125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fr-FR" sz="2000" b="0"/>
          </a:p>
        </p:txBody>
      </p:sp>
    </p:spTree>
    <p:extLst>
      <p:ext uri="{BB962C8B-B14F-4D97-AF65-F5344CB8AC3E}">
        <p14:creationId xmlns:p14="http://schemas.microsoft.com/office/powerpoint/2010/main" val="8811901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e la date 4">
            <a:extLst>
              <a:ext uri="{FF2B5EF4-FFF2-40B4-BE49-F238E27FC236}">
                <a16:creationId xmlns:a16="http://schemas.microsoft.com/office/drawing/2014/main" id="{0B1B4B8E-6FB4-72EE-08B1-274AD18909E1}"/>
              </a:ext>
            </a:extLst>
          </p:cNvPr>
          <p:cNvSpPr>
            <a:spLocks noGrp="1"/>
          </p:cNvSpPr>
          <p:nvPr>
            <p:ph type="dt" sz="half" idx="10"/>
          </p:nvPr>
        </p:nvSpPr>
        <p:spPr/>
        <p:txBody>
          <a:bodyPr/>
          <a:lstStyle/>
          <a:p>
            <a:fld id="{9728A8E0-CAF3-46D4-8E2D-4456E50C98FA}" type="datetime1">
              <a:rPr lang="fr-FR" smtClean="0"/>
              <a:t>11/05/2023</a:t>
            </a:fld>
            <a:endParaRPr lang="fr-FR"/>
          </a:p>
        </p:txBody>
      </p:sp>
      <p:sp>
        <p:nvSpPr>
          <p:cNvPr id="6" name="Espace réservé du pied de page 5">
            <a:extLst>
              <a:ext uri="{FF2B5EF4-FFF2-40B4-BE49-F238E27FC236}">
                <a16:creationId xmlns:a16="http://schemas.microsoft.com/office/drawing/2014/main" id="{B6DC767A-2C13-C7A7-B9CB-97146B0296BD}"/>
              </a:ext>
            </a:extLst>
          </p:cNvPr>
          <p:cNvSpPr>
            <a:spLocks noGrp="1"/>
          </p:cNvSpPr>
          <p:nvPr>
            <p:ph type="ftr" sz="quarter" idx="11"/>
          </p:nvPr>
        </p:nvSpPr>
        <p:spPr/>
        <p:txBody>
          <a:bodyPr/>
          <a:lstStyle/>
          <a:p>
            <a:r>
              <a:rPr lang="fr-FR"/>
              <a:t>GROUPE ADP -                      - DIFFUSION RESTREINTE</a:t>
            </a:r>
          </a:p>
        </p:txBody>
      </p:sp>
      <p:sp>
        <p:nvSpPr>
          <p:cNvPr id="7" name="Espace réservé du numéro de diapositive 6">
            <a:extLst>
              <a:ext uri="{FF2B5EF4-FFF2-40B4-BE49-F238E27FC236}">
                <a16:creationId xmlns:a16="http://schemas.microsoft.com/office/drawing/2014/main" id="{C1AD85BA-3574-9E13-3B0E-0520E2242CE1}"/>
              </a:ext>
            </a:extLst>
          </p:cNvPr>
          <p:cNvSpPr>
            <a:spLocks noGrp="1"/>
          </p:cNvSpPr>
          <p:nvPr>
            <p:ph type="sldNum" sz="quarter" idx="12"/>
          </p:nvPr>
        </p:nvSpPr>
        <p:spPr/>
        <p:txBody>
          <a:bodyPr/>
          <a:lstStyle/>
          <a:p>
            <a:r>
              <a:rPr lang="fr-FR"/>
              <a:t>PAGE </a:t>
            </a:r>
            <a:fld id="{8AF9711C-11F6-40F1-A9C4-511E8DA6BB32}" type="slidenum">
              <a:rPr lang="fr-FR" smtClean="0"/>
              <a:pPr/>
              <a:t>6</a:t>
            </a:fld>
            <a:endParaRPr lang="fr-FR"/>
          </a:p>
        </p:txBody>
      </p:sp>
      <p:sp>
        <p:nvSpPr>
          <p:cNvPr id="8" name="Titre 7">
            <a:extLst>
              <a:ext uri="{FF2B5EF4-FFF2-40B4-BE49-F238E27FC236}">
                <a16:creationId xmlns:a16="http://schemas.microsoft.com/office/drawing/2014/main" id="{5024E53D-FEDB-2B77-67DD-88DF9C85FF0E}"/>
              </a:ext>
            </a:extLst>
          </p:cNvPr>
          <p:cNvSpPr>
            <a:spLocks noGrp="1"/>
          </p:cNvSpPr>
          <p:nvPr>
            <p:ph type="title"/>
          </p:nvPr>
        </p:nvSpPr>
        <p:spPr/>
        <p:txBody>
          <a:bodyPr/>
          <a:lstStyle/>
          <a:p>
            <a:r>
              <a:rPr lang="fr-FR" dirty="0"/>
              <a:t>CI/CD-  En Place</a:t>
            </a:r>
          </a:p>
        </p:txBody>
      </p:sp>
      <p:sp>
        <p:nvSpPr>
          <p:cNvPr id="4" name="Espace réservé du contenu 8">
            <a:extLst>
              <a:ext uri="{FF2B5EF4-FFF2-40B4-BE49-F238E27FC236}">
                <a16:creationId xmlns:a16="http://schemas.microsoft.com/office/drawing/2014/main" id="{B7C92E94-7A71-41A3-DAE8-937CC0A1EEE4}"/>
              </a:ext>
            </a:extLst>
          </p:cNvPr>
          <p:cNvSpPr txBox="1">
            <a:spLocks/>
          </p:cNvSpPr>
          <p:nvPr/>
        </p:nvSpPr>
        <p:spPr bwMode="gray">
          <a:xfrm>
            <a:off x="503236" y="2753987"/>
            <a:ext cx="8014039" cy="4475976"/>
          </a:xfrm>
          <a:prstGeom prst="rect">
            <a:avLst/>
          </a:prstGeom>
        </p:spPr>
        <p:txBody>
          <a:bodyPr vert="horz" lIns="0" tIns="0" rIns="0" bIns="0" rtlCol="0" anchor="t" anchorCtr="0">
            <a:noAutofit/>
          </a:bodyPr>
          <a:lstStyle>
            <a:lvl1pPr marL="180000" indent="-180000" algn="l" defTabSz="914400" rtl="0" eaLnBrk="1" latinLnBrk="0" hangingPunct="1">
              <a:lnSpc>
                <a:spcPct val="110000"/>
              </a:lnSpc>
              <a:spcBef>
                <a:spcPts val="0"/>
              </a:spcBef>
              <a:spcAft>
                <a:spcPts val="600"/>
              </a:spcAft>
              <a:buClr>
                <a:schemeClr val="accent3"/>
              </a:buClr>
              <a:buSzPct val="90000"/>
              <a:buFont typeface="Wingdings" pitchFamily="2" charset="2"/>
              <a:buChar char=""/>
              <a:defRPr sz="1250" b="1" kern="1200">
                <a:solidFill>
                  <a:schemeClr val="accent1"/>
                </a:solidFill>
                <a:latin typeface="+mn-lt"/>
                <a:ea typeface="+mn-ea"/>
                <a:cs typeface="+mn-cs"/>
              </a:defRPr>
            </a:lvl1pPr>
            <a:lvl2pPr marL="360000" indent="-179388" algn="l" defTabSz="914400" rtl="0" eaLnBrk="1" latinLnBrk="0" hangingPunct="1">
              <a:lnSpc>
                <a:spcPct val="110000"/>
              </a:lnSpc>
              <a:spcBef>
                <a:spcPts val="0"/>
              </a:spcBef>
              <a:spcAft>
                <a:spcPts val="600"/>
              </a:spcAft>
              <a:buClr>
                <a:schemeClr val="accent3"/>
              </a:buClr>
              <a:buSzPct val="100000"/>
              <a:buFont typeface="Wingdings 3" panose="05040102010807070707" pitchFamily="18" charset="2"/>
              <a:buChar char=""/>
              <a:defRPr sz="1250" b="1" kern="1200">
                <a:solidFill>
                  <a:schemeClr val="accent1"/>
                </a:solidFill>
                <a:latin typeface="+mn-lt"/>
                <a:ea typeface="+mn-ea"/>
                <a:cs typeface="+mn-cs"/>
              </a:defRPr>
            </a:lvl2pPr>
            <a:lvl3pPr marL="360000" indent="0" algn="just" defTabSz="914400" rtl="0" eaLnBrk="1" latinLnBrk="0" hangingPunct="1">
              <a:lnSpc>
                <a:spcPct val="130000"/>
              </a:lnSpc>
              <a:spcBef>
                <a:spcPts val="0"/>
              </a:spcBef>
              <a:buSzPct val="100000"/>
              <a:buFont typeface="Arial" pitchFamily="34" charset="0"/>
              <a:buNone/>
              <a:defRPr sz="1250" kern="1200">
                <a:solidFill>
                  <a:schemeClr val="tx1"/>
                </a:solidFill>
                <a:latin typeface="+mn-lt"/>
                <a:ea typeface="+mn-ea"/>
                <a:cs typeface="+mn-cs"/>
              </a:defRPr>
            </a:lvl3pPr>
            <a:lvl4pPr marL="540000" indent="-180000" algn="l" defTabSz="914400" rtl="0" eaLnBrk="1" latinLnBrk="0" hangingPunct="1">
              <a:lnSpc>
                <a:spcPct val="120000"/>
              </a:lnSpc>
              <a:spcBef>
                <a:spcPts val="0"/>
              </a:spcBef>
              <a:spcAft>
                <a:spcPts val="400"/>
              </a:spcAft>
              <a:buSzPct val="100000"/>
              <a:buFont typeface="Arial" pitchFamily="34" charset="0"/>
              <a:buChar char="•"/>
              <a:defRPr sz="1250" kern="1200" baseline="0">
                <a:solidFill>
                  <a:schemeClr val="tx1"/>
                </a:solidFill>
                <a:latin typeface="+mn-lt"/>
                <a:ea typeface="+mn-ea"/>
                <a:cs typeface="+mn-cs"/>
              </a:defRPr>
            </a:lvl4pPr>
            <a:lvl5pPr marL="720000" indent="-180000" algn="l" defTabSz="914400" rtl="0" eaLnBrk="1" latinLnBrk="0" hangingPunct="1">
              <a:lnSpc>
                <a:spcPct val="120000"/>
              </a:lnSpc>
              <a:spcBef>
                <a:spcPts val="0"/>
              </a:spcBef>
              <a:spcAft>
                <a:spcPts val="400"/>
              </a:spcAft>
              <a:buSzPct val="100000"/>
              <a:buFont typeface="Wingdings 3" panose="05040102010807070707" pitchFamily="18" charset="2"/>
              <a:buChar char=""/>
              <a:defRPr sz="125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Font typeface="Wingdings" pitchFamily="2" charset="2"/>
              <a:buNone/>
            </a:pPr>
            <a:r>
              <a:rPr lang="fr-FR" sz="1400" dirty="0"/>
              <a:t>Existant</a:t>
            </a:r>
            <a:r>
              <a:rPr lang="fr-FR" sz="1400" b="0" dirty="0"/>
              <a:t>:</a:t>
            </a:r>
          </a:p>
          <a:p>
            <a:pPr>
              <a:lnSpc>
                <a:spcPct val="100000"/>
              </a:lnSpc>
            </a:pPr>
            <a:r>
              <a:rPr lang="fr-FR" sz="1400" b="0" dirty="0"/>
              <a:t>Pipeline constituée de 3 stages séparés </a:t>
            </a:r>
            <a:r>
              <a:rPr lang="fr-FR" sz="1400" b="0" dirty="0" err="1"/>
              <a:t>Build</a:t>
            </a:r>
            <a:r>
              <a:rPr lang="fr-FR" sz="1400" b="0" dirty="0"/>
              <a:t>/Compliance/Release</a:t>
            </a:r>
          </a:p>
          <a:p>
            <a:pPr>
              <a:lnSpc>
                <a:spcPct val="100000"/>
              </a:lnSpc>
            </a:pPr>
            <a:r>
              <a:rPr lang="fr-FR" sz="1400" b="0" dirty="0"/>
              <a:t>Aspect Compliance intégrant du </a:t>
            </a:r>
            <a:r>
              <a:rPr lang="fr-FR" sz="1400" b="0" dirty="0" err="1"/>
              <a:t>tfsec</a:t>
            </a:r>
            <a:r>
              <a:rPr lang="fr-FR" sz="1400" b="0" dirty="0"/>
              <a:t> pour le check de l’aspect sécurité.</a:t>
            </a:r>
          </a:p>
          <a:p>
            <a:pPr>
              <a:lnSpc>
                <a:spcPct val="100000"/>
              </a:lnSpc>
            </a:pPr>
            <a:r>
              <a:rPr lang="fr-FR" sz="1400" b="0" dirty="0"/>
              <a:t>Permet de déployer de l’IAC dans un environnement précis.</a:t>
            </a:r>
          </a:p>
          <a:p>
            <a:pPr>
              <a:lnSpc>
                <a:spcPct val="100000"/>
              </a:lnSpc>
            </a:pPr>
            <a:endParaRPr lang="fr-FR" sz="1400" b="0" dirty="0"/>
          </a:p>
          <a:p>
            <a:pPr marL="0" indent="0">
              <a:lnSpc>
                <a:spcPct val="100000"/>
              </a:lnSpc>
              <a:buNone/>
            </a:pPr>
            <a:r>
              <a:rPr lang="fr-FR" sz="1400" dirty="0"/>
              <a:t>Axes d’améliorations:</a:t>
            </a:r>
          </a:p>
          <a:p>
            <a:pPr>
              <a:lnSpc>
                <a:spcPct val="100000"/>
              </a:lnSpc>
            </a:pPr>
            <a:r>
              <a:rPr lang="fr-FR" sz="1400" b="0" dirty="0"/>
              <a:t>Réorganisation des stages </a:t>
            </a:r>
            <a:r>
              <a:rPr lang="fr-FR" sz="1400" b="0" dirty="0">
                <a:sym typeface="Wingdings" panose="05000000000000000000" pitchFamily="2" charset="2"/>
              </a:rPr>
              <a:t> intégration d’un check (</a:t>
            </a:r>
            <a:r>
              <a:rPr lang="fr-FR" sz="1400" b="0" dirty="0" err="1">
                <a:sym typeface="Wingdings" panose="05000000000000000000" pitchFamily="2" charset="2"/>
              </a:rPr>
              <a:t>lint</a:t>
            </a:r>
            <a:r>
              <a:rPr lang="fr-FR" sz="1400" b="0" dirty="0">
                <a:sym typeface="Wingdings" panose="05000000000000000000" pitchFamily="2" charset="2"/>
              </a:rPr>
              <a:t>) en amont de l’exécution de la pipeline.</a:t>
            </a:r>
            <a:endParaRPr lang="fr-FR" sz="1400" b="0" dirty="0"/>
          </a:p>
          <a:p>
            <a:pPr>
              <a:lnSpc>
                <a:spcPct val="100000"/>
              </a:lnSpc>
            </a:pPr>
            <a:r>
              <a:rPr lang="fr-FR" sz="1400" b="0" dirty="0"/>
              <a:t>Pipeline figée qui permet le déploiement dans un seul environnement.</a:t>
            </a:r>
          </a:p>
          <a:p>
            <a:pPr>
              <a:lnSpc>
                <a:spcPct val="100000"/>
              </a:lnSpc>
            </a:pPr>
            <a:r>
              <a:rPr lang="fr-FR" sz="1400" b="0" dirty="0"/>
              <a:t>Structure en une seule configuration, ce qui rend la lecture/modification/maintenance de la pipeline peu évident.</a:t>
            </a:r>
          </a:p>
          <a:p>
            <a:pPr>
              <a:lnSpc>
                <a:spcPct val="100000"/>
              </a:lnSpc>
            </a:pPr>
            <a:r>
              <a:rPr lang="fr-FR" sz="1400" b="0" dirty="0"/>
              <a:t>Absence d’environnement et de restrictions par rapport au déploiement dans chaque environnement.</a:t>
            </a:r>
          </a:p>
          <a:p>
            <a:pPr marL="0" indent="0">
              <a:lnSpc>
                <a:spcPct val="100000"/>
              </a:lnSpc>
              <a:buNone/>
            </a:pPr>
            <a:endParaRPr lang="fr-FR" sz="1200" b="0" dirty="0"/>
          </a:p>
          <a:p>
            <a:pPr>
              <a:lnSpc>
                <a:spcPct val="100000"/>
              </a:lnSpc>
            </a:pPr>
            <a:endParaRPr lang="fr-FR" sz="1200" b="0" dirty="0"/>
          </a:p>
          <a:p>
            <a:pPr>
              <a:lnSpc>
                <a:spcPct val="100000"/>
              </a:lnSpc>
            </a:pPr>
            <a:endParaRPr lang="fr-FR" sz="1200" b="0" dirty="0"/>
          </a:p>
          <a:p>
            <a:pPr>
              <a:lnSpc>
                <a:spcPct val="100000"/>
              </a:lnSpc>
            </a:pPr>
            <a:endParaRPr lang="fr-FR" sz="1200" b="0" dirty="0"/>
          </a:p>
        </p:txBody>
      </p:sp>
      <p:pic>
        <p:nvPicPr>
          <p:cNvPr id="3" name="Image 2">
            <a:extLst>
              <a:ext uri="{FF2B5EF4-FFF2-40B4-BE49-F238E27FC236}">
                <a16:creationId xmlns:a16="http://schemas.microsoft.com/office/drawing/2014/main" id="{9B6F4B58-EFE1-C629-BB1E-701A83560285}"/>
              </a:ext>
            </a:extLst>
          </p:cNvPr>
          <p:cNvPicPr>
            <a:picLocks noChangeAspect="1"/>
          </p:cNvPicPr>
          <p:nvPr/>
        </p:nvPicPr>
        <p:blipFill>
          <a:blip r:embed="rId2"/>
          <a:stretch>
            <a:fillRect/>
          </a:stretch>
        </p:blipFill>
        <p:spPr>
          <a:xfrm>
            <a:off x="722709" y="1548220"/>
            <a:ext cx="7305675" cy="1209675"/>
          </a:xfrm>
          <a:prstGeom prst="rect">
            <a:avLst/>
          </a:prstGeom>
        </p:spPr>
      </p:pic>
    </p:spTree>
    <p:extLst>
      <p:ext uri="{BB962C8B-B14F-4D97-AF65-F5344CB8AC3E}">
        <p14:creationId xmlns:p14="http://schemas.microsoft.com/office/powerpoint/2010/main" val="37679086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82FF104E-E965-B835-81E1-D7C030DAC987}"/>
              </a:ext>
            </a:extLst>
          </p:cNvPr>
          <p:cNvSpPr>
            <a:spLocks noGrp="1"/>
          </p:cNvSpPr>
          <p:nvPr>
            <p:ph type="body" sz="quarter" idx="13"/>
          </p:nvPr>
        </p:nvSpPr>
        <p:spPr>
          <a:xfrm>
            <a:off x="4103688" y="3428999"/>
            <a:ext cx="4537075" cy="360000"/>
          </a:xfrm>
        </p:spPr>
        <p:txBody>
          <a:bodyPr/>
          <a:lstStyle/>
          <a:p>
            <a:r>
              <a:rPr lang="fr-FR" dirty="0"/>
              <a:t>CI/CD - fin 2023</a:t>
            </a:r>
          </a:p>
        </p:txBody>
      </p:sp>
      <p:sp>
        <p:nvSpPr>
          <p:cNvPr id="3" name="Titre 2">
            <a:extLst>
              <a:ext uri="{FF2B5EF4-FFF2-40B4-BE49-F238E27FC236}">
                <a16:creationId xmlns:a16="http://schemas.microsoft.com/office/drawing/2014/main" id="{F59F7E39-85B3-DB9D-0007-F51E852208A8}"/>
              </a:ext>
            </a:extLst>
          </p:cNvPr>
          <p:cNvSpPr>
            <a:spLocks noGrp="1"/>
          </p:cNvSpPr>
          <p:nvPr>
            <p:ph type="title"/>
          </p:nvPr>
        </p:nvSpPr>
        <p:spPr/>
        <p:txBody>
          <a:bodyPr/>
          <a:lstStyle/>
          <a:p>
            <a:r>
              <a:rPr lang="fr-FR" dirty="0"/>
              <a:t>03</a:t>
            </a:r>
          </a:p>
        </p:txBody>
      </p:sp>
      <p:sp>
        <p:nvSpPr>
          <p:cNvPr id="4" name="Espace réservé de la date 3">
            <a:extLst>
              <a:ext uri="{FF2B5EF4-FFF2-40B4-BE49-F238E27FC236}">
                <a16:creationId xmlns:a16="http://schemas.microsoft.com/office/drawing/2014/main" id="{D0F418A0-AA3C-76FF-6981-5ED678AB39E2}"/>
              </a:ext>
            </a:extLst>
          </p:cNvPr>
          <p:cNvSpPr>
            <a:spLocks noGrp="1"/>
          </p:cNvSpPr>
          <p:nvPr>
            <p:ph type="dt" sz="half" idx="15"/>
          </p:nvPr>
        </p:nvSpPr>
        <p:spPr/>
        <p:txBody>
          <a:bodyPr/>
          <a:lstStyle/>
          <a:p>
            <a:fld id="{D09541FD-5B6B-4BF6-8C89-AE8A3BC611FB}" type="datetime1">
              <a:rPr lang="fr-FR" smtClean="0"/>
              <a:t>11/05/2023</a:t>
            </a:fld>
            <a:endParaRPr lang="fr-FR"/>
          </a:p>
        </p:txBody>
      </p:sp>
      <p:sp>
        <p:nvSpPr>
          <p:cNvPr id="5" name="Espace réservé du pied de page 4">
            <a:extLst>
              <a:ext uri="{FF2B5EF4-FFF2-40B4-BE49-F238E27FC236}">
                <a16:creationId xmlns:a16="http://schemas.microsoft.com/office/drawing/2014/main" id="{BEADD8FD-D71F-2402-2896-47EDF853F055}"/>
              </a:ext>
            </a:extLst>
          </p:cNvPr>
          <p:cNvSpPr>
            <a:spLocks noGrp="1"/>
          </p:cNvSpPr>
          <p:nvPr>
            <p:ph type="ftr" sz="quarter" idx="16"/>
          </p:nvPr>
        </p:nvSpPr>
        <p:spPr/>
        <p:txBody>
          <a:bodyPr/>
          <a:lstStyle/>
          <a:p>
            <a:r>
              <a:rPr lang="fr-FR"/>
              <a:t>GROUPE ADP -                      - DIFFUSION RESTREINTE</a:t>
            </a:r>
          </a:p>
        </p:txBody>
      </p:sp>
      <p:sp>
        <p:nvSpPr>
          <p:cNvPr id="6" name="Espace réservé du numéro de diapositive 5">
            <a:extLst>
              <a:ext uri="{FF2B5EF4-FFF2-40B4-BE49-F238E27FC236}">
                <a16:creationId xmlns:a16="http://schemas.microsoft.com/office/drawing/2014/main" id="{FE65E7CC-C404-61E8-E46C-7F073326748A}"/>
              </a:ext>
            </a:extLst>
          </p:cNvPr>
          <p:cNvSpPr>
            <a:spLocks noGrp="1"/>
          </p:cNvSpPr>
          <p:nvPr>
            <p:ph type="sldNum" sz="quarter" idx="17"/>
          </p:nvPr>
        </p:nvSpPr>
        <p:spPr/>
        <p:txBody>
          <a:bodyPr/>
          <a:lstStyle/>
          <a:p>
            <a:r>
              <a:rPr lang="fr-FR"/>
              <a:t>PAGE </a:t>
            </a:r>
            <a:fld id="{8AF9711C-11F6-40F1-A9C4-511E8DA6BB32}" type="slidenum">
              <a:rPr lang="fr-FR" smtClean="0"/>
              <a:pPr/>
              <a:t>7</a:t>
            </a:fld>
            <a:endParaRPr lang="fr-FR"/>
          </a:p>
        </p:txBody>
      </p:sp>
      <p:sp>
        <p:nvSpPr>
          <p:cNvPr id="7" name="Espace réservé du texte 1">
            <a:extLst>
              <a:ext uri="{FF2B5EF4-FFF2-40B4-BE49-F238E27FC236}">
                <a16:creationId xmlns:a16="http://schemas.microsoft.com/office/drawing/2014/main" id="{541F7092-EA8B-CBEA-A928-2E637629FF40}"/>
              </a:ext>
            </a:extLst>
          </p:cNvPr>
          <p:cNvSpPr txBox="1">
            <a:spLocks/>
          </p:cNvSpPr>
          <p:nvPr/>
        </p:nvSpPr>
        <p:spPr bwMode="gray">
          <a:xfrm>
            <a:off x="4103688" y="3796688"/>
            <a:ext cx="4537075" cy="2160000"/>
          </a:xfrm>
          <a:prstGeom prst="rect">
            <a:avLst/>
          </a:prstGeom>
        </p:spPr>
        <p:txBody>
          <a:bodyPr vert="horz" lIns="0" tIns="0" rIns="0" bIns="0" rtlCol="0" anchor="t" anchorCtr="0">
            <a:noAutofit/>
          </a:bodyPr>
          <a:lstStyle>
            <a:lvl1pPr marL="0" indent="0" algn="ctr" defTabSz="914400" rtl="0" eaLnBrk="1" latinLnBrk="0" hangingPunct="1">
              <a:lnSpc>
                <a:spcPct val="100000"/>
              </a:lnSpc>
              <a:spcBef>
                <a:spcPts val="0"/>
              </a:spcBef>
              <a:spcAft>
                <a:spcPts val="0"/>
              </a:spcAft>
              <a:buClr>
                <a:schemeClr val="accent3"/>
              </a:buClr>
              <a:buSzPct val="90000"/>
              <a:buFont typeface="Wingdings" pitchFamily="2" charset="2"/>
              <a:buNone/>
              <a:defRPr sz="2450" b="1" kern="1200" cap="all" baseline="0">
                <a:solidFill>
                  <a:schemeClr val="accent1"/>
                </a:solidFill>
                <a:latin typeface="+mn-lt"/>
                <a:ea typeface="+mn-ea"/>
                <a:cs typeface="+mn-cs"/>
              </a:defRPr>
            </a:lvl1pPr>
            <a:lvl2pPr marL="360000" indent="-179388" algn="l" defTabSz="914400" rtl="0" eaLnBrk="1" latinLnBrk="0" hangingPunct="1">
              <a:lnSpc>
                <a:spcPct val="110000"/>
              </a:lnSpc>
              <a:spcBef>
                <a:spcPts val="0"/>
              </a:spcBef>
              <a:spcAft>
                <a:spcPts val="600"/>
              </a:spcAft>
              <a:buClr>
                <a:schemeClr val="accent3"/>
              </a:buClr>
              <a:buSzPct val="100000"/>
              <a:buFont typeface="Wingdings 3" panose="05040102010807070707" pitchFamily="18" charset="2"/>
              <a:buChar char=""/>
              <a:defRPr sz="1250" b="1" kern="1200">
                <a:solidFill>
                  <a:schemeClr val="accent1"/>
                </a:solidFill>
                <a:latin typeface="+mn-lt"/>
                <a:ea typeface="+mn-ea"/>
                <a:cs typeface="+mn-cs"/>
              </a:defRPr>
            </a:lvl2pPr>
            <a:lvl3pPr marL="360000" indent="0" algn="just" defTabSz="914400" rtl="0" eaLnBrk="1" latinLnBrk="0" hangingPunct="1">
              <a:lnSpc>
                <a:spcPct val="130000"/>
              </a:lnSpc>
              <a:spcBef>
                <a:spcPts val="0"/>
              </a:spcBef>
              <a:buSzPct val="100000"/>
              <a:buFont typeface="Arial" pitchFamily="34" charset="0"/>
              <a:buNone/>
              <a:defRPr sz="1250" kern="1200">
                <a:solidFill>
                  <a:schemeClr val="tx1"/>
                </a:solidFill>
                <a:latin typeface="+mn-lt"/>
                <a:ea typeface="+mn-ea"/>
                <a:cs typeface="+mn-cs"/>
              </a:defRPr>
            </a:lvl3pPr>
            <a:lvl4pPr marL="540000" indent="-180000" algn="l" defTabSz="914400" rtl="0" eaLnBrk="1" latinLnBrk="0" hangingPunct="1">
              <a:lnSpc>
                <a:spcPct val="120000"/>
              </a:lnSpc>
              <a:spcBef>
                <a:spcPts val="0"/>
              </a:spcBef>
              <a:spcAft>
                <a:spcPts val="400"/>
              </a:spcAft>
              <a:buSzPct val="100000"/>
              <a:buFont typeface="Arial" pitchFamily="34" charset="0"/>
              <a:buChar char="•"/>
              <a:defRPr sz="1250" kern="1200">
                <a:solidFill>
                  <a:schemeClr val="tx1"/>
                </a:solidFill>
                <a:latin typeface="+mn-lt"/>
                <a:ea typeface="+mn-ea"/>
                <a:cs typeface="+mn-cs"/>
              </a:defRPr>
            </a:lvl4pPr>
            <a:lvl5pPr marL="720000" indent="-180000" algn="l" defTabSz="914400" rtl="0" eaLnBrk="1" latinLnBrk="0" hangingPunct="1">
              <a:lnSpc>
                <a:spcPct val="120000"/>
              </a:lnSpc>
              <a:spcBef>
                <a:spcPts val="0"/>
              </a:spcBef>
              <a:spcAft>
                <a:spcPts val="400"/>
              </a:spcAft>
              <a:buSzPct val="100000"/>
              <a:buFont typeface="Wingdings 3" panose="05040102010807070707" pitchFamily="18" charset="2"/>
              <a:buChar char=""/>
              <a:defRPr sz="125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fr-FR" sz="2000" b="0"/>
          </a:p>
        </p:txBody>
      </p:sp>
    </p:spTree>
    <p:extLst>
      <p:ext uri="{BB962C8B-B14F-4D97-AF65-F5344CB8AC3E}">
        <p14:creationId xmlns:p14="http://schemas.microsoft.com/office/powerpoint/2010/main" val="17860758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e la date 4">
            <a:extLst>
              <a:ext uri="{FF2B5EF4-FFF2-40B4-BE49-F238E27FC236}">
                <a16:creationId xmlns:a16="http://schemas.microsoft.com/office/drawing/2014/main" id="{0B1B4B8E-6FB4-72EE-08B1-274AD18909E1}"/>
              </a:ext>
            </a:extLst>
          </p:cNvPr>
          <p:cNvSpPr>
            <a:spLocks noGrp="1"/>
          </p:cNvSpPr>
          <p:nvPr>
            <p:ph type="dt" sz="half" idx="10"/>
          </p:nvPr>
        </p:nvSpPr>
        <p:spPr/>
        <p:txBody>
          <a:bodyPr/>
          <a:lstStyle/>
          <a:p>
            <a:fld id="{9728A8E0-CAF3-46D4-8E2D-4456E50C98FA}" type="datetime1">
              <a:rPr lang="fr-FR" smtClean="0"/>
              <a:t>11/05/2023</a:t>
            </a:fld>
            <a:endParaRPr lang="fr-FR"/>
          </a:p>
        </p:txBody>
      </p:sp>
      <p:sp>
        <p:nvSpPr>
          <p:cNvPr id="6" name="Espace réservé du pied de page 5">
            <a:extLst>
              <a:ext uri="{FF2B5EF4-FFF2-40B4-BE49-F238E27FC236}">
                <a16:creationId xmlns:a16="http://schemas.microsoft.com/office/drawing/2014/main" id="{B6DC767A-2C13-C7A7-B9CB-97146B0296BD}"/>
              </a:ext>
            </a:extLst>
          </p:cNvPr>
          <p:cNvSpPr>
            <a:spLocks noGrp="1"/>
          </p:cNvSpPr>
          <p:nvPr>
            <p:ph type="ftr" sz="quarter" idx="11"/>
          </p:nvPr>
        </p:nvSpPr>
        <p:spPr/>
        <p:txBody>
          <a:bodyPr/>
          <a:lstStyle/>
          <a:p>
            <a:r>
              <a:rPr lang="fr-FR"/>
              <a:t>GROUPE ADP -                      - DIFFUSION RESTREINTE</a:t>
            </a:r>
          </a:p>
        </p:txBody>
      </p:sp>
      <p:sp>
        <p:nvSpPr>
          <p:cNvPr id="7" name="Espace réservé du numéro de diapositive 6">
            <a:extLst>
              <a:ext uri="{FF2B5EF4-FFF2-40B4-BE49-F238E27FC236}">
                <a16:creationId xmlns:a16="http://schemas.microsoft.com/office/drawing/2014/main" id="{C1AD85BA-3574-9E13-3B0E-0520E2242CE1}"/>
              </a:ext>
            </a:extLst>
          </p:cNvPr>
          <p:cNvSpPr>
            <a:spLocks noGrp="1"/>
          </p:cNvSpPr>
          <p:nvPr>
            <p:ph type="sldNum" sz="quarter" idx="12"/>
          </p:nvPr>
        </p:nvSpPr>
        <p:spPr/>
        <p:txBody>
          <a:bodyPr/>
          <a:lstStyle/>
          <a:p>
            <a:r>
              <a:rPr lang="fr-FR"/>
              <a:t>PAGE </a:t>
            </a:r>
            <a:fld id="{8AF9711C-11F6-40F1-A9C4-511E8DA6BB32}" type="slidenum">
              <a:rPr lang="fr-FR" smtClean="0"/>
              <a:pPr/>
              <a:t>8</a:t>
            </a:fld>
            <a:endParaRPr lang="fr-FR"/>
          </a:p>
        </p:txBody>
      </p:sp>
      <p:sp>
        <p:nvSpPr>
          <p:cNvPr id="4" name="Espace réservé du contenu 8">
            <a:extLst>
              <a:ext uri="{FF2B5EF4-FFF2-40B4-BE49-F238E27FC236}">
                <a16:creationId xmlns:a16="http://schemas.microsoft.com/office/drawing/2014/main" id="{B7C92E94-7A71-41A3-DAE8-937CC0A1EEE4}"/>
              </a:ext>
            </a:extLst>
          </p:cNvPr>
          <p:cNvSpPr txBox="1">
            <a:spLocks/>
          </p:cNvSpPr>
          <p:nvPr/>
        </p:nvSpPr>
        <p:spPr bwMode="gray">
          <a:xfrm>
            <a:off x="503239" y="1449388"/>
            <a:ext cx="7345672" cy="4475976"/>
          </a:xfrm>
          <a:prstGeom prst="rect">
            <a:avLst/>
          </a:prstGeom>
        </p:spPr>
        <p:txBody>
          <a:bodyPr vert="horz" lIns="0" tIns="0" rIns="0" bIns="0" rtlCol="0" anchor="t" anchorCtr="0">
            <a:noAutofit/>
          </a:bodyPr>
          <a:lstStyle>
            <a:lvl1pPr marL="180000" indent="-180000" algn="l" defTabSz="914400" rtl="0" eaLnBrk="1" latinLnBrk="0" hangingPunct="1">
              <a:lnSpc>
                <a:spcPct val="110000"/>
              </a:lnSpc>
              <a:spcBef>
                <a:spcPts val="0"/>
              </a:spcBef>
              <a:spcAft>
                <a:spcPts val="600"/>
              </a:spcAft>
              <a:buClr>
                <a:schemeClr val="accent3"/>
              </a:buClr>
              <a:buSzPct val="90000"/>
              <a:buFont typeface="Wingdings" pitchFamily="2" charset="2"/>
              <a:buChar char=""/>
              <a:defRPr sz="1250" b="1" kern="1200">
                <a:solidFill>
                  <a:schemeClr val="accent1"/>
                </a:solidFill>
                <a:latin typeface="+mn-lt"/>
                <a:ea typeface="+mn-ea"/>
                <a:cs typeface="+mn-cs"/>
              </a:defRPr>
            </a:lvl1pPr>
            <a:lvl2pPr marL="360000" indent="-179388" algn="l" defTabSz="914400" rtl="0" eaLnBrk="1" latinLnBrk="0" hangingPunct="1">
              <a:lnSpc>
                <a:spcPct val="110000"/>
              </a:lnSpc>
              <a:spcBef>
                <a:spcPts val="0"/>
              </a:spcBef>
              <a:spcAft>
                <a:spcPts val="600"/>
              </a:spcAft>
              <a:buClr>
                <a:schemeClr val="accent3"/>
              </a:buClr>
              <a:buSzPct val="100000"/>
              <a:buFont typeface="Wingdings 3" panose="05040102010807070707" pitchFamily="18" charset="2"/>
              <a:buChar char=""/>
              <a:defRPr sz="1250" b="1" kern="1200">
                <a:solidFill>
                  <a:schemeClr val="accent1"/>
                </a:solidFill>
                <a:latin typeface="+mn-lt"/>
                <a:ea typeface="+mn-ea"/>
                <a:cs typeface="+mn-cs"/>
              </a:defRPr>
            </a:lvl2pPr>
            <a:lvl3pPr marL="360000" indent="0" algn="just" defTabSz="914400" rtl="0" eaLnBrk="1" latinLnBrk="0" hangingPunct="1">
              <a:lnSpc>
                <a:spcPct val="130000"/>
              </a:lnSpc>
              <a:spcBef>
                <a:spcPts val="0"/>
              </a:spcBef>
              <a:buSzPct val="100000"/>
              <a:buFont typeface="Arial" pitchFamily="34" charset="0"/>
              <a:buNone/>
              <a:defRPr sz="1250" kern="1200">
                <a:solidFill>
                  <a:schemeClr val="tx1"/>
                </a:solidFill>
                <a:latin typeface="+mn-lt"/>
                <a:ea typeface="+mn-ea"/>
                <a:cs typeface="+mn-cs"/>
              </a:defRPr>
            </a:lvl3pPr>
            <a:lvl4pPr marL="540000" indent="-180000" algn="l" defTabSz="914400" rtl="0" eaLnBrk="1" latinLnBrk="0" hangingPunct="1">
              <a:lnSpc>
                <a:spcPct val="120000"/>
              </a:lnSpc>
              <a:spcBef>
                <a:spcPts val="0"/>
              </a:spcBef>
              <a:spcAft>
                <a:spcPts val="400"/>
              </a:spcAft>
              <a:buSzPct val="100000"/>
              <a:buFont typeface="Arial" pitchFamily="34" charset="0"/>
              <a:buChar char="•"/>
              <a:defRPr sz="1250" kern="1200" baseline="0">
                <a:solidFill>
                  <a:schemeClr val="tx1"/>
                </a:solidFill>
                <a:latin typeface="+mn-lt"/>
                <a:ea typeface="+mn-ea"/>
                <a:cs typeface="+mn-cs"/>
              </a:defRPr>
            </a:lvl4pPr>
            <a:lvl5pPr marL="720000" indent="-180000" algn="l" defTabSz="914400" rtl="0" eaLnBrk="1" latinLnBrk="0" hangingPunct="1">
              <a:lnSpc>
                <a:spcPct val="120000"/>
              </a:lnSpc>
              <a:spcBef>
                <a:spcPts val="0"/>
              </a:spcBef>
              <a:spcAft>
                <a:spcPts val="400"/>
              </a:spcAft>
              <a:buSzPct val="100000"/>
              <a:buFont typeface="Wingdings 3" panose="05040102010807070707" pitchFamily="18" charset="2"/>
              <a:buChar char=""/>
              <a:defRPr sz="125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Font typeface="Wingdings" pitchFamily="2" charset="2"/>
              <a:buNone/>
            </a:pPr>
            <a:endParaRPr lang="fr-FR" sz="1200" b="0" dirty="0"/>
          </a:p>
          <a:p>
            <a:pPr marL="0" indent="0">
              <a:lnSpc>
                <a:spcPct val="100000"/>
              </a:lnSpc>
              <a:buFont typeface="Wingdings" pitchFamily="2" charset="2"/>
              <a:buNone/>
            </a:pPr>
            <a:endParaRPr lang="fr-FR" sz="1200" b="0" dirty="0"/>
          </a:p>
          <a:p>
            <a:pPr marL="0" indent="0">
              <a:lnSpc>
                <a:spcPct val="100000"/>
              </a:lnSpc>
              <a:buFont typeface="Wingdings" pitchFamily="2" charset="2"/>
              <a:buNone/>
            </a:pPr>
            <a:endParaRPr lang="fr-FR" sz="1200" b="0" dirty="0"/>
          </a:p>
          <a:p>
            <a:pPr marL="0" indent="0">
              <a:lnSpc>
                <a:spcPct val="100000"/>
              </a:lnSpc>
              <a:buFont typeface="Wingdings" pitchFamily="2" charset="2"/>
              <a:buNone/>
            </a:pPr>
            <a:endParaRPr lang="fr-FR" sz="1200" b="0" dirty="0"/>
          </a:p>
          <a:p>
            <a:pPr marL="0" indent="0">
              <a:lnSpc>
                <a:spcPct val="100000"/>
              </a:lnSpc>
              <a:buFont typeface="Wingdings" pitchFamily="2" charset="2"/>
              <a:buNone/>
            </a:pPr>
            <a:endParaRPr lang="fr-FR" sz="1200" b="0" dirty="0"/>
          </a:p>
        </p:txBody>
      </p:sp>
      <p:sp>
        <p:nvSpPr>
          <p:cNvPr id="10" name="Titre 9">
            <a:extLst>
              <a:ext uri="{FF2B5EF4-FFF2-40B4-BE49-F238E27FC236}">
                <a16:creationId xmlns:a16="http://schemas.microsoft.com/office/drawing/2014/main" id="{AE8EF34A-92A3-350F-13EB-0BF37157681C}"/>
              </a:ext>
            </a:extLst>
          </p:cNvPr>
          <p:cNvSpPr>
            <a:spLocks noGrp="1"/>
          </p:cNvSpPr>
          <p:nvPr>
            <p:ph type="title"/>
          </p:nvPr>
        </p:nvSpPr>
        <p:spPr/>
        <p:txBody>
          <a:bodyPr/>
          <a:lstStyle/>
          <a:p>
            <a:r>
              <a:rPr lang="fr-FR" dirty="0"/>
              <a:t>CI/CD – FIN 2023</a:t>
            </a:r>
          </a:p>
        </p:txBody>
      </p:sp>
      <p:sp>
        <p:nvSpPr>
          <p:cNvPr id="12" name="ZoneTexte 11">
            <a:extLst>
              <a:ext uri="{FF2B5EF4-FFF2-40B4-BE49-F238E27FC236}">
                <a16:creationId xmlns:a16="http://schemas.microsoft.com/office/drawing/2014/main" id="{51AB72BD-5F78-FB86-C3FE-217878DA2F5E}"/>
              </a:ext>
            </a:extLst>
          </p:cNvPr>
          <p:cNvSpPr txBox="1"/>
          <p:nvPr/>
        </p:nvSpPr>
        <p:spPr>
          <a:xfrm>
            <a:off x="616449" y="1530849"/>
            <a:ext cx="184731" cy="369332"/>
          </a:xfrm>
          <a:prstGeom prst="rect">
            <a:avLst/>
          </a:prstGeom>
          <a:noFill/>
        </p:spPr>
        <p:txBody>
          <a:bodyPr wrap="none" rtlCol="0">
            <a:spAutoFit/>
          </a:bodyPr>
          <a:lstStyle/>
          <a:p>
            <a:endParaRPr lang="fr-FR" dirty="0"/>
          </a:p>
        </p:txBody>
      </p:sp>
      <p:pic>
        <p:nvPicPr>
          <p:cNvPr id="3" name="Image 2">
            <a:extLst>
              <a:ext uri="{FF2B5EF4-FFF2-40B4-BE49-F238E27FC236}">
                <a16:creationId xmlns:a16="http://schemas.microsoft.com/office/drawing/2014/main" id="{54FA9D37-5C57-27BC-BD2D-8287A10C36DB}"/>
              </a:ext>
            </a:extLst>
          </p:cNvPr>
          <p:cNvPicPr>
            <a:picLocks noChangeAspect="1"/>
          </p:cNvPicPr>
          <p:nvPr/>
        </p:nvPicPr>
        <p:blipFill>
          <a:blip r:embed="rId2"/>
          <a:stretch>
            <a:fillRect/>
          </a:stretch>
        </p:blipFill>
        <p:spPr>
          <a:xfrm>
            <a:off x="353045" y="1449387"/>
            <a:ext cx="8135316" cy="4333620"/>
          </a:xfrm>
          <a:prstGeom prst="rect">
            <a:avLst/>
          </a:prstGeom>
        </p:spPr>
      </p:pic>
    </p:spTree>
    <p:extLst>
      <p:ext uri="{BB962C8B-B14F-4D97-AF65-F5344CB8AC3E}">
        <p14:creationId xmlns:p14="http://schemas.microsoft.com/office/powerpoint/2010/main" val="30519091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e la date 4">
            <a:extLst>
              <a:ext uri="{FF2B5EF4-FFF2-40B4-BE49-F238E27FC236}">
                <a16:creationId xmlns:a16="http://schemas.microsoft.com/office/drawing/2014/main" id="{0B1B4B8E-6FB4-72EE-08B1-274AD18909E1}"/>
              </a:ext>
            </a:extLst>
          </p:cNvPr>
          <p:cNvSpPr>
            <a:spLocks noGrp="1"/>
          </p:cNvSpPr>
          <p:nvPr>
            <p:ph type="dt" sz="half" idx="10"/>
          </p:nvPr>
        </p:nvSpPr>
        <p:spPr/>
        <p:txBody>
          <a:bodyPr/>
          <a:lstStyle/>
          <a:p>
            <a:fld id="{9728A8E0-CAF3-46D4-8E2D-4456E50C98FA}" type="datetime1">
              <a:rPr lang="fr-FR" smtClean="0"/>
              <a:t>11/05/2023</a:t>
            </a:fld>
            <a:endParaRPr lang="fr-FR"/>
          </a:p>
        </p:txBody>
      </p:sp>
      <p:sp>
        <p:nvSpPr>
          <p:cNvPr id="6" name="Espace réservé du pied de page 5">
            <a:extLst>
              <a:ext uri="{FF2B5EF4-FFF2-40B4-BE49-F238E27FC236}">
                <a16:creationId xmlns:a16="http://schemas.microsoft.com/office/drawing/2014/main" id="{B6DC767A-2C13-C7A7-B9CB-97146B0296BD}"/>
              </a:ext>
            </a:extLst>
          </p:cNvPr>
          <p:cNvSpPr>
            <a:spLocks noGrp="1"/>
          </p:cNvSpPr>
          <p:nvPr>
            <p:ph type="ftr" sz="quarter" idx="11"/>
          </p:nvPr>
        </p:nvSpPr>
        <p:spPr/>
        <p:txBody>
          <a:bodyPr/>
          <a:lstStyle/>
          <a:p>
            <a:r>
              <a:rPr lang="fr-FR"/>
              <a:t>GROUPE ADP -                      - DIFFUSION RESTREINTE</a:t>
            </a:r>
          </a:p>
        </p:txBody>
      </p:sp>
      <p:sp>
        <p:nvSpPr>
          <p:cNvPr id="7" name="Espace réservé du numéro de diapositive 6">
            <a:extLst>
              <a:ext uri="{FF2B5EF4-FFF2-40B4-BE49-F238E27FC236}">
                <a16:creationId xmlns:a16="http://schemas.microsoft.com/office/drawing/2014/main" id="{C1AD85BA-3574-9E13-3B0E-0520E2242CE1}"/>
              </a:ext>
            </a:extLst>
          </p:cNvPr>
          <p:cNvSpPr>
            <a:spLocks noGrp="1"/>
          </p:cNvSpPr>
          <p:nvPr>
            <p:ph type="sldNum" sz="quarter" idx="12"/>
          </p:nvPr>
        </p:nvSpPr>
        <p:spPr/>
        <p:txBody>
          <a:bodyPr/>
          <a:lstStyle/>
          <a:p>
            <a:r>
              <a:rPr lang="fr-FR"/>
              <a:t>PAGE </a:t>
            </a:r>
            <a:fld id="{8AF9711C-11F6-40F1-A9C4-511E8DA6BB32}" type="slidenum">
              <a:rPr lang="fr-FR" smtClean="0"/>
              <a:pPr/>
              <a:t>9</a:t>
            </a:fld>
            <a:endParaRPr lang="fr-FR"/>
          </a:p>
        </p:txBody>
      </p:sp>
      <p:sp>
        <p:nvSpPr>
          <p:cNvPr id="4" name="Espace réservé du contenu 8">
            <a:extLst>
              <a:ext uri="{FF2B5EF4-FFF2-40B4-BE49-F238E27FC236}">
                <a16:creationId xmlns:a16="http://schemas.microsoft.com/office/drawing/2014/main" id="{B7C92E94-7A71-41A3-DAE8-937CC0A1EEE4}"/>
              </a:ext>
            </a:extLst>
          </p:cNvPr>
          <p:cNvSpPr txBox="1">
            <a:spLocks/>
          </p:cNvSpPr>
          <p:nvPr/>
        </p:nvSpPr>
        <p:spPr bwMode="gray">
          <a:xfrm>
            <a:off x="503239" y="1449388"/>
            <a:ext cx="7345672" cy="4475976"/>
          </a:xfrm>
          <a:prstGeom prst="rect">
            <a:avLst/>
          </a:prstGeom>
        </p:spPr>
        <p:txBody>
          <a:bodyPr vert="horz" lIns="0" tIns="0" rIns="0" bIns="0" rtlCol="0" anchor="t" anchorCtr="0">
            <a:noAutofit/>
          </a:bodyPr>
          <a:lstStyle>
            <a:lvl1pPr marL="180000" indent="-180000" algn="l" defTabSz="914400" rtl="0" eaLnBrk="1" latinLnBrk="0" hangingPunct="1">
              <a:lnSpc>
                <a:spcPct val="110000"/>
              </a:lnSpc>
              <a:spcBef>
                <a:spcPts val="0"/>
              </a:spcBef>
              <a:spcAft>
                <a:spcPts val="600"/>
              </a:spcAft>
              <a:buClr>
                <a:schemeClr val="accent3"/>
              </a:buClr>
              <a:buSzPct val="90000"/>
              <a:buFont typeface="Wingdings" pitchFamily="2" charset="2"/>
              <a:buChar char=""/>
              <a:defRPr sz="1250" b="1" kern="1200">
                <a:solidFill>
                  <a:schemeClr val="accent1"/>
                </a:solidFill>
                <a:latin typeface="+mn-lt"/>
                <a:ea typeface="+mn-ea"/>
                <a:cs typeface="+mn-cs"/>
              </a:defRPr>
            </a:lvl1pPr>
            <a:lvl2pPr marL="360000" indent="-179388" algn="l" defTabSz="914400" rtl="0" eaLnBrk="1" latinLnBrk="0" hangingPunct="1">
              <a:lnSpc>
                <a:spcPct val="110000"/>
              </a:lnSpc>
              <a:spcBef>
                <a:spcPts val="0"/>
              </a:spcBef>
              <a:spcAft>
                <a:spcPts val="600"/>
              </a:spcAft>
              <a:buClr>
                <a:schemeClr val="accent3"/>
              </a:buClr>
              <a:buSzPct val="100000"/>
              <a:buFont typeface="Wingdings 3" panose="05040102010807070707" pitchFamily="18" charset="2"/>
              <a:buChar char=""/>
              <a:defRPr sz="1250" b="1" kern="1200">
                <a:solidFill>
                  <a:schemeClr val="accent1"/>
                </a:solidFill>
                <a:latin typeface="+mn-lt"/>
                <a:ea typeface="+mn-ea"/>
                <a:cs typeface="+mn-cs"/>
              </a:defRPr>
            </a:lvl2pPr>
            <a:lvl3pPr marL="360000" indent="0" algn="just" defTabSz="914400" rtl="0" eaLnBrk="1" latinLnBrk="0" hangingPunct="1">
              <a:lnSpc>
                <a:spcPct val="130000"/>
              </a:lnSpc>
              <a:spcBef>
                <a:spcPts val="0"/>
              </a:spcBef>
              <a:buSzPct val="100000"/>
              <a:buFont typeface="Arial" pitchFamily="34" charset="0"/>
              <a:buNone/>
              <a:defRPr sz="1250" kern="1200">
                <a:solidFill>
                  <a:schemeClr val="tx1"/>
                </a:solidFill>
                <a:latin typeface="+mn-lt"/>
                <a:ea typeface="+mn-ea"/>
                <a:cs typeface="+mn-cs"/>
              </a:defRPr>
            </a:lvl3pPr>
            <a:lvl4pPr marL="540000" indent="-180000" algn="l" defTabSz="914400" rtl="0" eaLnBrk="1" latinLnBrk="0" hangingPunct="1">
              <a:lnSpc>
                <a:spcPct val="120000"/>
              </a:lnSpc>
              <a:spcBef>
                <a:spcPts val="0"/>
              </a:spcBef>
              <a:spcAft>
                <a:spcPts val="400"/>
              </a:spcAft>
              <a:buSzPct val="100000"/>
              <a:buFont typeface="Arial" pitchFamily="34" charset="0"/>
              <a:buChar char="•"/>
              <a:defRPr sz="1250" kern="1200" baseline="0">
                <a:solidFill>
                  <a:schemeClr val="tx1"/>
                </a:solidFill>
                <a:latin typeface="+mn-lt"/>
                <a:ea typeface="+mn-ea"/>
                <a:cs typeface="+mn-cs"/>
              </a:defRPr>
            </a:lvl4pPr>
            <a:lvl5pPr marL="720000" indent="-180000" algn="l" defTabSz="914400" rtl="0" eaLnBrk="1" latinLnBrk="0" hangingPunct="1">
              <a:lnSpc>
                <a:spcPct val="120000"/>
              </a:lnSpc>
              <a:spcBef>
                <a:spcPts val="0"/>
              </a:spcBef>
              <a:spcAft>
                <a:spcPts val="400"/>
              </a:spcAft>
              <a:buSzPct val="100000"/>
              <a:buFont typeface="Wingdings 3" panose="05040102010807070707" pitchFamily="18" charset="2"/>
              <a:buChar char=""/>
              <a:defRPr sz="125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Font typeface="Wingdings" pitchFamily="2" charset="2"/>
              <a:buNone/>
            </a:pPr>
            <a:endParaRPr lang="fr-FR" sz="1200" b="0" dirty="0"/>
          </a:p>
          <a:p>
            <a:pPr marL="0" indent="0">
              <a:lnSpc>
                <a:spcPct val="100000"/>
              </a:lnSpc>
              <a:buFont typeface="Wingdings" pitchFamily="2" charset="2"/>
              <a:buNone/>
            </a:pPr>
            <a:endParaRPr lang="fr-FR" sz="1200" b="0" dirty="0"/>
          </a:p>
          <a:p>
            <a:pPr marL="0" indent="0">
              <a:lnSpc>
                <a:spcPct val="100000"/>
              </a:lnSpc>
              <a:buFont typeface="Wingdings" pitchFamily="2" charset="2"/>
              <a:buNone/>
            </a:pPr>
            <a:endParaRPr lang="fr-FR" sz="1200" b="0" dirty="0"/>
          </a:p>
          <a:p>
            <a:pPr marL="0" indent="0">
              <a:lnSpc>
                <a:spcPct val="100000"/>
              </a:lnSpc>
              <a:buFont typeface="Wingdings" pitchFamily="2" charset="2"/>
              <a:buNone/>
            </a:pPr>
            <a:endParaRPr lang="fr-FR" sz="1200" b="0" dirty="0"/>
          </a:p>
          <a:p>
            <a:pPr marL="0" indent="0">
              <a:lnSpc>
                <a:spcPct val="100000"/>
              </a:lnSpc>
              <a:buFont typeface="Wingdings" pitchFamily="2" charset="2"/>
              <a:buNone/>
            </a:pPr>
            <a:endParaRPr lang="fr-FR" sz="1200" b="0" dirty="0"/>
          </a:p>
        </p:txBody>
      </p:sp>
      <p:sp>
        <p:nvSpPr>
          <p:cNvPr id="10" name="Titre 9">
            <a:extLst>
              <a:ext uri="{FF2B5EF4-FFF2-40B4-BE49-F238E27FC236}">
                <a16:creationId xmlns:a16="http://schemas.microsoft.com/office/drawing/2014/main" id="{AE8EF34A-92A3-350F-13EB-0BF37157681C}"/>
              </a:ext>
            </a:extLst>
          </p:cNvPr>
          <p:cNvSpPr>
            <a:spLocks noGrp="1"/>
          </p:cNvSpPr>
          <p:nvPr>
            <p:ph type="title"/>
          </p:nvPr>
        </p:nvSpPr>
        <p:spPr/>
        <p:txBody>
          <a:bodyPr/>
          <a:lstStyle/>
          <a:p>
            <a:r>
              <a:rPr lang="fr-FR" dirty="0"/>
              <a:t>CI/CD – FIN 2023</a:t>
            </a:r>
          </a:p>
        </p:txBody>
      </p:sp>
      <p:sp>
        <p:nvSpPr>
          <p:cNvPr id="12" name="ZoneTexte 11">
            <a:extLst>
              <a:ext uri="{FF2B5EF4-FFF2-40B4-BE49-F238E27FC236}">
                <a16:creationId xmlns:a16="http://schemas.microsoft.com/office/drawing/2014/main" id="{51AB72BD-5F78-FB86-C3FE-217878DA2F5E}"/>
              </a:ext>
            </a:extLst>
          </p:cNvPr>
          <p:cNvSpPr txBox="1"/>
          <p:nvPr/>
        </p:nvSpPr>
        <p:spPr>
          <a:xfrm>
            <a:off x="616449" y="1530849"/>
            <a:ext cx="184731" cy="369332"/>
          </a:xfrm>
          <a:prstGeom prst="rect">
            <a:avLst/>
          </a:prstGeom>
          <a:noFill/>
        </p:spPr>
        <p:txBody>
          <a:bodyPr wrap="none" rtlCol="0">
            <a:spAutoFit/>
          </a:bodyPr>
          <a:lstStyle/>
          <a:p>
            <a:endParaRPr lang="fr-FR" dirty="0"/>
          </a:p>
        </p:txBody>
      </p:sp>
      <p:sp>
        <p:nvSpPr>
          <p:cNvPr id="2" name="Espace réservé du contenu 8">
            <a:extLst>
              <a:ext uri="{FF2B5EF4-FFF2-40B4-BE49-F238E27FC236}">
                <a16:creationId xmlns:a16="http://schemas.microsoft.com/office/drawing/2014/main" id="{AA1C5848-5A41-2DB0-A91F-8366383CD3F7}"/>
              </a:ext>
            </a:extLst>
          </p:cNvPr>
          <p:cNvSpPr txBox="1">
            <a:spLocks/>
          </p:cNvSpPr>
          <p:nvPr/>
        </p:nvSpPr>
        <p:spPr bwMode="gray">
          <a:xfrm>
            <a:off x="503239" y="1581924"/>
            <a:ext cx="7345672" cy="4475976"/>
          </a:xfrm>
          <a:prstGeom prst="rect">
            <a:avLst/>
          </a:prstGeom>
        </p:spPr>
        <p:txBody>
          <a:bodyPr vert="horz" lIns="0" tIns="0" rIns="0" bIns="0" rtlCol="0" anchor="t" anchorCtr="0">
            <a:noAutofit/>
          </a:bodyPr>
          <a:lstStyle>
            <a:lvl1pPr marL="180000" indent="-180000" algn="l" defTabSz="914400" rtl="0" eaLnBrk="1" latinLnBrk="0" hangingPunct="1">
              <a:lnSpc>
                <a:spcPct val="110000"/>
              </a:lnSpc>
              <a:spcBef>
                <a:spcPts val="0"/>
              </a:spcBef>
              <a:spcAft>
                <a:spcPts val="600"/>
              </a:spcAft>
              <a:buClr>
                <a:schemeClr val="accent3"/>
              </a:buClr>
              <a:buSzPct val="90000"/>
              <a:buFont typeface="Wingdings" pitchFamily="2" charset="2"/>
              <a:buChar char=""/>
              <a:defRPr sz="1250" b="1" kern="1200">
                <a:solidFill>
                  <a:schemeClr val="accent1"/>
                </a:solidFill>
                <a:latin typeface="+mn-lt"/>
                <a:ea typeface="+mn-ea"/>
                <a:cs typeface="+mn-cs"/>
              </a:defRPr>
            </a:lvl1pPr>
            <a:lvl2pPr marL="360000" indent="-179388" algn="l" defTabSz="914400" rtl="0" eaLnBrk="1" latinLnBrk="0" hangingPunct="1">
              <a:lnSpc>
                <a:spcPct val="110000"/>
              </a:lnSpc>
              <a:spcBef>
                <a:spcPts val="0"/>
              </a:spcBef>
              <a:spcAft>
                <a:spcPts val="600"/>
              </a:spcAft>
              <a:buClr>
                <a:schemeClr val="accent3"/>
              </a:buClr>
              <a:buSzPct val="100000"/>
              <a:buFont typeface="Wingdings 3" panose="05040102010807070707" pitchFamily="18" charset="2"/>
              <a:buChar char=""/>
              <a:defRPr sz="1250" b="1" kern="1200">
                <a:solidFill>
                  <a:schemeClr val="accent1"/>
                </a:solidFill>
                <a:latin typeface="+mn-lt"/>
                <a:ea typeface="+mn-ea"/>
                <a:cs typeface="+mn-cs"/>
              </a:defRPr>
            </a:lvl2pPr>
            <a:lvl3pPr marL="360000" indent="0" algn="just" defTabSz="914400" rtl="0" eaLnBrk="1" latinLnBrk="0" hangingPunct="1">
              <a:lnSpc>
                <a:spcPct val="130000"/>
              </a:lnSpc>
              <a:spcBef>
                <a:spcPts val="0"/>
              </a:spcBef>
              <a:buSzPct val="100000"/>
              <a:buFont typeface="Arial" pitchFamily="34" charset="0"/>
              <a:buNone/>
              <a:defRPr sz="1250" kern="1200">
                <a:solidFill>
                  <a:schemeClr val="tx1"/>
                </a:solidFill>
                <a:latin typeface="+mn-lt"/>
                <a:ea typeface="+mn-ea"/>
                <a:cs typeface="+mn-cs"/>
              </a:defRPr>
            </a:lvl3pPr>
            <a:lvl4pPr marL="540000" indent="-180000" algn="l" defTabSz="914400" rtl="0" eaLnBrk="1" latinLnBrk="0" hangingPunct="1">
              <a:lnSpc>
                <a:spcPct val="120000"/>
              </a:lnSpc>
              <a:spcBef>
                <a:spcPts val="0"/>
              </a:spcBef>
              <a:spcAft>
                <a:spcPts val="400"/>
              </a:spcAft>
              <a:buSzPct val="100000"/>
              <a:buFont typeface="Arial" pitchFamily="34" charset="0"/>
              <a:buChar char="•"/>
              <a:defRPr sz="1250" kern="1200" baseline="0">
                <a:solidFill>
                  <a:schemeClr val="tx1"/>
                </a:solidFill>
                <a:latin typeface="+mn-lt"/>
                <a:ea typeface="+mn-ea"/>
                <a:cs typeface="+mn-cs"/>
              </a:defRPr>
            </a:lvl4pPr>
            <a:lvl5pPr marL="720000" indent="-180000" algn="l" defTabSz="914400" rtl="0" eaLnBrk="1" latinLnBrk="0" hangingPunct="1">
              <a:lnSpc>
                <a:spcPct val="120000"/>
              </a:lnSpc>
              <a:spcBef>
                <a:spcPts val="0"/>
              </a:spcBef>
              <a:spcAft>
                <a:spcPts val="400"/>
              </a:spcAft>
              <a:buSzPct val="100000"/>
              <a:buFont typeface="Wingdings 3" panose="05040102010807070707" pitchFamily="18" charset="2"/>
              <a:buChar char=""/>
              <a:defRPr sz="125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Font typeface="Wingdings" pitchFamily="2" charset="2"/>
              <a:buNone/>
            </a:pPr>
            <a:r>
              <a:rPr lang="fr-FR" sz="1400" dirty="0"/>
              <a:t>Améliorations:</a:t>
            </a:r>
          </a:p>
          <a:p>
            <a:pPr>
              <a:lnSpc>
                <a:spcPct val="100000"/>
              </a:lnSpc>
            </a:pPr>
            <a:r>
              <a:rPr lang="fr-FR" sz="1400" b="0" dirty="0"/>
              <a:t>Déploiement dans un multi-environnement.</a:t>
            </a:r>
          </a:p>
          <a:p>
            <a:pPr>
              <a:lnSpc>
                <a:spcPct val="100000"/>
              </a:lnSpc>
            </a:pPr>
            <a:r>
              <a:rPr lang="fr-FR" sz="1400" b="0" dirty="0"/>
              <a:t>Notion d’environnement et d’approbation du déploiement.</a:t>
            </a:r>
          </a:p>
          <a:p>
            <a:pPr>
              <a:lnSpc>
                <a:spcPct val="100000"/>
              </a:lnSpc>
            </a:pPr>
            <a:r>
              <a:rPr lang="fr-FR" sz="1400" b="0" dirty="0"/>
              <a:t>Mise à disposition d’un tfplan format </a:t>
            </a:r>
            <a:r>
              <a:rPr lang="fr-FR" sz="1400" b="0" dirty="0" err="1"/>
              <a:t>text</a:t>
            </a:r>
            <a:r>
              <a:rPr lang="fr-FR" sz="1400" b="0" dirty="0"/>
              <a:t> facilitant la lecture du delta ( modification à apporter sur l’infra cible).</a:t>
            </a:r>
          </a:p>
          <a:p>
            <a:pPr>
              <a:lnSpc>
                <a:spcPct val="100000"/>
              </a:lnSpc>
            </a:pPr>
            <a:r>
              <a:rPr lang="fr-FR" sz="1400" b="0" dirty="0"/>
              <a:t>Rajout d’un stage linter permettant de valider l’aspect sécurité, qualité et format de la configuration à déployer.</a:t>
            </a:r>
          </a:p>
          <a:p>
            <a:pPr>
              <a:lnSpc>
                <a:spcPct val="100000"/>
              </a:lnSpc>
            </a:pPr>
            <a:r>
              <a:rPr lang="fr-FR" sz="1400" b="0" dirty="0"/>
              <a:t>Structure de pipeline en mode </a:t>
            </a:r>
            <a:r>
              <a:rPr lang="fr-FR" sz="1400" b="0" dirty="0" err="1"/>
              <a:t>templates</a:t>
            </a:r>
            <a:r>
              <a:rPr lang="fr-FR" sz="1400" b="0" dirty="0"/>
              <a:t> paramétrées facilement réutilisable de redéployable.</a:t>
            </a:r>
          </a:p>
          <a:p>
            <a:pPr marL="0" indent="0">
              <a:lnSpc>
                <a:spcPct val="100000"/>
              </a:lnSpc>
              <a:buNone/>
            </a:pPr>
            <a:endParaRPr lang="fr-FR" sz="1400" b="0" dirty="0"/>
          </a:p>
          <a:p>
            <a:pPr marL="0" indent="0">
              <a:lnSpc>
                <a:spcPct val="100000"/>
              </a:lnSpc>
              <a:buNone/>
            </a:pPr>
            <a:endParaRPr lang="fr-FR" sz="1400" b="0" dirty="0"/>
          </a:p>
          <a:p>
            <a:pPr marL="0" indent="0">
              <a:lnSpc>
                <a:spcPct val="100000"/>
              </a:lnSpc>
              <a:buNone/>
            </a:pPr>
            <a:r>
              <a:rPr lang="fr-FR" sz="1400" b="0" dirty="0"/>
              <a:t> </a:t>
            </a:r>
          </a:p>
          <a:p>
            <a:pPr marL="0" indent="0">
              <a:lnSpc>
                <a:spcPct val="100000"/>
              </a:lnSpc>
              <a:buFont typeface="Wingdings" pitchFamily="2" charset="2"/>
              <a:buNone/>
            </a:pPr>
            <a:endParaRPr lang="fr-FR" sz="1400" b="0" dirty="0"/>
          </a:p>
        </p:txBody>
      </p:sp>
    </p:spTree>
    <p:extLst>
      <p:ext uri="{BB962C8B-B14F-4D97-AF65-F5344CB8AC3E}">
        <p14:creationId xmlns:p14="http://schemas.microsoft.com/office/powerpoint/2010/main" val="119667222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MkSs4YnYU62Qos7rRU8r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qvOg6WBLEqMXPznb6ide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qu3NmOwF0K2RPqDRKT96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49ioZYOF_06hiF5WMPdCF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hU71JpW8iUO7c9fyRwV5l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wI9xnpZSkmscqSL0R6NH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poq28zwF0CoJxDJWN6KA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z4l5OyTdEGfTEakOBvR.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CfPUIZpwEGynodMUaLBw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lx2pPnsskKMNLrrt3NVg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imCUYMKAkqVx8j.NM5DT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N9n2lw7M0aBBJ3dOcN0Fw"/>
</p:tagLst>
</file>

<file path=ppt/theme/theme1.xml><?xml version="1.0" encoding="utf-8"?>
<a:theme xmlns:a="http://schemas.openxmlformats.org/drawingml/2006/main" name="ADP">
  <a:themeElements>
    <a:clrScheme name="ADP">
      <a:dk1>
        <a:srgbClr val="5A5A5A"/>
      </a:dk1>
      <a:lt1>
        <a:sysClr val="window" lastClr="FFFFFF"/>
      </a:lt1>
      <a:dk2>
        <a:srgbClr val="000000"/>
      </a:dk2>
      <a:lt2>
        <a:srgbClr val="9DCDE2"/>
      </a:lt2>
      <a:accent1>
        <a:srgbClr val="031F73"/>
      </a:accent1>
      <a:accent2>
        <a:srgbClr val="376DB3"/>
      </a:accent2>
      <a:accent3>
        <a:srgbClr val="C84118"/>
      </a:accent3>
      <a:accent4>
        <a:srgbClr val="D6BFA5"/>
      </a:accent4>
      <a:accent5>
        <a:srgbClr val="9ECABF"/>
      </a:accent5>
      <a:accent6>
        <a:srgbClr val="D3A7C1"/>
      </a:accent6>
      <a:hlink>
        <a:srgbClr val="5A5A5A"/>
      </a:hlink>
      <a:folHlink>
        <a:srgbClr val="5A5A5A"/>
      </a:folHlink>
    </a:clrScheme>
    <a:fontScheme name="Century_Gothic">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plate LIGHT AXYS">
  <a:themeElements>
    <a:clrScheme name="AXYS COLORS">
      <a:dk1>
        <a:sysClr val="windowText" lastClr="000000"/>
      </a:dk1>
      <a:lt1>
        <a:sysClr val="window" lastClr="FFFFFF"/>
      </a:lt1>
      <a:dk2>
        <a:srgbClr val="EB641B"/>
      </a:dk2>
      <a:lt2>
        <a:srgbClr val="7F7F7F"/>
      </a:lt2>
      <a:accent1>
        <a:srgbClr val="A5C249"/>
      </a:accent1>
      <a:accent2>
        <a:srgbClr val="31859C"/>
      </a:accent2>
      <a:accent3>
        <a:srgbClr val="336699"/>
      </a:accent3>
      <a:accent4>
        <a:srgbClr val="660066"/>
      </a:accent4>
      <a:accent5>
        <a:srgbClr val="AD1713"/>
      </a:accent5>
      <a:accent6>
        <a:srgbClr val="F5C201"/>
      </a:accent6>
      <a:hlink>
        <a:srgbClr val="0000FF"/>
      </a:hlink>
      <a:folHlink>
        <a:srgbClr val="800080"/>
      </a:folHlink>
    </a:clrScheme>
    <a:fontScheme name="123deal">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outerShdw blurRad="63500" sx="102000" sy="102000" algn="ctr" rotWithShape="0">
            <a:prstClr val="black">
              <a:alpha val="40000"/>
            </a:prstClr>
          </a:outerShdw>
        </a:effectLst>
      </a:spPr>
      <a:bodyPr rtlCol="0" anchor="ctr"/>
      <a:lstStyle>
        <a:defPPr algn="ctr">
          <a:defRPr sz="1600" b="1"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600" dirty="0" smtClean="0"/>
        </a:defPPr>
      </a:lstStyle>
    </a:txDef>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C7C918D6B26D84FB27C58C2FB919D10" ma:contentTypeVersion="10" ma:contentTypeDescription="Crée un document." ma:contentTypeScope="" ma:versionID="e430d146305e4621d3c599eafdd420b8">
  <xsd:schema xmlns:xsd="http://www.w3.org/2001/XMLSchema" xmlns:xs="http://www.w3.org/2001/XMLSchema" xmlns:p="http://schemas.microsoft.com/office/2006/metadata/properties" xmlns:ns2="2e6f06b6-dfb7-4548-97dd-a30f7b544ecd" xmlns:ns3="785c5127-ac44-4d4a-9d81-769062f247dd" targetNamespace="http://schemas.microsoft.com/office/2006/metadata/properties" ma:root="true" ma:fieldsID="3ba0a9c1b0d52d56c0b7d070823f20d0" ns2:_="" ns3:_="">
    <xsd:import namespace="2e6f06b6-dfb7-4548-97dd-a30f7b544ecd"/>
    <xsd:import namespace="785c5127-ac44-4d4a-9d81-769062f247dd"/>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6f06b6-dfb7-4548-97dd-a30f7b544ec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Balises d’images" ma:readOnly="false" ma:fieldId="{5cf76f15-5ced-4ddc-b409-7134ff3c332f}" ma:taxonomyMulti="true" ma:sspId="a8f8c0df-3173-4325-a364-d1e22f897cf5"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85c5127-ac44-4d4a-9d81-769062f247dd"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b7261175-0e14-435b-b612-dcc058759279}" ma:internalName="TaxCatchAll" ma:showField="CatchAllData" ma:web="785c5127-ac44-4d4a-9d81-769062f247dd">
      <xsd:complexType>
        <xsd:complexContent>
          <xsd:extension base="dms:MultiChoiceLookup">
            <xsd:sequence>
              <xsd:element name="Value" type="dms:Lookup" maxOccurs="unbounded" minOccurs="0" nillable="true"/>
            </xsd:sequence>
          </xsd:extension>
        </xsd:complexContent>
      </xsd:complexType>
    </xsd:element>
    <xsd:element name="SharedWithUsers" ma:index="16"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785c5127-ac44-4d4a-9d81-769062f247dd" xsi:nil="true"/>
    <lcf76f155ced4ddcb4097134ff3c332f xmlns="2e6f06b6-dfb7-4548-97dd-a30f7b544ecd">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904A7389-3772-43A2-BDDB-142B89191155}">
  <ds:schemaRefs>
    <ds:schemaRef ds:uri="2e6f06b6-dfb7-4548-97dd-a30f7b544ecd"/>
    <ds:schemaRef ds:uri="785c5127-ac44-4d4a-9d81-769062f247d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3D4ADB3-513A-42F3-B928-6B04E18811A0}">
  <ds:schemaRefs>
    <ds:schemaRef ds:uri="http://schemas.microsoft.com/sharepoint/v3/contenttype/forms"/>
  </ds:schemaRefs>
</ds:datastoreItem>
</file>

<file path=customXml/itemProps3.xml><?xml version="1.0" encoding="utf-8"?>
<ds:datastoreItem xmlns:ds="http://schemas.openxmlformats.org/officeDocument/2006/customXml" ds:itemID="{EA753B2A-BEF0-441C-A0C7-419FE9D70C1D}">
  <ds:schemaRefs>
    <ds:schemaRef ds:uri="2e6f06b6-dfb7-4548-97dd-a30f7b544ecd"/>
    <ds:schemaRef ds:uri="http://purl.org/dc/terms/"/>
    <ds:schemaRef ds:uri="http://schemas.microsoft.com/office/2006/documentManagement/types"/>
    <ds:schemaRef ds:uri="785c5127-ac44-4d4a-9d81-769062f247dd"/>
    <ds:schemaRef ds:uri="http://schemas.microsoft.com/office/2006/metadata/properties"/>
    <ds:schemaRef ds:uri="http://www.w3.org/XML/1998/namespace"/>
    <ds:schemaRef ds:uri="http://purl.org/dc/elements/1.1/"/>
    <ds:schemaRef ds:uri="http://schemas.openxmlformats.org/package/2006/metadata/core-properties"/>
    <ds:schemaRef ds:uri="http://purl.org/dc/dcmitype/"/>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Groupe_ADP_Restreint_v2</Template>
  <TotalTime>624</TotalTime>
  <Words>518</Words>
  <Application>Microsoft Office PowerPoint</Application>
  <PresentationFormat>Affichage à l'écran (4:3)</PresentationFormat>
  <Paragraphs>103</Paragraphs>
  <Slides>13</Slides>
  <Notes>0</Notes>
  <HiddenSlides>0</HiddenSlides>
  <MMClips>0</MMClips>
  <ScaleCrop>false</ScaleCrop>
  <HeadingPairs>
    <vt:vector size="8" baseType="variant">
      <vt:variant>
        <vt:lpstr>Polices utilisées</vt:lpstr>
      </vt:variant>
      <vt:variant>
        <vt:i4>6</vt:i4>
      </vt:variant>
      <vt:variant>
        <vt:lpstr>Thème</vt:lpstr>
      </vt:variant>
      <vt:variant>
        <vt:i4>2</vt:i4>
      </vt:variant>
      <vt:variant>
        <vt:lpstr>Serveurs OLE incorporés</vt:lpstr>
      </vt:variant>
      <vt:variant>
        <vt:i4>1</vt:i4>
      </vt:variant>
      <vt:variant>
        <vt:lpstr>Titres des diapositives</vt:lpstr>
      </vt:variant>
      <vt:variant>
        <vt:i4>13</vt:i4>
      </vt:variant>
    </vt:vector>
  </HeadingPairs>
  <TitlesOfParts>
    <vt:vector size="22" baseType="lpstr">
      <vt:lpstr>Arial</vt:lpstr>
      <vt:lpstr>Calibri</vt:lpstr>
      <vt:lpstr>Century Gothic</vt:lpstr>
      <vt:lpstr>Segoe UI VSS (Regular)</vt:lpstr>
      <vt:lpstr>Wingdings</vt:lpstr>
      <vt:lpstr>Wingdings 3</vt:lpstr>
      <vt:lpstr>ADP</vt:lpstr>
      <vt:lpstr>Template LIGHT AXYS</vt:lpstr>
      <vt:lpstr>think-cell Slide</vt:lpstr>
      <vt:lpstr>Gouvernance DevOps</vt:lpstr>
      <vt:lpstr>SOMMAIRE</vt:lpstr>
      <vt:lpstr>01</vt:lpstr>
      <vt:lpstr>Azure pipelines</vt:lpstr>
      <vt:lpstr>02</vt:lpstr>
      <vt:lpstr>CI/CD-  En Place</vt:lpstr>
      <vt:lpstr>03</vt:lpstr>
      <vt:lpstr>CI/CD – FIN 2023</vt:lpstr>
      <vt:lpstr>CI/CD – FIN 2023</vt:lpstr>
      <vt:lpstr>04</vt:lpstr>
      <vt:lpstr>CI/CD - Cible</vt:lpstr>
      <vt:lpstr>05</vt:lpstr>
      <vt:lpstr>Services iac</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éunion pôle DSIPII</dc:title>
  <dc:subject/>
  <dc:creator>Jean.MIRANDA@adp.fr</dc:creator>
  <cp:keywords/>
  <dc:description/>
  <cp:lastModifiedBy>LAZRAQ AMR - Société EXAKIS</cp:lastModifiedBy>
  <cp:revision>4</cp:revision>
  <cp:lastPrinted>2019-02-04T17:11:44Z</cp:lastPrinted>
  <dcterms:created xsi:type="dcterms:W3CDTF">2016-07-28T11:11:56Z</dcterms:created>
  <dcterms:modified xsi:type="dcterms:W3CDTF">2023-05-11T10:01: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C7C918D6B26D84FB27C58C2FB919D10</vt:lpwstr>
  </property>
  <property fmtid="{D5CDD505-2E9C-101B-9397-08002B2CF9AE}" pid="3" name="Order">
    <vt:r8>3300</vt:r8>
  </property>
  <property fmtid="{D5CDD505-2E9C-101B-9397-08002B2CF9AE}" pid="4" name="xd_Signature">
    <vt:bool>false</vt:bool>
  </property>
  <property fmtid="{D5CDD505-2E9C-101B-9397-08002B2CF9AE}" pid="5" name="xd_ProgID">
    <vt:lpwstr/>
  </property>
  <property fmtid="{D5CDD505-2E9C-101B-9397-08002B2CF9AE}" pid="6" name="_ExtendedDescription">
    <vt:lpwstr/>
  </property>
  <property fmtid="{D5CDD505-2E9C-101B-9397-08002B2CF9AE}" pid="7" name="TriggerFlowInfo">
    <vt:lpwstr/>
  </property>
  <property fmtid="{D5CDD505-2E9C-101B-9397-08002B2CF9AE}" pid="8" name="ComplianceAssetId">
    <vt:lpwstr/>
  </property>
  <property fmtid="{D5CDD505-2E9C-101B-9397-08002B2CF9AE}" pid="9" name="TemplateUrl">
    <vt:lpwstr/>
  </property>
  <property fmtid="{D5CDD505-2E9C-101B-9397-08002B2CF9AE}" pid="10" name="MSIP_Label_15b60ffb-984f-4f0e-bae6-50b60bf2aae2_Method">
    <vt:lpwstr>Standard</vt:lpwstr>
  </property>
  <property fmtid="{D5CDD505-2E9C-101B-9397-08002B2CF9AE}" pid="11" name="MSIP_Label_15b60ffb-984f-4f0e-bae6-50b60bf2aae2_Enabled">
    <vt:lpwstr>true</vt:lpwstr>
  </property>
  <property fmtid="{D5CDD505-2E9C-101B-9397-08002B2CF9AE}" pid="12" name="MSIP_Label_15b60ffb-984f-4f0e-bae6-50b60bf2aae2_SiteId">
    <vt:lpwstr>fb28acc8-b04d-4b2f-8389-51e8561ca6d8</vt:lpwstr>
  </property>
  <property fmtid="{D5CDD505-2E9C-101B-9397-08002B2CF9AE}" pid="13" name="MSIP_Label_15b60ffb-984f-4f0e-bae6-50b60bf2aae2_SetDate">
    <vt:lpwstr>2022-10-19T14:48:49Z</vt:lpwstr>
  </property>
  <property fmtid="{D5CDD505-2E9C-101B-9397-08002B2CF9AE}" pid="14" name="MSIP_Label_15b60ffb-984f-4f0e-bae6-50b60bf2aae2_ContentBits">
    <vt:lpwstr>0</vt:lpwstr>
  </property>
  <property fmtid="{D5CDD505-2E9C-101B-9397-08002B2CF9AE}" pid="15" name="MSIP_Label_15b60ffb-984f-4f0e-bae6-50b60bf2aae2_Name">
    <vt:lpwstr>Restricted</vt:lpwstr>
  </property>
  <property fmtid="{D5CDD505-2E9C-101B-9397-08002B2CF9AE}" pid="16" name="MSIP_Label_15b60ffb-984f-4f0e-bae6-50b60bf2aae2_ActionId">
    <vt:lpwstr>b0827699-f076-4766-bb40-a5093351cd4a</vt:lpwstr>
  </property>
  <property fmtid="{D5CDD505-2E9C-101B-9397-08002B2CF9AE}" pid="17" name="MediaServiceImageTags">
    <vt:lpwstr/>
  </property>
</Properties>
</file>